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heme/theme2.xml" ContentType="application/vnd.openxmlformats-officedocument.theme+xml"/>
  <Override PartName="/ppt/tags/tag42.xml" ContentType="application/vnd.openxmlformats-officedocument.presentationml.tags+xml"/>
  <Override PartName="/ppt/charts/chart1.xml" ContentType="application/vnd.openxmlformats-officedocument.drawingml.chart+xml"/>
  <Override PartName="/ppt/charts/chart2.xml" ContentType="application/vnd.openxmlformats-officedocument.drawingml.chart+xml"/>
  <Override PartName="/ppt/tags/tag43.xml" ContentType="application/vnd.openxmlformats-officedocument.presentationml.tags+xml"/>
  <Override PartName="/ppt/charts/chart3.xml" ContentType="application/vnd.openxmlformats-officedocument.drawingml.chart+xml"/>
  <Override PartName="/ppt/charts/chart4.xml" ContentType="application/vnd.openxmlformats-officedocument.drawingml.chart+xml"/>
  <Override PartName="/ppt/charts/chart5.xml" ContentType="application/vnd.openxmlformats-officedocument.drawingml.chart+xml"/>
  <Override PartName="/ppt/tags/tag44.xml" ContentType="application/vnd.openxmlformats-officedocument.presentationml.tags+xml"/>
  <Override PartName="/ppt/charts/chart6.xml" ContentType="application/vnd.openxmlformats-officedocument.drawingml.chart+xml"/>
  <Override PartName="/ppt/charts/chart7.xml" ContentType="application/vnd.openxmlformats-officedocument.drawingml.chart+xml"/>
  <Override PartName="/ppt/charts/chart8.xml" ContentType="application/vnd.openxmlformats-officedocument.drawingml.chart+xml"/>
  <Override PartName="/ppt/charts/chart9.xml" ContentType="application/vnd.openxmlformats-officedocument.drawingml.chart+xml"/>
  <Override PartName="/ppt/tags/tag45.xml" ContentType="application/vnd.openxmlformats-officedocument.presentationml.tags+xml"/>
  <Override PartName="/ppt/charts/chart10.xml" ContentType="application/vnd.openxmlformats-officedocument.drawingml.chart+xml"/>
  <Override PartName="/ppt/charts/chart11.xml" ContentType="application/vnd.openxmlformats-officedocument.drawingml.chart+xml"/>
  <Override PartName="/ppt/charts/chart12.xml" ContentType="application/vnd.openxmlformats-officedocument.drawingml.chart+xml"/>
  <Override PartName="/ppt/charts/chart13.xml" ContentType="application/vnd.openxmlformats-officedocument.drawingml.chart+xml"/>
  <Override PartName="/ppt/charts/chart14.xml" ContentType="application/vnd.openxmlformats-officedocument.drawingml.chart+xml"/>
  <Override PartName="/ppt/tags/tag46.xml" ContentType="application/vnd.openxmlformats-officedocument.presentationml.tags+xml"/>
  <Override PartName="/ppt/charts/chart15.xml" ContentType="application/vnd.openxmlformats-officedocument.drawingml.chart+xml"/>
  <Override PartName="/ppt/charts/chart16.xml" ContentType="application/vnd.openxmlformats-officedocument.drawingml.chart+xml"/>
  <Override PartName="/ppt/charts/chart17.xml" ContentType="application/vnd.openxmlformats-officedocument.drawingml.chart+xml"/>
  <Override PartName="/ppt/charts/chart18.xml" ContentType="application/vnd.openxmlformats-officedocument.drawingml.chart+xml"/>
  <Override PartName="/ppt/charts/chart19.xml" ContentType="application/vnd.openxmlformats-officedocument.drawingml.chart+xml"/>
  <Override PartName="/ppt/charts/chart20.xml" ContentType="application/vnd.openxmlformats-officedocument.drawingml.chart+xml"/>
  <Override PartName="/ppt/tags/tag47.xml" ContentType="application/vnd.openxmlformats-officedocument.presentationml.tags+xml"/>
  <Override PartName="/ppt/charts/chart21.xml" ContentType="application/vnd.openxmlformats-officedocument.drawingml.chart+xml"/>
  <Override PartName="/ppt/tags/tag48.xml" ContentType="application/vnd.openxmlformats-officedocument.presentationml.tags+xml"/>
  <Override PartName="/ppt/charts/chart22.xml" ContentType="application/vnd.openxmlformats-officedocument.drawingml.chart+xml"/>
  <Override PartName="/ppt/tags/tag49.xml" ContentType="application/vnd.openxmlformats-officedocument.presentationml.tags+xml"/>
  <Override PartName="/ppt/charts/chart23.xml" ContentType="application/vnd.openxmlformats-officedocument.drawingml.chart+xml"/>
  <Override PartName="/ppt/charts/chart24.xml" ContentType="application/vnd.openxmlformats-officedocument.drawingml.chart+xml"/>
  <Override PartName="/ppt/tags/tag50.xml" ContentType="application/vnd.openxmlformats-officedocument.presentationml.tags+xml"/>
  <Override PartName="/ppt/charts/chart25.xml" ContentType="application/vnd.openxmlformats-officedocument.drawingml.chart+xml"/>
  <Override PartName="/ppt/charts/chart26.xml" ContentType="application/vnd.openxmlformats-officedocument.drawingml.chart+xml"/>
  <Override PartName="/ppt/charts/chart27.xml" ContentType="application/vnd.openxmlformats-officedocument.drawingml.chart+xml"/>
  <Override PartName="/ppt/tags/tag51.xml" ContentType="application/vnd.openxmlformats-officedocument.presentationml.tags+xml"/>
  <Override PartName="/ppt/charts/chart28.xml" ContentType="application/vnd.openxmlformats-officedocument.drawingml.chart+xml"/>
  <Override PartName="/ppt/charts/chart29.xml" ContentType="application/vnd.openxmlformats-officedocument.drawingml.chart+xml"/>
  <Override PartName="/ppt/charts/chart30.xml" ContentType="application/vnd.openxmlformats-officedocument.drawingml.chart+xml"/>
  <Override PartName="/ppt/charts/chart31.xml" ContentType="application/vnd.openxmlformats-officedocument.drawingml.chart+xml"/>
  <Override PartName="/ppt/tags/tag52.xml" ContentType="application/vnd.openxmlformats-officedocument.presentationml.tags+xml"/>
  <Override PartName="/ppt/charts/chart32.xml" ContentType="application/vnd.openxmlformats-officedocument.drawingml.chart+xml"/>
  <Override PartName="/ppt/charts/chart33.xml" ContentType="application/vnd.openxmlformats-officedocument.drawingml.chart+xml"/>
  <Override PartName="/ppt/charts/chart34.xml" ContentType="application/vnd.openxmlformats-officedocument.drawingml.chart+xml"/>
  <Override PartName="/ppt/charts/chart35.xml" ContentType="application/vnd.openxmlformats-officedocument.drawingml.chart+xml"/>
  <Override PartName="/ppt/charts/chart36.xml" ContentType="application/vnd.openxmlformats-officedocument.drawingml.chart+xml"/>
  <Override PartName="/ppt/tags/tag53.xml" ContentType="application/vnd.openxmlformats-officedocument.presentationml.tags+xml"/>
  <Override PartName="/ppt/notesSlides/notesSlide1.xml" ContentType="application/vnd.openxmlformats-officedocument.presentationml.notesSlide+xml"/>
  <Override PartName="/ppt/charts/chart37.xml" ContentType="application/vnd.openxmlformats-officedocument.drawingml.chart+xml"/>
  <Override PartName="/ppt/charts/chart38.xml" ContentType="application/vnd.openxmlformats-officedocument.drawingml.chart+xml"/>
  <Override PartName="/ppt/charts/chart39.xml" ContentType="application/vnd.openxmlformats-officedocument.drawingml.chart+xml"/>
  <Override PartName="/ppt/charts/chart40.xml" ContentType="application/vnd.openxmlformats-officedocument.drawingml.chart+xml"/>
  <Override PartName="/ppt/charts/chart41.xml" ContentType="application/vnd.openxmlformats-officedocument.drawingml.chart+xml"/>
  <Override PartName="/ppt/charts/chart42.xml" ContentType="application/vnd.openxmlformats-officedocument.drawingml.chart+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92" r:id="rId4"/>
  </p:sldMasterIdLst>
  <p:notesMasterIdLst>
    <p:notesMasterId r:id="rId17"/>
  </p:notesMasterIdLst>
  <p:sldIdLst>
    <p:sldId id="2147475158" r:id="rId5"/>
    <p:sldId id="2147378527" r:id="rId6"/>
    <p:sldId id="2147475159" r:id="rId7"/>
    <p:sldId id="2147475160" r:id="rId8"/>
    <p:sldId id="2147475161" r:id="rId9"/>
    <p:sldId id="2147378531" r:id="rId10"/>
    <p:sldId id="2147378536" r:id="rId11"/>
    <p:sldId id="2147378537" r:id="rId12"/>
    <p:sldId id="2147378538" r:id="rId13"/>
    <p:sldId id="2147378539" r:id="rId14"/>
    <p:sldId id="2147378540" r:id="rId15"/>
    <p:sldId id="2147378541" r:id="rId16"/>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62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017" autoAdjust="0"/>
    <p:restoredTop sz="94660"/>
  </p:normalViewPr>
  <p:slideViewPr>
    <p:cSldViewPr snapToGrid="0" showGuides="1">
      <p:cViewPr varScale="1">
        <p:scale>
          <a:sx n="105" d="100"/>
          <a:sy n="105" d="100"/>
        </p:scale>
        <p:origin x="46" y="252"/>
      </p:cViewPr>
      <p:guideLst>
        <p:guide orient="horz" pos="1620"/>
        <p:guide pos="288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tableStyles" Target="tableStyle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notesMaster" Target="notesMasters/notesMaster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slide" Target="slides/slide11.xml"/><Relationship Id="rId10" Type="http://schemas.openxmlformats.org/officeDocument/2006/relationships/slide" Target="slides/slide6.xml"/><Relationship Id="rId19"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Worksheet14.xlsx"/></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Worksheet16.xlsx"/></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Worksheet17.xlsx"/></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Worksheet18.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Worksheet19.xlsx"/></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Worksheet20.xlsx"/></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Worksheet21.xlsx"/></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Worksheet22.xlsx"/></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Worksheet23.xlsx"/></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Worksheet24.xlsx"/></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Worksheet25.xlsx"/></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Worksheet26.xlsx"/></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Worksheet27.xlsx"/></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Worksheet28.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30.xml.rels><?xml version="1.0" encoding="UTF-8" standalone="yes"?>
<Relationships xmlns="http://schemas.openxmlformats.org/package/2006/relationships"><Relationship Id="rId1" Type="http://schemas.openxmlformats.org/officeDocument/2006/relationships/package" Target="../embeddings/Microsoft_Excel_Worksheet29.xlsx"/></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_Worksheet30.xlsx"/></Relationships>
</file>

<file path=ppt/charts/_rels/chart32.xml.rels><?xml version="1.0" encoding="UTF-8" standalone="yes"?>
<Relationships xmlns="http://schemas.openxmlformats.org/package/2006/relationships"><Relationship Id="rId1" Type="http://schemas.openxmlformats.org/officeDocument/2006/relationships/package" Target="../embeddings/Microsoft_Excel_Worksheet31.xlsx"/></Relationships>
</file>

<file path=ppt/charts/_rels/chart33.xml.rels><?xml version="1.0" encoding="UTF-8" standalone="yes"?>
<Relationships xmlns="http://schemas.openxmlformats.org/package/2006/relationships"><Relationship Id="rId1" Type="http://schemas.openxmlformats.org/officeDocument/2006/relationships/package" Target="../embeddings/Microsoft_Excel_Worksheet32.xlsx"/></Relationships>
</file>

<file path=ppt/charts/_rels/chart34.xml.rels><?xml version="1.0" encoding="UTF-8" standalone="yes"?>
<Relationships xmlns="http://schemas.openxmlformats.org/package/2006/relationships"><Relationship Id="rId1" Type="http://schemas.openxmlformats.org/officeDocument/2006/relationships/package" Target="../embeddings/Microsoft_Excel_Worksheet33.xlsx"/></Relationships>
</file>

<file path=ppt/charts/_rels/chart35.xml.rels><?xml version="1.0" encoding="UTF-8" standalone="yes"?>
<Relationships xmlns="http://schemas.openxmlformats.org/package/2006/relationships"><Relationship Id="rId1" Type="http://schemas.openxmlformats.org/officeDocument/2006/relationships/package" Target="../embeddings/Microsoft_Excel_Worksheet34.xlsx"/></Relationships>
</file>

<file path=ppt/charts/_rels/chart36.xml.rels><?xml version="1.0" encoding="UTF-8" standalone="yes"?>
<Relationships xmlns="http://schemas.openxmlformats.org/package/2006/relationships"><Relationship Id="rId1" Type="http://schemas.openxmlformats.org/officeDocument/2006/relationships/package" Target="../embeddings/Microsoft_Excel_Worksheet35.xlsx"/></Relationships>
</file>

<file path=ppt/charts/_rels/chart37.xml.rels><?xml version="1.0" encoding="UTF-8" standalone="yes"?>
<Relationships xmlns="http://schemas.openxmlformats.org/package/2006/relationships"><Relationship Id="rId1" Type="http://schemas.openxmlformats.org/officeDocument/2006/relationships/package" Target="../embeddings/Microsoft_Excel_Worksheet36.xlsx"/></Relationships>
</file>

<file path=ppt/charts/_rels/chart38.xml.rels><?xml version="1.0" encoding="UTF-8" standalone="yes"?>
<Relationships xmlns="http://schemas.openxmlformats.org/package/2006/relationships"><Relationship Id="rId1" Type="http://schemas.openxmlformats.org/officeDocument/2006/relationships/package" Target="../embeddings/Microsoft_Excel_Worksheet37.xlsx"/></Relationships>
</file>

<file path=ppt/charts/_rels/chart39.xml.rels><?xml version="1.0" encoding="UTF-8" standalone="yes"?>
<Relationships xmlns="http://schemas.openxmlformats.org/package/2006/relationships"><Relationship Id="rId1" Type="http://schemas.openxmlformats.org/officeDocument/2006/relationships/package" Target="../embeddings/Microsoft_Excel_Worksheet38.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40.xml.rels><?xml version="1.0" encoding="UTF-8" standalone="yes"?>
<Relationships xmlns="http://schemas.openxmlformats.org/package/2006/relationships"><Relationship Id="rId1" Type="http://schemas.openxmlformats.org/officeDocument/2006/relationships/package" Target="../embeddings/Microsoft_Excel_Worksheet39.xlsx"/></Relationships>
</file>

<file path=ppt/charts/_rels/chart41.xml.rels><?xml version="1.0" encoding="UTF-8" standalone="yes"?>
<Relationships xmlns="http://schemas.openxmlformats.org/package/2006/relationships"><Relationship Id="rId1" Type="http://schemas.openxmlformats.org/officeDocument/2006/relationships/package" Target="../embeddings/Microsoft_Excel_Worksheet40.xlsx"/></Relationships>
</file>

<file path=ppt/charts/_rels/chart42.xml.rels><?xml version="1.0" encoding="UTF-8" standalone="yes"?>
<Relationships xmlns="http://schemas.openxmlformats.org/package/2006/relationships"><Relationship Id="rId1" Type="http://schemas.openxmlformats.org/officeDocument/2006/relationships/package" Target="../embeddings/Microsoft_Excel_Worksheet41.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ershey's Cookies 'n Creme Block 90g</c:v>
                </c:pt>
              </c:strCache>
            </c:strRef>
          </c:tx>
          <c:spPr>
            <a:solidFill>
              <a:schemeClr val="bg2"/>
            </a:solidFill>
            <a:ln>
              <a:noFill/>
            </a:ln>
            <a:effectLst/>
          </c:spPr>
          <c:invertIfNegative val="0"/>
          <c:dPt>
            <c:idx val="0"/>
            <c:invertIfNegative val="0"/>
            <c:bubble3D val="0"/>
            <c:spPr>
              <a:solidFill>
                <a:srgbClr val="E6E5E5"/>
              </a:solidFill>
              <a:ln>
                <a:noFill/>
              </a:ln>
              <a:effectLst/>
            </c:spPr>
            <c:extLst>
              <c:ext xmlns:c16="http://schemas.microsoft.com/office/drawing/2014/chart" uri="{C3380CC4-5D6E-409C-BE32-E72D297353CC}">
                <c16:uniqueId val="{0000000E-7980-4C82-8C1C-32D5A7B4E44B}"/>
              </c:ext>
            </c:extLst>
          </c:dPt>
          <c:dPt>
            <c:idx val="1"/>
            <c:invertIfNegative val="1"/>
            <c:bubble3D val="0"/>
            <c:spPr>
              <a:solidFill>
                <a:srgbClr val="E6E5E5"/>
              </a:solidFill>
            </c:spPr>
            <c:extLst>
              <c:ext xmlns:c16="http://schemas.microsoft.com/office/drawing/2014/chart" uri="{C3380CC4-5D6E-409C-BE32-E72D297353CC}">
                <c16:uniqueId val="{0000000F-7980-4C82-8C1C-32D5A7B4E44B}"/>
              </c:ext>
            </c:extLst>
          </c:dPt>
          <c:dPt>
            <c:idx val="2"/>
            <c:invertIfNegative val="1"/>
            <c:bubble3D val="0"/>
            <c:spPr>
              <a:solidFill>
                <a:srgbClr val="E6E5E5"/>
              </a:solidFill>
            </c:spPr>
            <c:extLst>
              <c:ext xmlns:c16="http://schemas.microsoft.com/office/drawing/2014/chart" uri="{C3380CC4-5D6E-409C-BE32-E72D297353CC}">
                <c16:uniqueId val="{00000010-7980-4C82-8C1C-32D5A7B4E44B}"/>
              </c:ext>
            </c:extLst>
          </c:dPt>
          <c:dPt>
            <c:idx val="3"/>
            <c:invertIfNegative val="0"/>
            <c:bubble3D val="0"/>
            <c:spPr>
              <a:solidFill>
                <a:srgbClr val="E6E5E5"/>
              </a:solidFill>
              <a:ln>
                <a:noFill/>
              </a:ln>
              <a:effectLst/>
            </c:spPr>
            <c:extLst>
              <c:ext xmlns:c16="http://schemas.microsoft.com/office/drawing/2014/chart" uri="{C3380CC4-5D6E-409C-BE32-E72D297353CC}">
                <c16:uniqueId val="{00000011-7980-4C82-8C1C-32D5A7B4E44B}"/>
              </c:ext>
            </c:extLst>
          </c:dPt>
          <c:dPt>
            <c:idx val="4"/>
            <c:invertIfNegative val="1"/>
            <c:bubble3D val="0"/>
            <c:spPr>
              <a:solidFill>
                <a:srgbClr val="E6E5E5"/>
              </a:solidFill>
            </c:spPr>
            <c:extLst>
              <c:ext xmlns:c16="http://schemas.microsoft.com/office/drawing/2014/chart" uri="{C3380CC4-5D6E-409C-BE32-E72D297353CC}">
                <c16:uniqueId val="{00000012-7980-4C82-8C1C-32D5A7B4E44B}"/>
              </c:ext>
            </c:extLst>
          </c:dPt>
          <c:dPt>
            <c:idx val="5"/>
            <c:invertIfNegative val="1"/>
            <c:bubble3D val="0"/>
            <c:spPr>
              <a:solidFill>
                <a:srgbClr val="E6E5E5"/>
              </a:solidFill>
            </c:spPr>
            <c:extLst>
              <c:ext xmlns:c16="http://schemas.microsoft.com/office/drawing/2014/chart" uri="{C3380CC4-5D6E-409C-BE32-E72D297353CC}">
                <c16:uniqueId val="{00000013-7980-4C82-8C1C-32D5A7B4E44B}"/>
              </c:ext>
            </c:extLst>
          </c:dPt>
          <c:dPt>
            <c:idx val="6"/>
            <c:invertIfNegative val="1"/>
            <c:bubble3D val="0"/>
            <c:spPr>
              <a:solidFill>
                <a:srgbClr val="E6E5E5"/>
              </a:solidFill>
            </c:spPr>
            <c:extLst>
              <c:ext xmlns:c16="http://schemas.microsoft.com/office/drawing/2014/chart" uri="{C3380CC4-5D6E-409C-BE32-E72D297353CC}">
                <c16:uniqueId val="{00000014-7980-4C82-8C1C-32D5A7B4E44B}"/>
              </c:ext>
            </c:extLst>
          </c:dPt>
          <c:dPt>
            <c:idx val="7"/>
            <c:invertIfNegative val="1"/>
            <c:bubble3D val="0"/>
            <c:spPr>
              <a:solidFill>
                <a:srgbClr val="E6E5E5"/>
              </a:solidFill>
            </c:spPr>
            <c:extLst>
              <c:ext xmlns:c16="http://schemas.microsoft.com/office/drawing/2014/chart" uri="{C3380CC4-5D6E-409C-BE32-E72D297353CC}">
                <c16:uniqueId val="{00000015-7980-4C82-8C1C-32D5A7B4E44B}"/>
              </c:ext>
            </c:extLst>
          </c:dPt>
          <c:dPt>
            <c:idx val="8"/>
            <c:invertIfNegative val="1"/>
            <c:bubble3D val="0"/>
            <c:spPr>
              <a:solidFill>
                <a:srgbClr val="E6E5E5"/>
              </a:solidFill>
            </c:spPr>
            <c:extLst>
              <c:ext xmlns:c16="http://schemas.microsoft.com/office/drawing/2014/chart" uri="{C3380CC4-5D6E-409C-BE32-E72D297353CC}">
                <c16:uniqueId val="{00000016-7980-4C82-8C1C-32D5A7B4E44B}"/>
              </c:ext>
            </c:extLst>
          </c:dPt>
          <c:dPt>
            <c:idx val="9"/>
            <c:invertIfNegative val="1"/>
            <c:bubble3D val="0"/>
            <c:spPr>
              <a:solidFill>
                <a:srgbClr val="E6E5E5"/>
              </a:solidFill>
            </c:spPr>
            <c:extLst>
              <c:ext xmlns:c16="http://schemas.microsoft.com/office/drawing/2014/chart" uri="{C3380CC4-5D6E-409C-BE32-E72D297353CC}">
                <c16:uniqueId val="{00000017-7980-4C82-8C1C-32D5A7B4E44B}"/>
              </c:ext>
            </c:extLst>
          </c:dPt>
          <c:dPt>
            <c:idx val="10"/>
            <c:invertIfNegative val="1"/>
            <c:bubble3D val="0"/>
            <c:spPr>
              <a:solidFill>
                <a:srgbClr val="E6E5E5"/>
              </a:solidFill>
            </c:spPr>
            <c:extLst>
              <c:ext xmlns:c16="http://schemas.microsoft.com/office/drawing/2014/chart" uri="{C3380CC4-5D6E-409C-BE32-E72D297353CC}">
                <c16:uniqueId val="{00000018-7980-4C82-8C1C-32D5A7B4E44B}"/>
              </c:ext>
            </c:extLst>
          </c:dPt>
          <c:dPt>
            <c:idx val="11"/>
            <c:invertIfNegative val="1"/>
            <c:bubble3D val="0"/>
            <c:spPr>
              <a:solidFill>
                <a:srgbClr val="E6E5E5"/>
              </a:solidFill>
            </c:spPr>
            <c:extLst>
              <c:ext xmlns:c16="http://schemas.microsoft.com/office/drawing/2014/chart" uri="{C3380CC4-5D6E-409C-BE32-E72D297353CC}">
                <c16:uniqueId val="{00000019-7980-4C82-8C1C-32D5A7B4E44B}"/>
              </c:ext>
            </c:extLst>
          </c:dPt>
          <c:dPt>
            <c:idx val="12"/>
            <c:invertIfNegative val="1"/>
            <c:bubble3D val="0"/>
            <c:spPr>
              <a:solidFill>
                <a:srgbClr val="E6E5E5"/>
              </a:solidFill>
            </c:spPr>
            <c:extLst>
              <c:ext xmlns:c16="http://schemas.microsoft.com/office/drawing/2014/chart" uri="{C3380CC4-5D6E-409C-BE32-E72D297353CC}">
                <c16:uniqueId val="{0000001A-7980-4C82-8C1C-32D5A7B4E44B}"/>
              </c:ext>
            </c:extLst>
          </c:dPt>
          <c:dPt>
            <c:idx val="13"/>
            <c:invertIfNegative val="1"/>
            <c:bubble3D val="0"/>
            <c:spPr>
              <a:solidFill>
                <a:srgbClr val="E6E5E5"/>
              </a:solidFill>
            </c:spPr>
            <c:extLst>
              <c:ext xmlns:c16="http://schemas.microsoft.com/office/drawing/2014/chart" uri="{C3380CC4-5D6E-409C-BE32-E72D297353CC}">
                <c16:uniqueId val="{0000001B-7980-4C82-8C1C-32D5A7B4E44B}"/>
              </c:ext>
            </c:extLst>
          </c:dPt>
          <c:dPt>
            <c:idx val="14"/>
            <c:invertIfNegative val="0"/>
            <c:bubble3D val="0"/>
            <c:spPr>
              <a:solidFill>
                <a:srgbClr val="E6E5E5"/>
              </a:solidFill>
              <a:ln>
                <a:noFill/>
              </a:ln>
              <a:effectLst/>
            </c:spPr>
            <c:extLst>
              <c:ext xmlns:c16="http://schemas.microsoft.com/office/drawing/2014/chart" uri="{C3380CC4-5D6E-409C-BE32-E72D297353CC}">
                <c16:uniqueId val="{0000001C-7980-4C82-8C1C-32D5A7B4E44B}"/>
              </c:ext>
            </c:extLst>
          </c:dPt>
          <c:dPt>
            <c:idx val="15"/>
            <c:invertIfNegative val="1"/>
            <c:bubble3D val="0"/>
            <c:spPr>
              <a:solidFill>
                <a:srgbClr val="E6E5E5"/>
              </a:solidFill>
            </c:spPr>
            <c:extLst>
              <c:ext xmlns:c16="http://schemas.microsoft.com/office/drawing/2014/chart" uri="{C3380CC4-5D6E-409C-BE32-E72D297353CC}">
                <c16:uniqueId val="{0000001D-7980-4C82-8C1C-32D5A7B4E44B}"/>
              </c:ext>
            </c:extLst>
          </c:dPt>
          <c:dPt>
            <c:idx val="16"/>
            <c:invertIfNegative val="1"/>
            <c:bubble3D val="0"/>
            <c:spPr>
              <a:solidFill>
                <a:srgbClr val="E6E5E5"/>
              </a:solidFill>
            </c:spPr>
            <c:extLst>
              <c:ext xmlns:c16="http://schemas.microsoft.com/office/drawing/2014/chart" uri="{C3380CC4-5D6E-409C-BE32-E72D297353CC}">
                <c16:uniqueId val="{0000001E-7980-4C82-8C1C-32D5A7B4E44B}"/>
              </c:ext>
            </c:extLst>
          </c:dPt>
          <c:dPt>
            <c:idx val="17"/>
            <c:invertIfNegative val="0"/>
            <c:bubble3D val="0"/>
            <c:spPr>
              <a:solidFill>
                <a:srgbClr val="E6E5E5"/>
              </a:solidFill>
              <a:ln>
                <a:noFill/>
              </a:ln>
              <a:effectLst/>
            </c:spPr>
            <c:extLst>
              <c:ext xmlns:c16="http://schemas.microsoft.com/office/drawing/2014/chart" uri="{C3380CC4-5D6E-409C-BE32-E72D297353CC}">
                <c16:uniqueId val="{0000001F-7980-4C82-8C1C-32D5A7B4E44B}"/>
              </c:ext>
            </c:extLst>
          </c:dPt>
          <c:dPt>
            <c:idx val="18"/>
            <c:invertIfNegative val="1"/>
            <c:bubble3D val="0"/>
            <c:spPr>
              <a:solidFill>
                <a:srgbClr val="E6E5E5"/>
              </a:solidFill>
            </c:spPr>
            <c:extLst>
              <c:ext xmlns:c16="http://schemas.microsoft.com/office/drawing/2014/chart" uri="{C3380CC4-5D6E-409C-BE32-E72D297353CC}">
                <c16:uniqueId val="{00000020-7980-4C82-8C1C-32D5A7B4E44B}"/>
              </c:ext>
            </c:extLst>
          </c:dPt>
          <c:dPt>
            <c:idx val="19"/>
            <c:invertIfNegative val="1"/>
            <c:bubble3D val="0"/>
            <c:spPr>
              <a:solidFill>
                <a:srgbClr val="E6E5E5"/>
              </a:solidFill>
            </c:spPr>
            <c:extLst>
              <c:ext xmlns:c16="http://schemas.microsoft.com/office/drawing/2014/chart" uri="{C3380CC4-5D6E-409C-BE32-E72D297353CC}">
                <c16:uniqueId val="{00000021-7980-4C82-8C1C-32D5A7B4E44B}"/>
              </c:ext>
            </c:extLst>
          </c:dPt>
          <c:dPt>
            <c:idx val="20"/>
            <c:invertIfNegative val="1"/>
            <c:bubble3D val="0"/>
            <c:spPr>
              <a:solidFill>
                <a:srgbClr val="E6E5E5"/>
              </a:solidFill>
            </c:spPr>
            <c:extLst>
              <c:ext xmlns:c16="http://schemas.microsoft.com/office/drawing/2014/chart" uri="{C3380CC4-5D6E-409C-BE32-E72D297353CC}">
                <c16:uniqueId val="{00000022-7980-4C82-8C1C-32D5A7B4E44B}"/>
              </c:ext>
            </c:extLst>
          </c:dPt>
          <c:dPt>
            <c:idx val="21"/>
            <c:invertIfNegative val="1"/>
            <c:bubble3D val="0"/>
            <c:spPr>
              <a:solidFill>
                <a:srgbClr val="E6E5E5"/>
              </a:solidFill>
            </c:spPr>
            <c:extLst>
              <c:ext xmlns:c16="http://schemas.microsoft.com/office/drawing/2014/chart" uri="{C3380CC4-5D6E-409C-BE32-E72D297353CC}">
                <c16:uniqueId val="{00000001-7980-4C82-8C1C-32D5A7B4E44B}"/>
              </c:ext>
            </c:extLst>
          </c:dPt>
          <c:dPt>
            <c:idx val="22"/>
            <c:invertIfNegative val="1"/>
            <c:bubble3D val="0"/>
            <c:spPr>
              <a:solidFill>
                <a:srgbClr val="E6E5E5"/>
              </a:solidFill>
            </c:spPr>
            <c:extLst>
              <c:ext xmlns:c16="http://schemas.microsoft.com/office/drawing/2014/chart" uri="{C3380CC4-5D6E-409C-BE32-E72D297353CC}">
                <c16:uniqueId val="{00000023-7980-4C82-8C1C-32D5A7B4E44B}"/>
              </c:ext>
            </c:extLst>
          </c:dPt>
          <c:dPt>
            <c:idx val="23"/>
            <c:invertIfNegative val="1"/>
            <c:bubble3D val="0"/>
            <c:spPr>
              <a:solidFill>
                <a:srgbClr val="E6E5E5"/>
              </a:solidFill>
            </c:spPr>
            <c:extLst>
              <c:ext xmlns:c16="http://schemas.microsoft.com/office/drawing/2014/chart" uri="{C3380CC4-5D6E-409C-BE32-E72D297353CC}">
                <c16:uniqueId val="{00000003-7980-4C82-8C1C-32D5A7B4E44B}"/>
              </c:ext>
            </c:extLst>
          </c:dPt>
          <c:dPt>
            <c:idx val="24"/>
            <c:invertIfNegative val="1"/>
            <c:bubble3D val="0"/>
            <c:spPr>
              <a:solidFill>
                <a:srgbClr val="E6E5E5"/>
              </a:solidFill>
            </c:spPr>
            <c:extLst>
              <c:ext xmlns:c16="http://schemas.microsoft.com/office/drawing/2014/chart" uri="{C3380CC4-5D6E-409C-BE32-E72D297353CC}">
                <c16:uniqueId val="{00000024-7980-4C82-8C1C-32D5A7B4E44B}"/>
              </c:ext>
            </c:extLst>
          </c:dPt>
          <c:dPt>
            <c:idx val="25"/>
            <c:invertIfNegative val="1"/>
            <c:bubble3D val="0"/>
            <c:spPr>
              <a:solidFill>
                <a:srgbClr val="E6E5E5"/>
              </a:solidFill>
            </c:spPr>
            <c:extLst>
              <c:ext xmlns:c16="http://schemas.microsoft.com/office/drawing/2014/chart" uri="{C3380CC4-5D6E-409C-BE32-E72D297353CC}">
                <c16:uniqueId val="{00000025-7980-4C82-8C1C-32D5A7B4E44B}"/>
              </c:ext>
            </c:extLst>
          </c:dPt>
          <c:dPt>
            <c:idx val="26"/>
            <c:invertIfNegative val="1"/>
            <c:bubble3D val="0"/>
            <c:spPr>
              <a:solidFill>
                <a:srgbClr val="E6E5E5"/>
              </a:solidFill>
            </c:spPr>
            <c:extLst>
              <c:ext xmlns:c16="http://schemas.microsoft.com/office/drawing/2014/chart" uri="{C3380CC4-5D6E-409C-BE32-E72D297353CC}">
                <c16:uniqueId val="{00000026-7980-4C82-8C1C-32D5A7B4E44B}"/>
              </c:ext>
            </c:extLst>
          </c:dPt>
          <c:dPt>
            <c:idx val="27"/>
            <c:invertIfNegative val="1"/>
            <c:bubble3D val="0"/>
            <c:spPr>
              <a:solidFill>
                <a:srgbClr val="E6E5E5"/>
              </a:solidFill>
            </c:spPr>
            <c:extLst>
              <c:ext xmlns:c16="http://schemas.microsoft.com/office/drawing/2014/chart" uri="{C3380CC4-5D6E-409C-BE32-E72D297353CC}">
                <c16:uniqueId val="{00000027-7980-4C82-8C1C-32D5A7B4E44B}"/>
              </c:ext>
            </c:extLst>
          </c:dPt>
          <c:dPt>
            <c:idx val="28"/>
            <c:invertIfNegative val="1"/>
            <c:bubble3D val="0"/>
            <c:spPr>
              <a:solidFill>
                <a:srgbClr val="E6E5E5"/>
              </a:solidFill>
            </c:spPr>
            <c:extLst>
              <c:ext xmlns:c16="http://schemas.microsoft.com/office/drawing/2014/chart" uri="{C3380CC4-5D6E-409C-BE32-E72D297353CC}">
                <c16:uniqueId val="{00000028-7980-4C82-8C1C-32D5A7B4E44B}"/>
              </c:ext>
            </c:extLst>
          </c:dPt>
          <c:dPt>
            <c:idx val="29"/>
            <c:invertIfNegative val="1"/>
            <c:bubble3D val="0"/>
            <c:spPr>
              <a:solidFill>
                <a:srgbClr val="E6E5E5"/>
              </a:solidFill>
            </c:spPr>
            <c:extLst>
              <c:ext xmlns:c16="http://schemas.microsoft.com/office/drawing/2014/chart" uri="{C3380CC4-5D6E-409C-BE32-E72D297353CC}">
                <c16:uniqueId val="{00000029-7980-4C82-8C1C-32D5A7B4E44B}"/>
              </c:ext>
            </c:extLst>
          </c:dPt>
          <c:dPt>
            <c:idx val="30"/>
            <c:invertIfNegative val="1"/>
            <c:bubble3D val="0"/>
            <c:spPr>
              <a:solidFill>
                <a:srgbClr val="E6E5E5"/>
              </a:solidFill>
            </c:spPr>
            <c:extLst>
              <c:ext xmlns:c16="http://schemas.microsoft.com/office/drawing/2014/chart" uri="{C3380CC4-5D6E-409C-BE32-E72D297353CC}">
                <c16:uniqueId val="{0000002A-7980-4C82-8C1C-32D5A7B4E44B}"/>
              </c:ext>
            </c:extLst>
          </c:dPt>
          <c:dPt>
            <c:idx val="31"/>
            <c:invertIfNegative val="1"/>
            <c:bubble3D val="0"/>
            <c:spPr>
              <a:solidFill>
                <a:srgbClr val="E6E5E5"/>
              </a:solidFill>
            </c:spPr>
            <c:extLst>
              <c:ext xmlns:c16="http://schemas.microsoft.com/office/drawing/2014/chart" uri="{C3380CC4-5D6E-409C-BE32-E72D297353CC}">
                <c16:uniqueId val="{0000002B-7980-4C82-8C1C-32D5A7B4E44B}"/>
              </c:ext>
            </c:extLst>
          </c:dPt>
          <c:dPt>
            <c:idx val="32"/>
            <c:invertIfNegative val="0"/>
            <c:bubble3D val="0"/>
            <c:spPr>
              <a:solidFill>
                <a:srgbClr val="E6E5E5"/>
              </a:solidFill>
              <a:ln>
                <a:noFill/>
              </a:ln>
              <a:effectLst/>
            </c:spPr>
            <c:extLst>
              <c:ext xmlns:c16="http://schemas.microsoft.com/office/drawing/2014/chart" uri="{C3380CC4-5D6E-409C-BE32-E72D297353CC}">
                <c16:uniqueId val="{00000005-7980-4C82-8C1C-32D5A7B4E44B}"/>
              </c:ext>
            </c:extLst>
          </c:dPt>
          <c:dPt>
            <c:idx val="33"/>
            <c:invertIfNegative val="1"/>
            <c:bubble3D val="0"/>
            <c:spPr>
              <a:solidFill>
                <a:srgbClr val="E6E5E5"/>
              </a:solidFill>
            </c:spPr>
            <c:extLst>
              <c:ext xmlns:c16="http://schemas.microsoft.com/office/drawing/2014/chart" uri="{C3380CC4-5D6E-409C-BE32-E72D297353CC}">
                <c16:uniqueId val="{0000002C-7980-4C82-8C1C-32D5A7B4E44B}"/>
              </c:ext>
            </c:extLst>
          </c:dPt>
          <c:dPt>
            <c:idx val="34"/>
            <c:invertIfNegative val="1"/>
            <c:bubble3D val="0"/>
            <c:spPr>
              <a:solidFill>
                <a:srgbClr val="E6E5E5"/>
              </a:solidFill>
            </c:spPr>
            <c:extLst>
              <c:ext xmlns:c16="http://schemas.microsoft.com/office/drawing/2014/chart" uri="{C3380CC4-5D6E-409C-BE32-E72D297353CC}">
                <c16:uniqueId val="{00000007-7980-4C82-8C1C-32D5A7B4E44B}"/>
              </c:ext>
            </c:extLst>
          </c:dPt>
          <c:dPt>
            <c:idx val="35"/>
            <c:invertIfNegative val="1"/>
            <c:bubble3D val="0"/>
            <c:spPr>
              <a:solidFill>
                <a:srgbClr val="E6E5E5"/>
              </a:solidFill>
            </c:spPr>
            <c:extLst>
              <c:ext xmlns:c16="http://schemas.microsoft.com/office/drawing/2014/chart" uri="{C3380CC4-5D6E-409C-BE32-E72D297353CC}">
                <c16:uniqueId val="{0000002D-7980-4C82-8C1C-32D5A7B4E44B}"/>
              </c:ext>
            </c:extLst>
          </c:dPt>
          <c:dPt>
            <c:idx val="36"/>
            <c:invertIfNegative val="1"/>
            <c:bubble3D val="0"/>
            <c:spPr>
              <a:solidFill>
                <a:srgbClr val="E6E5E5"/>
              </a:solidFill>
            </c:spPr>
            <c:extLst>
              <c:ext xmlns:c16="http://schemas.microsoft.com/office/drawing/2014/chart" uri="{C3380CC4-5D6E-409C-BE32-E72D297353CC}">
                <c16:uniqueId val="{0000002E-7980-4C82-8C1C-32D5A7B4E44B}"/>
              </c:ext>
            </c:extLst>
          </c:dPt>
          <c:dPt>
            <c:idx val="37"/>
            <c:invertIfNegative val="1"/>
            <c:bubble3D val="0"/>
            <c:spPr>
              <a:solidFill>
                <a:srgbClr val="E6E5E5"/>
              </a:solidFill>
            </c:spPr>
            <c:extLst>
              <c:ext xmlns:c16="http://schemas.microsoft.com/office/drawing/2014/chart" uri="{C3380CC4-5D6E-409C-BE32-E72D297353CC}">
                <c16:uniqueId val="{0000002F-7980-4C82-8C1C-32D5A7B4E44B}"/>
              </c:ext>
            </c:extLst>
          </c:dPt>
          <c:dPt>
            <c:idx val="38"/>
            <c:invertIfNegative val="1"/>
            <c:bubble3D val="0"/>
            <c:spPr>
              <a:solidFill>
                <a:srgbClr val="E6E5E5"/>
              </a:solidFill>
            </c:spPr>
            <c:extLst>
              <c:ext xmlns:c16="http://schemas.microsoft.com/office/drawing/2014/chart" uri="{C3380CC4-5D6E-409C-BE32-E72D297353CC}">
                <c16:uniqueId val="{00000030-7980-4C82-8C1C-32D5A7B4E44B}"/>
              </c:ext>
            </c:extLst>
          </c:dPt>
          <c:dPt>
            <c:idx val="39"/>
            <c:invertIfNegative val="1"/>
            <c:bubble3D val="0"/>
            <c:spPr>
              <a:solidFill>
                <a:srgbClr val="E6E5E5"/>
              </a:solidFill>
            </c:spPr>
            <c:extLst>
              <c:ext xmlns:c16="http://schemas.microsoft.com/office/drawing/2014/chart" uri="{C3380CC4-5D6E-409C-BE32-E72D297353CC}">
                <c16:uniqueId val="{00000031-7980-4C82-8C1C-32D5A7B4E44B}"/>
              </c:ext>
            </c:extLst>
          </c:dPt>
          <c:dPt>
            <c:idx val="40"/>
            <c:invertIfNegative val="1"/>
            <c:bubble3D val="0"/>
            <c:spPr>
              <a:solidFill>
                <a:srgbClr val="E6E5E5"/>
              </a:solidFill>
            </c:spPr>
            <c:extLst>
              <c:ext xmlns:c16="http://schemas.microsoft.com/office/drawing/2014/chart" uri="{C3380CC4-5D6E-409C-BE32-E72D297353CC}">
                <c16:uniqueId val="{00000032-7980-4C82-8C1C-32D5A7B4E44B}"/>
              </c:ext>
            </c:extLst>
          </c:dPt>
          <c:dPt>
            <c:idx val="41"/>
            <c:invertIfNegative val="1"/>
            <c:bubble3D val="0"/>
            <c:spPr>
              <a:solidFill>
                <a:srgbClr val="E6E5E5"/>
              </a:solidFill>
            </c:spPr>
            <c:extLst>
              <c:ext xmlns:c16="http://schemas.microsoft.com/office/drawing/2014/chart" uri="{C3380CC4-5D6E-409C-BE32-E72D297353CC}">
                <c16:uniqueId val="{00000033-7980-4C82-8C1C-32D5A7B4E44B}"/>
              </c:ext>
            </c:extLst>
          </c:dPt>
          <c:dPt>
            <c:idx val="42"/>
            <c:invertIfNegative val="1"/>
            <c:bubble3D val="0"/>
            <c:spPr>
              <a:solidFill>
                <a:srgbClr val="E6E5E5"/>
              </a:solidFill>
            </c:spPr>
            <c:extLst>
              <c:ext xmlns:c16="http://schemas.microsoft.com/office/drawing/2014/chart" uri="{C3380CC4-5D6E-409C-BE32-E72D297353CC}">
                <c16:uniqueId val="{00000009-7980-4C82-8C1C-32D5A7B4E44B}"/>
              </c:ext>
            </c:extLst>
          </c:dPt>
          <c:dPt>
            <c:idx val="43"/>
            <c:invertIfNegative val="1"/>
            <c:bubble3D val="0"/>
            <c:spPr>
              <a:solidFill>
                <a:srgbClr val="E6E5E5"/>
              </a:solidFill>
            </c:spPr>
            <c:extLst>
              <c:ext xmlns:c16="http://schemas.microsoft.com/office/drawing/2014/chart" uri="{C3380CC4-5D6E-409C-BE32-E72D297353CC}">
                <c16:uniqueId val="{0000000B-7980-4C82-8C1C-32D5A7B4E44B}"/>
              </c:ext>
            </c:extLst>
          </c:dPt>
          <c:dPt>
            <c:idx val="44"/>
            <c:invertIfNegative val="0"/>
            <c:bubble3D val="0"/>
            <c:spPr>
              <a:solidFill>
                <a:srgbClr val="E6E5E5"/>
              </a:solidFill>
              <a:ln>
                <a:noFill/>
              </a:ln>
              <a:effectLst/>
            </c:spPr>
            <c:extLst>
              <c:ext xmlns:c16="http://schemas.microsoft.com/office/drawing/2014/chart" uri="{C3380CC4-5D6E-409C-BE32-E72D297353CC}">
                <c16:uniqueId val="{00000034-7980-4C82-8C1C-32D5A7B4E44B}"/>
              </c:ext>
            </c:extLst>
          </c:dPt>
          <c:dPt>
            <c:idx val="45"/>
            <c:invertIfNegative val="1"/>
            <c:bubble3D val="0"/>
            <c:spPr>
              <a:solidFill>
                <a:srgbClr val="E6E5E5"/>
              </a:solidFill>
            </c:spPr>
            <c:extLst>
              <c:ext xmlns:c16="http://schemas.microsoft.com/office/drawing/2014/chart" uri="{C3380CC4-5D6E-409C-BE32-E72D297353CC}">
                <c16:uniqueId val="{00000035-7980-4C82-8C1C-32D5A7B4E44B}"/>
              </c:ext>
            </c:extLst>
          </c:dPt>
          <c:dPt>
            <c:idx val="46"/>
            <c:invertIfNegative val="1"/>
            <c:bubble3D val="0"/>
            <c:spPr>
              <a:solidFill>
                <a:srgbClr val="E6E5E5"/>
              </a:solidFill>
            </c:spPr>
            <c:extLst>
              <c:ext xmlns:c16="http://schemas.microsoft.com/office/drawing/2014/chart" uri="{C3380CC4-5D6E-409C-BE32-E72D297353CC}">
                <c16:uniqueId val="{00000036-7980-4C82-8C1C-32D5A7B4E44B}"/>
              </c:ext>
            </c:extLst>
          </c:dPt>
          <c:dPt>
            <c:idx val="47"/>
            <c:invertIfNegative val="1"/>
            <c:bubble3D val="0"/>
            <c:spPr>
              <a:solidFill>
                <a:srgbClr val="E6E5E5"/>
              </a:solidFill>
            </c:spPr>
            <c:extLst>
              <c:ext xmlns:c16="http://schemas.microsoft.com/office/drawing/2014/chart" uri="{C3380CC4-5D6E-409C-BE32-E72D297353CC}">
                <c16:uniqueId val="{00000037-7980-4C82-8C1C-32D5A7B4E44B}"/>
              </c:ext>
            </c:extLst>
          </c:dPt>
          <c:dPt>
            <c:idx val="48"/>
            <c:invertIfNegative val="1"/>
            <c:bubble3D val="0"/>
            <c:spPr>
              <a:solidFill>
                <a:srgbClr val="E6E5E5"/>
              </a:solidFill>
            </c:spPr>
            <c:extLst>
              <c:ext xmlns:c16="http://schemas.microsoft.com/office/drawing/2014/chart" uri="{C3380CC4-5D6E-409C-BE32-E72D297353CC}">
                <c16:uniqueId val="{00000038-7980-4C82-8C1C-32D5A7B4E44B}"/>
              </c:ext>
            </c:extLst>
          </c:dPt>
          <c:dPt>
            <c:idx val="49"/>
            <c:invertIfNegative val="0"/>
            <c:bubble3D val="0"/>
            <c:spPr>
              <a:solidFill>
                <a:srgbClr val="E6E5E5"/>
              </a:solidFill>
              <a:ln>
                <a:noFill/>
              </a:ln>
              <a:effectLst/>
            </c:spPr>
            <c:extLst>
              <c:ext xmlns:c16="http://schemas.microsoft.com/office/drawing/2014/chart" uri="{C3380CC4-5D6E-409C-BE32-E72D297353CC}">
                <c16:uniqueId val="{00000039-7980-4C82-8C1C-32D5A7B4E44B}"/>
              </c:ext>
            </c:extLst>
          </c:dPt>
          <c:dPt>
            <c:idx val="50"/>
            <c:invertIfNegative val="0"/>
            <c:bubble3D val="0"/>
            <c:spPr>
              <a:solidFill>
                <a:srgbClr val="E6E5E5"/>
              </a:solidFill>
              <a:ln>
                <a:noFill/>
              </a:ln>
              <a:effectLst/>
            </c:spPr>
            <c:extLst>
              <c:ext xmlns:c16="http://schemas.microsoft.com/office/drawing/2014/chart" uri="{C3380CC4-5D6E-409C-BE32-E72D297353CC}">
                <c16:uniqueId val="{0000003A-7980-4C82-8C1C-32D5A7B4E44B}"/>
              </c:ext>
            </c:extLst>
          </c:dPt>
          <c:dPt>
            <c:idx val="51"/>
            <c:invertIfNegative val="1"/>
            <c:bubble3D val="0"/>
            <c:spPr>
              <a:solidFill>
                <a:srgbClr val="E6E5E5"/>
              </a:solidFill>
            </c:spPr>
            <c:extLst>
              <c:ext xmlns:c16="http://schemas.microsoft.com/office/drawing/2014/chart" uri="{C3380CC4-5D6E-409C-BE32-E72D297353CC}">
                <c16:uniqueId val="{0000003B-7980-4C82-8C1C-32D5A7B4E44B}"/>
              </c:ext>
            </c:extLst>
          </c:dPt>
          <c:dPt>
            <c:idx val="52"/>
            <c:invertIfNegative val="1"/>
            <c:bubble3D val="0"/>
            <c:spPr>
              <a:solidFill>
                <a:srgbClr val="E6E5E5"/>
              </a:solidFill>
            </c:spPr>
            <c:extLst>
              <c:ext xmlns:c16="http://schemas.microsoft.com/office/drawing/2014/chart" uri="{C3380CC4-5D6E-409C-BE32-E72D297353CC}">
                <c16:uniqueId val="{0000003C-7980-4C82-8C1C-32D5A7B4E44B}"/>
              </c:ext>
            </c:extLst>
          </c:dPt>
          <c:dPt>
            <c:idx val="53"/>
            <c:invertIfNegative val="1"/>
            <c:bubble3D val="0"/>
            <c:spPr>
              <a:solidFill>
                <a:srgbClr val="E6E5E5"/>
              </a:solidFill>
            </c:spPr>
            <c:extLst>
              <c:ext xmlns:c16="http://schemas.microsoft.com/office/drawing/2014/chart" uri="{C3380CC4-5D6E-409C-BE32-E72D297353CC}">
                <c16:uniqueId val="{0000006B-77EF-42ED-BAFF-03BF265C16B5}"/>
              </c:ext>
            </c:extLst>
          </c:dPt>
          <c:dPt>
            <c:idx val="54"/>
            <c:invertIfNegative val="1"/>
            <c:bubble3D val="0"/>
            <c:spPr>
              <a:solidFill>
                <a:srgbClr val="E6E5E5"/>
              </a:solidFill>
            </c:spPr>
            <c:extLst>
              <c:ext xmlns:c16="http://schemas.microsoft.com/office/drawing/2014/chart" uri="{C3380CC4-5D6E-409C-BE32-E72D297353CC}">
                <c16:uniqueId val="{0000006D-77EF-42ED-BAFF-03BF265C16B5}"/>
              </c:ext>
            </c:extLst>
          </c:dPt>
          <c:dPt>
            <c:idx val="55"/>
            <c:invertIfNegative val="1"/>
            <c:bubble3D val="0"/>
            <c:spPr>
              <a:solidFill>
                <a:srgbClr val="E6E5E5"/>
              </a:solidFill>
            </c:spPr>
            <c:extLst>
              <c:ext xmlns:c16="http://schemas.microsoft.com/office/drawing/2014/chart" uri="{C3380CC4-5D6E-409C-BE32-E72D297353CC}">
                <c16:uniqueId val="{0000006F-77EF-42ED-BAFF-03BF265C16B5}"/>
              </c:ext>
            </c:extLst>
          </c:dPt>
          <c:dPt>
            <c:idx val="56"/>
            <c:invertIfNegative val="1"/>
            <c:bubble3D val="0"/>
            <c:spPr>
              <a:solidFill>
                <a:srgbClr val="E6E5E5"/>
              </a:solidFill>
            </c:spPr>
            <c:extLst>
              <c:ext xmlns:c16="http://schemas.microsoft.com/office/drawing/2014/chart" uri="{C3380CC4-5D6E-409C-BE32-E72D297353CC}">
                <c16:uniqueId val="{00000071-77EF-42ED-BAFF-03BF265C16B5}"/>
              </c:ext>
            </c:extLst>
          </c:dPt>
          <c:dPt>
            <c:idx val="57"/>
            <c:invertIfNegative val="1"/>
            <c:bubble3D val="0"/>
            <c:spPr>
              <a:solidFill>
                <a:srgbClr val="E6E5E5"/>
              </a:solidFill>
            </c:spPr>
            <c:extLst>
              <c:ext xmlns:c16="http://schemas.microsoft.com/office/drawing/2014/chart" uri="{C3380CC4-5D6E-409C-BE32-E72D297353CC}">
                <c16:uniqueId val="{00000073-77EF-42ED-BAFF-03BF265C16B5}"/>
              </c:ext>
            </c:extLst>
          </c:dPt>
          <c:dPt>
            <c:idx val="58"/>
            <c:invertIfNegative val="1"/>
            <c:bubble3D val="0"/>
            <c:spPr>
              <a:solidFill>
                <a:srgbClr val="E6E5E5"/>
              </a:solidFill>
            </c:spPr>
            <c:extLst>
              <c:ext xmlns:c16="http://schemas.microsoft.com/office/drawing/2014/chart" uri="{C3380CC4-5D6E-409C-BE32-E72D297353CC}">
                <c16:uniqueId val="{00000075-77EF-42ED-BAFF-03BF265C16B5}"/>
              </c:ext>
            </c:extLst>
          </c:dPt>
          <c:dPt>
            <c:idx val="59"/>
            <c:invertIfNegative val="1"/>
            <c:bubble3D val="0"/>
            <c:spPr>
              <a:solidFill>
                <a:srgbClr val="E6E5E5"/>
              </a:solidFill>
            </c:spPr>
            <c:extLst>
              <c:ext xmlns:c16="http://schemas.microsoft.com/office/drawing/2014/chart" uri="{C3380CC4-5D6E-409C-BE32-E72D297353CC}">
                <c16:uniqueId val="{00000077-77EF-42ED-BAFF-03BF265C16B5}"/>
              </c:ext>
            </c:extLst>
          </c:dPt>
          <c:dPt>
            <c:idx val="60"/>
            <c:invertIfNegative val="1"/>
            <c:bubble3D val="0"/>
            <c:spPr>
              <a:solidFill>
                <a:srgbClr val="E6E5E5"/>
              </a:solidFill>
            </c:spPr>
            <c:extLst>
              <c:ext xmlns:c16="http://schemas.microsoft.com/office/drawing/2014/chart" uri="{C3380CC4-5D6E-409C-BE32-E72D297353CC}">
                <c16:uniqueId val="{00000079-77EF-42ED-BAFF-03BF265C16B5}"/>
              </c:ext>
            </c:extLst>
          </c:dPt>
          <c:dPt>
            <c:idx val="61"/>
            <c:invertIfNegative val="1"/>
            <c:bubble3D val="0"/>
            <c:spPr>
              <a:solidFill>
                <a:srgbClr val="E6E5E5"/>
              </a:solidFill>
            </c:spPr>
            <c:extLst>
              <c:ext xmlns:c16="http://schemas.microsoft.com/office/drawing/2014/chart" uri="{C3380CC4-5D6E-409C-BE32-E72D297353CC}">
                <c16:uniqueId val="{0000007B-77EF-42ED-BAFF-03BF265C16B5}"/>
              </c:ext>
            </c:extLst>
          </c:dPt>
          <c:dPt>
            <c:idx val="62"/>
            <c:invertIfNegative val="1"/>
            <c:bubble3D val="0"/>
            <c:spPr>
              <a:solidFill>
                <a:srgbClr val="E6E5E5"/>
              </a:solidFill>
            </c:spPr>
            <c:extLst>
              <c:ext xmlns:c16="http://schemas.microsoft.com/office/drawing/2014/chart" uri="{C3380CC4-5D6E-409C-BE32-E72D297353CC}">
                <c16:uniqueId val="{0000007D-77EF-42ED-BAFF-03BF265C16B5}"/>
              </c:ext>
            </c:extLst>
          </c:dPt>
          <c:dPt>
            <c:idx val="63"/>
            <c:invertIfNegative val="1"/>
            <c:bubble3D val="0"/>
            <c:spPr>
              <a:solidFill>
                <a:srgbClr val="E6E5E5"/>
              </a:solidFill>
            </c:spPr>
            <c:extLst>
              <c:ext xmlns:c16="http://schemas.microsoft.com/office/drawing/2014/chart" uri="{C3380CC4-5D6E-409C-BE32-E72D297353CC}">
                <c16:uniqueId val="{0000007F-77EF-42ED-BAFF-03BF265C16B5}"/>
              </c:ext>
            </c:extLst>
          </c:dPt>
          <c:dPt>
            <c:idx val="64"/>
            <c:invertIfNegative val="1"/>
            <c:bubble3D val="0"/>
            <c:spPr>
              <a:solidFill>
                <a:srgbClr val="E6E5E5"/>
              </a:solidFill>
            </c:spPr>
            <c:extLst>
              <c:ext xmlns:c16="http://schemas.microsoft.com/office/drawing/2014/chart" uri="{C3380CC4-5D6E-409C-BE32-E72D297353CC}">
                <c16:uniqueId val="{00000081-77EF-42ED-BAFF-03BF265C16B5}"/>
              </c:ext>
            </c:extLst>
          </c:dPt>
          <c:dPt>
            <c:idx val="65"/>
            <c:invertIfNegative val="1"/>
            <c:bubble3D val="0"/>
            <c:spPr>
              <a:solidFill>
                <a:srgbClr val="E6E5E5"/>
              </a:solidFill>
            </c:spPr>
            <c:extLst>
              <c:ext xmlns:c16="http://schemas.microsoft.com/office/drawing/2014/chart" uri="{C3380CC4-5D6E-409C-BE32-E72D297353CC}">
                <c16:uniqueId val="{00000083-77EF-42ED-BAFF-03BF265C16B5}"/>
              </c:ext>
            </c:extLst>
          </c:dPt>
          <c:dPt>
            <c:idx val="66"/>
            <c:invertIfNegative val="1"/>
            <c:bubble3D val="0"/>
            <c:spPr>
              <a:solidFill>
                <a:srgbClr val="E6E5E5"/>
              </a:solidFill>
            </c:spPr>
            <c:extLst>
              <c:ext xmlns:c16="http://schemas.microsoft.com/office/drawing/2014/chart" uri="{C3380CC4-5D6E-409C-BE32-E72D297353CC}">
                <c16:uniqueId val="{00000085-77EF-42ED-BAFF-03BF265C16B5}"/>
              </c:ext>
            </c:extLst>
          </c:dPt>
          <c:dPt>
            <c:idx val="67"/>
            <c:invertIfNegative val="1"/>
            <c:bubble3D val="0"/>
            <c:spPr>
              <a:solidFill>
                <a:srgbClr val="E6E5E5"/>
              </a:solidFill>
            </c:spPr>
            <c:extLst>
              <c:ext xmlns:c16="http://schemas.microsoft.com/office/drawing/2014/chart" uri="{C3380CC4-5D6E-409C-BE32-E72D297353CC}">
                <c16:uniqueId val="{00000087-77EF-42ED-BAFF-03BF265C16B5}"/>
              </c:ext>
            </c:extLst>
          </c:dPt>
          <c:dPt>
            <c:idx val="68"/>
            <c:invertIfNegative val="1"/>
            <c:bubble3D val="0"/>
            <c:spPr>
              <a:solidFill>
                <a:srgbClr val="E6E5E5"/>
              </a:solidFill>
            </c:spPr>
            <c:extLst>
              <c:ext xmlns:c16="http://schemas.microsoft.com/office/drawing/2014/chart" uri="{C3380CC4-5D6E-409C-BE32-E72D297353CC}">
                <c16:uniqueId val="{00000089-77EF-42ED-BAFF-03BF265C16B5}"/>
              </c:ext>
            </c:extLst>
          </c:dPt>
          <c:dPt>
            <c:idx val="69"/>
            <c:invertIfNegative val="1"/>
            <c:bubble3D val="0"/>
            <c:spPr>
              <a:solidFill>
                <a:srgbClr val="E6E5E5"/>
              </a:solidFill>
            </c:spPr>
            <c:extLst>
              <c:ext xmlns:c16="http://schemas.microsoft.com/office/drawing/2014/chart" uri="{C3380CC4-5D6E-409C-BE32-E72D297353CC}">
                <c16:uniqueId val="{0000008B-77EF-42ED-BAFF-03BF265C16B5}"/>
              </c:ext>
            </c:extLst>
          </c:dPt>
          <c:dPt>
            <c:idx val="70"/>
            <c:invertIfNegative val="1"/>
            <c:bubble3D val="0"/>
            <c:spPr>
              <a:solidFill>
                <a:srgbClr val="E6E5E5"/>
              </a:solidFill>
            </c:spPr>
            <c:extLst>
              <c:ext xmlns:c16="http://schemas.microsoft.com/office/drawing/2014/chart" uri="{C3380CC4-5D6E-409C-BE32-E72D297353CC}">
                <c16:uniqueId val="{0000008D-77EF-42ED-BAFF-03BF265C16B5}"/>
              </c:ext>
            </c:extLst>
          </c:dPt>
          <c:dPt>
            <c:idx val="71"/>
            <c:invertIfNegative val="1"/>
            <c:bubble3D val="0"/>
            <c:spPr>
              <a:solidFill>
                <a:srgbClr val="E6E5E5"/>
              </a:solidFill>
            </c:spPr>
            <c:extLst>
              <c:ext xmlns:c16="http://schemas.microsoft.com/office/drawing/2014/chart" uri="{C3380CC4-5D6E-409C-BE32-E72D297353CC}">
                <c16:uniqueId val="{0000008F-77EF-42ED-BAFF-03BF265C16B5}"/>
              </c:ext>
            </c:extLst>
          </c:dPt>
          <c:dPt>
            <c:idx val="72"/>
            <c:invertIfNegative val="1"/>
            <c:bubble3D val="0"/>
            <c:spPr>
              <a:solidFill>
                <a:srgbClr val="E6E5E5"/>
              </a:solidFill>
            </c:spPr>
            <c:extLst>
              <c:ext xmlns:c16="http://schemas.microsoft.com/office/drawing/2014/chart" uri="{C3380CC4-5D6E-409C-BE32-E72D297353CC}">
                <c16:uniqueId val="{00000091-77EF-42ED-BAFF-03BF265C16B5}"/>
              </c:ext>
            </c:extLst>
          </c:dPt>
          <c:dPt>
            <c:idx val="73"/>
            <c:invertIfNegative val="1"/>
            <c:bubble3D val="0"/>
            <c:spPr>
              <a:solidFill>
                <a:srgbClr val="E6E5E5"/>
              </a:solidFill>
            </c:spPr>
            <c:extLst>
              <c:ext xmlns:c16="http://schemas.microsoft.com/office/drawing/2014/chart" uri="{C3380CC4-5D6E-409C-BE32-E72D297353CC}">
                <c16:uniqueId val="{00000093-77EF-42ED-BAFF-03BF265C16B5}"/>
              </c:ext>
            </c:extLst>
          </c:dPt>
          <c:dPt>
            <c:idx val="74"/>
            <c:invertIfNegative val="1"/>
            <c:bubble3D val="0"/>
            <c:spPr>
              <a:solidFill>
                <a:srgbClr val="E6E5E5"/>
              </a:solidFill>
            </c:spPr>
            <c:extLst>
              <c:ext xmlns:c16="http://schemas.microsoft.com/office/drawing/2014/chart" uri="{C3380CC4-5D6E-409C-BE32-E72D297353CC}">
                <c16:uniqueId val="{00000095-77EF-42ED-BAFF-03BF265C16B5}"/>
              </c:ext>
            </c:extLst>
          </c:dPt>
          <c:dPt>
            <c:idx val="75"/>
            <c:invertIfNegative val="1"/>
            <c:bubble3D val="0"/>
            <c:spPr>
              <a:solidFill>
                <a:srgbClr val="E6E5E5"/>
              </a:solidFill>
            </c:spPr>
            <c:extLst>
              <c:ext xmlns:c16="http://schemas.microsoft.com/office/drawing/2014/chart" uri="{C3380CC4-5D6E-409C-BE32-E72D297353CC}">
                <c16:uniqueId val="{00000097-77EF-42ED-BAFF-03BF265C16B5}"/>
              </c:ext>
            </c:extLst>
          </c:dPt>
          <c:dPt>
            <c:idx val="76"/>
            <c:invertIfNegative val="1"/>
            <c:bubble3D val="0"/>
            <c:spPr>
              <a:solidFill>
                <a:srgbClr val="E6E5E5"/>
              </a:solidFill>
            </c:spPr>
            <c:extLst>
              <c:ext xmlns:c16="http://schemas.microsoft.com/office/drawing/2014/chart" uri="{C3380CC4-5D6E-409C-BE32-E72D297353CC}">
                <c16:uniqueId val="{00000099-77EF-42ED-BAFF-03BF265C16B5}"/>
              </c:ext>
            </c:extLst>
          </c:dPt>
          <c:dPt>
            <c:idx val="77"/>
            <c:invertIfNegative val="1"/>
            <c:bubble3D val="0"/>
            <c:spPr>
              <a:solidFill>
                <a:srgbClr val="E6E5E5"/>
              </a:solidFill>
            </c:spPr>
            <c:extLst>
              <c:ext xmlns:c16="http://schemas.microsoft.com/office/drawing/2014/chart" uri="{C3380CC4-5D6E-409C-BE32-E72D297353CC}">
                <c16:uniqueId val="{0000009B-77EF-42ED-BAFF-03BF265C16B5}"/>
              </c:ext>
            </c:extLst>
          </c:dPt>
          <c:dPt>
            <c:idx val="78"/>
            <c:invertIfNegative val="1"/>
            <c:bubble3D val="0"/>
            <c:spPr>
              <a:solidFill>
                <a:srgbClr val="E6E5E5"/>
              </a:solidFill>
            </c:spPr>
            <c:extLst>
              <c:ext xmlns:c16="http://schemas.microsoft.com/office/drawing/2014/chart" uri="{C3380CC4-5D6E-409C-BE32-E72D297353CC}">
                <c16:uniqueId val="{0000009D-77EF-42ED-BAFF-03BF265C16B5}"/>
              </c:ext>
            </c:extLst>
          </c:dPt>
          <c:dPt>
            <c:idx val="79"/>
            <c:invertIfNegative val="1"/>
            <c:bubble3D val="0"/>
            <c:spPr>
              <a:solidFill>
                <a:srgbClr val="E6E5E5"/>
              </a:solidFill>
            </c:spPr>
            <c:extLst>
              <c:ext xmlns:c16="http://schemas.microsoft.com/office/drawing/2014/chart" uri="{C3380CC4-5D6E-409C-BE32-E72D297353CC}">
                <c16:uniqueId val="{0000009F-77EF-42ED-BAFF-03BF265C16B5}"/>
              </c:ext>
            </c:extLst>
          </c:dPt>
          <c:dPt>
            <c:idx val="80"/>
            <c:invertIfNegative val="1"/>
            <c:bubble3D val="0"/>
            <c:spPr>
              <a:solidFill>
                <a:srgbClr val="E6E5E5"/>
              </a:solidFill>
            </c:spPr>
            <c:extLst>
              <c:ext xmlns:c16="http://schemas.microsoft.com/office/drawing/2014/chart" uri="{C3380CC4-5D6E-409C-BE32-E72D297353CC}">
                <c16:uniqueId val="{000000A1-77EF-42ED-BAFF-03BF265C16B5}"/>
              </c:ext>
            </c:extLst>
          </c:dPt>
          <c:dPt>
            <c:idx val="81"/>
            <c:invertIfNegative val="1"/>
            <c:bubble3D val="0"/>
            <c:spPr>
              <a:solidFill>
                <a:srgbClr val="E6E5E5"/>
              </a:solidFill>
            </c:spPr>
            <c:extLst>
              <c:ext xmlns:c16="http://schemas.microsoft.com/office/drawing/2014/chart" uri="{C3380CC4-5D6E-409C-BE32-E72D297353CC}">
                <c16:uniqueId val="{000000A3-77EF-42ED-BAFF-03BF265C16B5}"/>
              </c:ext>
            </c:extLst>
          </c:dPt>
          <c:dPt>
            <c:idx val="82"/>
            <c:invertIfNegative val="1"/>
            <c:bubble3D val="0"/>
            <c:spPr>
              <a:solidFill>
                <a:srgbClr val="E6E5E5"/>
              </a:solidFill>
            </c:spPr>
            <c:extLst>
              <c:ext xmlns:c16="http://schemas.microsoft.com/office/drawing/2014/chart" uri="{C3380CC4-5D6E-409C-BE32-E72D297353CC}">
                <c16:uniqueId val="{000000A5-77EF-42ED-BAFF-03BF265C16B5}"/>
              </c:ext>
            </c:extLst>
          </c:dPt>
          <c:dPt>
            <c:idx val="83"/>
            <c:invertIfNegative val="1"/>
            <c:bubble3D val="0"/>
            <c:spPr>
              <a:solidFill>
                <a:srgbClr val="E6E5E5"/>
              </a:solidFill>
            </c:spPr>
            <c:extLst>
              <c:ext xmlns:c16="http://schemas.microsoft.com/office/drawing/2014/chart" uri="{C3380CC4-5D6E-409C-BE32-E72D297353CC}">
                <c16:uniqueId val="{000000A7-77EF-42ED-BAFF-03BF265C16B5}"/>
              </c:ext>
            </c:extLst>
          </c:dPt>
          <c:dPt>
            <c:idx val="84"/>
            <c:invertIfNegative val="1"/>
            <c:bubble3D val="0"/>
            <c:spPr>
              <a:solidFill>
                <a:srgbClr val="E6E5E5"/>
              </a:solidFill>
            </c:spPr>
            <c:extLst>
              <c:ext xmlns:c16="http://schemas.microsoft.com/office/drawing/2014/chart" uri="{C3380CC4-5D6E-409C-BE32-E72D297353CC}">
                <c16:uniqueId val="{000000A9-77EF-42ED-BAFF-03BF265C16B5}"/>
              </c:ext>
            </c:extLst>
          </c:dPt>
          <c:dPt>
            <c:idx val="85"/>
            <c:invertIfNegative val="1"/>
            <c:bubble3D val="0"/>
            <c:spPr>
              <a:solidFill>
                <a:srgbClr val="E6E5E5"/>
              </a:solidFill>
            </c:spPr>
            <c:extLst>
              <c:ext xmlns:c16="http://schemas.microsoft.com/office/drawing/2014/chart" uri="{C3380CC4-5D6E-409C-BE32-E72D297353CC}">
                <c16:uniqueId val="{000000AB-77EF-42ED-BAFF-03BF265C16B5}"/>
              </c:ext>
            </c:extLst>
          </c:dPt>
          <c:dPt>
            <c:idx val="86"/>
            <c:invertIfNegative val="1"/>
            <c:bubble3D val="0"/>
            <c:spPr>
              <a:solidFill>
                <a:srgbClr val="E6E5E5"/>
              </a:solidFill>
            </c:spPr>
            <c:extLst>
              <c:ext xmlns:c16="http://schemas.microsoft.com/office/drawing/2014/chart" uri="{C3380CC4-5D6E-409C-BE32-E72D297353CC}">
                <c16:uniqueId val="{000000AD-77EF-42ED-BAFF-03BF265C16B5}"/>
              </c:ext>
            </c:extLst>
          </c:dPt>
          <c:dPt>
            <c:idx val="87"/>
            <c:invertIfNegative val="1"/>
            <c:bubble3D val="0"/>
            <c:spPr>
              <a:solidFill>
                <a:srgbClr val="E6E5E5"/>
              </a:solidFill>
            </c:spPr>
            <c:extLst>
              <c:ext xmlns:c16="http://schemas.microsoft.com/office/drawing/2014/chart" uri="{C3380CC4-5D6E-409C-BE32-E72D297353CC}">
                <c16:uniqueId val="{000000AF-77EF-42ED-BAFF-03BF265C16B5}"/>
              </c:ext>
            </c:extLst>
          </c:dPt>
          <c:dPt>
            <c:idx val="88"/>
            <c:invertIfNegative val="1"/>
            <c:bubble3D val="0"/>
            <c:spPr>
              <a:solidFill>
                <a:srgbClr val="E6E5E5"/>
              </a:solidFill>
            </c:spPr>
            <c:extLst>
              <c:ext xmlns:c16="http://schemas.microsoft.com/office/drawing/2014/chart" uri="{C3380CC4-5D6E-409C-BE32-E72D297353CC}">
                <c16:uniqueId val="{000000B1-77EF-42ED-BAFF-03BF265C16B5}"/>
              </c:ext>
            </c:extLst>
          </c:dPt>
          <c:dPt>
            <c:idx val="89"/>
            <c:invertIfNegative val="1"/>
            <c:bubble3D val="0"/>
            <c:spPr>
              <a:solidFill>
                <a:srgbClr val="E6E5E5"/>
              </a:solidFill>
            </c:spPr>
            <c:extLst>
              <c:ext xmlns:c16="http://schemas.microsoft.com/office/drawing/2014/chart" uri="{C3380CC4-5D6E-409C-BE32-E72D297353CC}">
                <c16:uniqueId val="{000000B3-77EF-42ED-BAFF-03BF265C16B5}"/>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7980-4C82-8C1C-32D5A7B4E44B}"/>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7980-4C82-8C1C-32D5A7B4E44B}"/>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7980-4C82-8C1C-32D5A7B4E44B}"/>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7980-4C82-8C1C-32D5A7B4E44B}"/>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7980-4C82-8C1C-32D5A7B4E44B}"/>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7980-4C82-8C1C-32D5A7B4E44B}"/>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7980-4C82-8C1C-32D5A7B4E44B}"/>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7980-4C82-8C1C-32D5A7B4E44B}"/>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7980-4C82-8C1C-32D5A7B4E44B}"/>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7980-4C82-8C1C-32D5A7B4E44B}"/>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7980-4C82-8C1C-32D5A7B4E44B}"/>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7980-4C82-8C1C-32D5A7B4E44B}"/>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7980-4C82-8C1C-32D5A7B4E44B}"/>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7980-4C82-8C1C-32D5A7B4E44B}"/>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7980-4C82-8C1C-32D5A7B4E44B}"/>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7980-4C82-8C1C-32D5A7B4E44B}"/>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7980-4C82-8C1C-32D5A7B4E44B}"/>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7980-4C82-8C1C-32D5A7B4E44B}"/>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7980-4C82-8C1C-32D5A7B4E44B}"/>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7980-4C82-8C1C-32D5A7B4E44B}"/>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7980-4C82-8C1C-32D5A7B4E44B}"/>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7980-4C82-8C1C-32D5A7B4E44B}"/>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7980-4C82-8C1C-32D5A7B4E44B}"/>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7980-4C82-8C1C-32D5A7B4E44B}"/>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7980-4C82-8C1C-32D5A7B4E44B}"/>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7980-4C82-8C1C-32D5A7B4E44B}"/>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7980-4C82-8C1C-32D5A7B4E44B}"/>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7980-4C82-8C1C-32D5A7B4E44B}"/>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7980-4C82-8C1C-32D5A7B4E44B}"/>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7980-4C82-8C1C-32D5A7B4E44B}"/>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7980-4C82-8C1C-32D5A7B4E44B}"/>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7980-4C82-8C1C-32D5A7B4E44B}"/>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980-4C82-8C1C-32D5A7B4E44B}"/>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7980-4C82-8C1C-32D5A7B4E44B}"/>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980-4C82-8C1C-32D5A7B4E44B}"/>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7980-4C82-8C1C-32D5A7B4E44B}"/>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7980-4C82-8C1C-32D5A7B4E44B}"/>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7980-4C82-8C1C-32D5A7B4E44B}"/>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7980-4C82-8C1C-32D5A7B4E44B}"/>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7980-4C82-8C1C-32D5A7B4E44B}"/>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layout>
                    <c:manualLayout>
                      <c:w val="4.4718783068783061E-2"/>
                      <c:h val="5.0377414451733424E-2"/>
                    </c:manualLayout>
                  </c15:layout>
                  <c15:showDataLabelsRange val="0"/>
                </c:ext>
                <c:ext xmlns:c16="http://schemas.microsoft.com/office/drawing/2014/chart" uri="{C3380CC4-5D6E-409C-BE32-E72D297353CC}">
                  <c16:uniqueId val="{00000032-7980-4C82-8C1C-32D5A7B4E44B}"/>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7980-4C82-8C1C-32D5A7B4E44B}"/>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7980-4C82-8C1C-32D5A7B4E44B}"/>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7980-4C82-8C1C-32D5A7B4E44B}"/>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7980-4C82-8C1C-32D5A7B4E44B}"/>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7980-4C82-8C1C-32D5A7B4E44B}"/>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7980-4C82-8C1C-32D5A7B4E44B}"/>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7980-4C82-8C1C-32D5A7B4E44B}"/>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7980-4C82-8C1C-32D5A7B4E44B}"/>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7980-4C82-8C1C-32D5A7B4E44B}"/>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7980-4C82-8C1C-32D5A7B4E44B}"/>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7980-4C82-8C1C-32D5A7B4E44B}"/>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7980-4C82-8C1C-32D5A7B4E44B}"/>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77EF-42ED-BAFF-03BF265C16B5}"/>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77EF-42ED-BAFF-03BF265C16B5}"/>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77EF-42ED-BAFF-03BF265C16B5}"/>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77EF-42ED-BAFF-03BF265C16B5}"/>
                </c:ext>
              </c:extLst>
            </c:dLbl>
            <c:dLbl>
              <c:idx val="5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77EF-42ED-BAFF-03BF265C16B5}"/>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77EF-42ED-BAFF-03BF265C16B5}"/>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77EF-42ED-BAFF-03BF265C16B5}"/>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77EF-42ED-BAFF-03BF265C16B5}"/>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77EF-42ED-BAFF-03BF265C16B5}"/>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77EF-42ED-BAFF-03BF265C16B5}"/>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77EF-42ED-BAFF-03BF265C16B5}"/>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77EF-42ED-BAFF-03BF265C16B5}"/>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77EF-42ED-BAFF-03BF265C16B5}"/>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77EF-42ED-BAFF-03BF265C16B5}"/>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77EF-42ED-BAFF-03BF265C16B5}"/>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77EF-42ED-BAFF-03BF265C16B5}"/>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77EF-42ED-BAFF-03BF265C16B5}"/>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77EF-42ED-BAFF-03BF265C16B5}"/>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77EF-42ED-BAFF-03BF265C16B5}"/>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77EF-42ED-BAFF-03BF265C16B5}"/>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77EF-42ED-BAFF-03BF265C16B5}"/>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77EF-42ED-BAFF-03BF265C16B5}"/>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77EF-42ED-BAFF-03BF265C16B5}"/>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77EF-42ED-BAFF-03BF265C16B5}"/>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77EF-42ED-BAFF-03BF265C16B5}"/>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77EF-42ED-BAFF-03BF265C16B5}"/>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77EF-42ED-BAFF-03BF265C16B5}"/>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77EF-42ED-BAFF-03BF265C16B5}"/>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77EF-42ED-BAFF-03BF265C16B5}"/>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77EF-42ED-BAFF-03BF265C16B5}"/>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77EF-42ED-BAFF-03BF265C16B5}"/>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77EF-42ED-BAFF-03BF265C16B5}"/>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77EF-42ED-BAFF-03BF265C16B5}"/>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77EF-42ED-BAFF-03BF265C16B5}"/>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77EF-42ED-BAFF-03BF265C16B5}"/>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77EF-42ED-BAFF-03BF265C16B5}"/>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9</c:f>
              <c:strCache>
                <c:ptCount val="78"/>
                <c:pt idx="0">
                  <c:v>Galaxy Jewels 1.4kg</c:v>
                </c:pt>
                <c:pt idx="1">
                  <c:v>Ferrero Rocher 300g</c:v>
                </c:pt>
                <c:pt idx="2">
                  <c:v>Galaxy Smooth Milk Chocolate 36g x 24</c:v>
                </c:pt>
                <c:pt idx="3">
                  <c:v>Galaxy Jewels 900g</c:v>
                </c:pt>
                <c:pt idx="4">
                  <c:v>Galaxy Jewels 650g</c:v>
                </c:pt>
                <c:pt idx="5">
                  <c:v>Cadbury Dairy Milk Minis Selection 500g</c:v>
                </c:pt>
                <c:pt idx="6">
                  <c:v>Kit Kat 17.7g x 18</c:v>
                </c:pt>
                <c:pt idx="7">
                  <c:v>Kinder Bueno Milk&amp;Hazelnut 43g</c:v>
                </c:pt>
                <c:pt idx="8">
                  <c:v>Tiffany Break Supa 38gx12</c:v>
                </c:pt>
                <c:pt idx="9">
                  <c:v>Snickers 50gx6</c:v>
                </c:pt>
                <c:pt idx="10">
                  <c:v>Tiffany Break 24x15.5g</c:v>
                </c:pt>
                <c:pt idx="11">
                  <c:v>Tiffany Break Mini Fun 384g</c:v>
                </c:pt>
                <c:pt idx="12">
                  <c:v>Kinder Bueno Milk&amp;Hazelnut 43gx10</c:v>
                </c:pt>
                <c:pt idx="13">
                  <c:v>Mackintosh Quality Street Chocolate 600g</c:v>
                </c:pt>
                <c:pt idx="14">
                  <c:v>Snickers Bar 50g</c:v>
                </c:pt>
                <c:pt idx="15">
                  <c:v>Maltesers Chocolate 175g</c:v>
                </c:pt>
                <c:pt idx="16">
                  <c:v>Tiffany Break 31gx12</c:v>
                </c:pt>
                <c:pt idx="17">
                  <c:v>Tiffany Break Delight 25gx12</c:v>
                </c:pt>
                <c:pt idx="18">
                  <c:v>Snickers Minis Bag 252g</c:v>
                </c:pt>
                <c:pt idx="19">
                  <c:v>Cadbury Miniatures Box 400g</c:v>
                </c:pt>
                <c:pt idx="20">
                  <c:v>Bounty Bar 57g</c:v>
                </c:pt>
                <c:pt idx="21">
                  <c:v>Galaxy Smooth Milk Minis 237.5g</c:v>
                </c:pt>
                <c:pt idx="22">
                  <c:v>Bounty Bar 57g x 5</c:v>
                </c:pt>
                <c:pt idx="23">
                  <c:v>Kinder Maxi Chocolate 21gx11 (10+1)</c:v>
                </c:pt>
                <c:pt idx="24">
                  <c:v>Ferrero Rocher 200g</c:v>
                </c:pt>
                <c:pt idx="25">
                  <c:v>Ferrero Raffaello 150g box </c:v>
                </c:pt>
                <c:pt idx="26">
                  <c:v>Galaxy Hazelnut Minis 237.5g</c:v>
                </c:pt>
                <c:pt idx="27">
                  <c:v>Twix 50gx5</c:v>
                </c:pt>
                <c:pt idx="28">
                  <c:v>Twix Bar 50g</c:v>
                </c:pt>
                <c:pt idx="29">
                  <c:v>Maltesers Chocolate 37g</c:v>
                </c:pt>
                <c:pt idx="30">
                  <c:v>Snickers Miniatures 150g</c:v>
                </c:pt>
                <c:pt idx="31">
                  <c:v>Cadbury Flake Minis Bag 159.5g</c:v>
                </c:pt>
                <c:pt idx="32">
                  <c:v>M&amp;M's Peanut 165g</c:v>
                </c:pt>
                <c:pt idx="33">
                  <c:v>Twix Miniatures 150g</c:v>
                </c:pt>
                <c:pt idx="34">
                  <c:v>Cadbury Timeout Minis Wafer 247.2g</c:v>
                </c:pt>
                <c:pt idx="35">
                  <c:v>Toblerone Milk Chocolate 200g</c:v>
                </c:pt>
                <c:pt idx="36">
                  <c:v>Galaxy Smooth Milk Minis 162.5g</c:v>
                </c:pt>
                <c:pt idx="37">
                  <c:v>Mars 45g x 6</c:v>
                </c:pt>
                <c:pt idx="38">
                  <c:v>Bounty Miniatures 150g</c:v>
                </c:pt>
                <c:pt idx="39">
                  <c:v>Kinder Chocolate Bar 8x12.5g</c:v>
                </c:pt>
                <c:pt idx="40">
                  <c:v>Galaxy Smooth Dark Chocolate 40g</c:v>
                </c:pt>
                <c:pt idx="41">
                  <c:v>Mars Bar 51g </c:v>
                </c:pt>
                <c:pt idx="42">
                  <c:v>Hershey's Kisses Special Selection Assorted 325g</c:v>
                </c:pt>
                <c:pt idx="43">
                  <c:v>Galaxy Hazelnut Chocolate 36g</c:v>
                </c:pt>
                <c:pt idx="44">
                  <c:v>Galaxy Smooth Milk Chocolate 36g</c:v>
                </c:pt>
                <c:pt idx="45">
                  <c:v>Galaxy Caramel Bar 40g</c:v>
                </c:pt>
                <c:pt idx="46">
                  <c:v>Kinder Chocolate Bar 50g</c:v>
                </c:pt>
                <c:pt idx="47">
                  <c:v>Kinder Bueno White 39g</c:v>
                </c:pt>
                <c:pt idx="48">
                  <c:v>Hershey's Kisses Classic Selection Assorted 325g</c:v>
                </c:pt>
                <c:pt idx="49">
                  <c:v>Galaxy Crispy Milk Chocolate 36g</c:v>
                </c:pt>
                <c:pt idx="50">
                  <c:v> Reeses Peanut Butter Cup Mini 340g </c:v>
                </c:pt>
                <c:pt idx="51">
                  <c:v>Kit Kat 17.7g</c:v>
                </c:pt>
                <c:pt idx="52">
                  <c:v> Reeses Peanut Butter Cup 42g x 6</c:v>
                </c:pt>
                <c:pt idx="53">
                  <c:v>Reeses Peanut Butter Cups 46g</c:v>
                </c:pt>
                <c:pt idx="54">
                  <c:v>Reeses Peanut Butter Cup Mini 215g</c:v>
                </c:pt>
                <c:pt idx="55">
                  <c:v>M&amp;M's Milk Chocolate 30.6g</c:v>
                </c:pt>
                <c:pt idx="56">
                  <c:v>Godiva Double Chocolate Bar 35g</c:v>
                </c:pt>
                <c:pt idx="57">
                  <c:v>Galaxy Smooth Milk Chocolate 80g</c:v>
                </c:pt>
                <c:pt idx="58">
                  <c:v>Galaxy Ripple Bar 33g</c:v>
                </c:pt>
                <c:pt idx="59">
                  <c:v>Hershey's Chocobites Cookies 'n Creme 90g</c:v>
                </c:pt>
                <c:pt idx="60">
                  <c:v>Hershey's Kisses Special Selection Assorted 100g</c:v>
                </c:pt>
                <c:pt idx="61">
                  <c:v>Hershey's Chocobites Salted Caramel 81g</c:v>
                </c:pt>
                <c:pt idx="62">
                  <c:v>Hershey's Cookies N' Chocolate 40g</c:v>
                </c:pt>
                <c:pt idx="63">
                  <c:v>Reeses Block 90g</c:v>
                </c:pt>
                <c:pt idx="64">
                  <c:v>Reeses Nut Bar 47g</c:v>
                </c:pt>
                <c:pt idx="65">
                  <c:v>Hershey's Kisses Classic Selection Assorted 100g</c:v>
                </c:pt>
                <c:pt idx="66">
                  <c:v>Hershey's Cookies 'n Creme Block 90g</c:v>
                </c:pt>
                <c:pt idx="67">
                  <c:v>Hershey's Cookies N' Crème 12.76g</c:v>
                </c:pt>
                <c:pt idx="68">
                  <c:v> Reeses Wafer Sticks 42g</c:v>
                </c:pt>
                <c:pt idx="69">
                  <c:v>Hershey's Choco Tubes Cookies N' Creme 18g</c:v>
                </c:pt>
                <c:pt idx="70">
                  <c:v> Reeses Peanut Butter Cup Mini 500G</c:v>
                </c:pt>
                <c:pt idx="71">
                  <c:v>Reeses Pieces 180g</c:v>
                </c:pt>
                <c:pt idx="72">
                  <c:v>Reeses Mini King Size 71g</c:v>
                </c:pt>
                <c:pt idx="73">
                  <c:v>Hershey's Cookies 'n Creme Creations Salted Caramel 38g</c:v>
                </c:pt>
                <c:pt idx="74">
                  <c:v>Hersheys Kisses Classic Selection Assorted 600G</c:v>
                </c:pt>
                <c:pt idx="75">
                  <c:v>Hershey's Cookies 'n Creme 40Gx 4</c:v>
                </c:pt>
                <c:pt idx="76">
                  <c:v>Hershey's Variety Pack 40Gx3</c:v>
                </c:pt>
                <c:pt idx="77">
                  <c:v>Reeses Fast break 51g</c:v>
                </c:pt>
              </c:strCache>
            </c:strRef>
          </c:cat>
          <c:val>
            <c:numRef>
              <c:f>Sheet1!$B$2:$B$79</c:f>
              <c:numCache>
                <c:formatCode>General</c:formatCode>
                <c:ptCount val="78"/>
                <c:pt idx="0">
                  <c:v>8.7472496097121558E-2</c:v>
                </c:pt>
                <c:pt idx="1">
                  <c:v>5.7538947324104119E-2</c:v>
                </c:pt>
                <c:pt idx="2">
                  <c:v>5.2433248127097418E-2</c:v>
                </c:pt>
                <c:pt idx="3">
                  <c:v>5.2427028090236263E-2</c:v>
                </c:pt>
                <c:pt idx="4">
                  <c:v>4.8702496145713738E-2</c:v>
                </c:pt>
                <c:pt idx="5">
                  <c:v>3.984530703204197E-2</c:v>
                </c:pt>
                <c:pt idx="6">
                  <c:v>2.9281333941963E-2</c:v>
                </c:pt>
                <c:pt idx="7">
                  <c:v>2.7690668434504601E-2</c:v>
                </c:pt>
                <c:pt idx="8">
                  <c:v>2.5210000455187748E-2</c:v>
                </c:pt>
                <c:pt idx="9">
                  <c:v>2.4943187003251179E-2</c:v>
                </c:pt>
                <c:pt idx="10">
                  <c:v>2.4410882866364541E-2</c:v>
                </c:pt>
                <c:pt idx="11">
                  <c:v>2.431449668967391E-2</c:v>
                </c:pt>
                <c:pt idx="12">
                  <c:v>2.2624836421410909E-2</c:v>
                </c:pt>
                <c:pt idx="13">
                  <c:v>2.240126222098935E-2</c:v>
                </c:pt>
                <c:pt idx="14">
                  <c:v>2.1312383520667021E-2</c:v>
                </c:pt>
                <c:pt idx="15">
                  <c:v>2.0948557967625781E-2</c:v>
                </c:pt>
                <c:pt idx="16">
                  <c:v>2.0802759209870909E-2</c:v>
                </c:pt>
                <c:pt idx="17">
                  <c:v>1.796715545025266E-2</c:v>
                </c:pt>
                <c:pt idx="18">
                  <c:v>1.6841617507406651E-2</c:v>
                </c:pt>
                <c:pt idx="19">
                  <c:v>1.595185798501797E-2</c:v>
                </c:pt>
                <c:pt idx="20">
                  <c:v>1.5133684418223889E-2</c:v>
                </c:pt>
                <c:pt idx="21">
                  <c:v>1.4607463502544641E-2</c:v>
                </c:pt>
                <c:pt idx="22">
                  <c:v>1.4327795755228641E-2</c:v>
                </c:pt>
                <c:pt idx="23">
                  <c:v>1.4300496139580759E-2</c:v>
                </c:pt>
                <c:pt idx="24">
                  <c:v>1.428543080773065E-2</c:v>
                </c:pt>
                <c:pt idx="25">
                  <c:v>1.4034261062238269E-2</c:v>
                </c:pt>
                <c:pt idx="26">
                  <c:v>1.329639293211704E-2</c:v>
                </c:pt>
                <c:pt idx="27">
                  <c:v>1.2785194916348211E-2</c:v>
                </c:pt>
                <c:pt idx="28">
                  <c:v>1.1550390621815201E-2</c:v>
                </c:pt>
                <c:pt idx="29">
                  <c:v>1.1357457804435761E-2</c:v>
                </c:pt>
                <c:pt idx="30">
                  <c:v>1.086426231323109E-2</c:v>
                </c:pt>
                <c:pt idx="31">
                  <c:v>1.0480589734489711E-2</c:v>
                </c:pt>
                <c:pt idx="32">
                  <c:v>1.0430399563066959E-2</c:v>
                </c:pt>
                <c:pt idx="33">
                  <c:v>1.020525301098122E-2</c:v>
                </c:pt>
                <c:pt idx="34">
                  <c:v>9.9953769134242237E-3</c:v>
                </c:pt>
                <c:pt idx="35">
                  <c:v>9.681768078509994E-3</c:v>
                </c:pt>
                <c:pt idx="36">
                  <c:v>9.4015158630799279E-3</c:v>
                </c:pt>
                <c:pt idx="37">
                  <c:v>8.0950411657840678E-3</c:v>
                </c:pt>
                <c:pt idx="38">
                  <c:v>7.5484160737205926E-3</c:v>
                </c:pt>
                <c:pt idx="39">
                  <c:v>7.4456816552401391E-3</c:v>
                </c:pt>
                <c:pt idx="40">
                  <c:v>7.2259315698773264E-3</c:v>
                </c:pt>
                <c:pt idx="41">
                  <c:v>7.1656336772027091E-3</c:v>
                </c:pt>
                <c:pt idx="42">
                  <c:v>6.7758356553924001E-3</c:v>
                </c:pt>
                <c:pt idx="43">
                  <c:v>6.6474385250116421E-3</c:v>
                </c:pt>
                <c:pt idx="44">
                  <c:v>6.5896804076022017E-3</c:v>
                </c:pt>
                <c:pt idx="45">
                  <c:v>6.1115357976134982E-3</c:v>
                </c:pt>
                <c:pt idx="46">
                  <c:v>5.451110043885531E-3</c:v>
                </c:pt>
                <c:pt idx="47">
                  <c:v>5.4366567437936376E-3</c:v>
                </c:pt>
                <c:pt idx="48">
                  <c:v>5.0655794386848208E-3</c:v>
                </c:pt>
                <c:pt idx="49">
                  <c:v>4.8777439605028356E-3</c:v>
                </c:pt>
                <c:pt idx="50">
                  <c:v>4.8173841850306202E-3</c:v>
                </c:pt>
                <c:pt idx="51">
                  <c:v>4.757078936432276E-3</c:v>
                </c:pt>
                <c:pt idx="52">
                  <c:v>4.6073366062554071E-3</c:v>
                </c:pt>
                <c:pt idx="53">
                  <c:v>4.4996529359943851E-3</c:v>
                </c:pt>
                <c:pt idx="54">
                  <c:v>4.3987723156036279E-3</c:v>
                </c:pt>
                <c:pt idx="55">
                  <c:v>4.0273573708384863E-3</c:v>
                </c:pt>
                <c:pt idx="56">
                  <c:v>3.9203779776991127E-3</c:v>
                </c:pt>
                <c:pt idx="57">
                  <c:v>3.4968857436555559E-3</c:v>
                </c:pt>
                <c:pt idx="58">
                  <c:v>3.318392300390517E-3</c:v>
                </c:pt>
                <c:pt idx="59">
                  <c:v>2.7099351522742849E-3</c:v>
                </c:pt>
                <c:pt idx="60">
                  <c:v>2.541972149100086E-3</c:v>
                </c:pt>
                <c:pt idx="61">
                  <c:v>2.4365023024946779E-3</c:v>
                </c:pt>
                <c:pt idx="62">
                  <c:v>2.4242122973904402E-3</c:v>
                </c:pt>
                <c:pt idx="63">
                  <c:v>2.1546631701556051E-3</c:v>
                </c:pt>
                <c:pt idx="64">
                  <c:v>1.6539174754250411E-3</c:v>
                </c:pt>
                <c:pt idx="65">
                  <c:v>1.533100664626598E-3</c:v>
                </c:pt>
                <c:pt idx="66">
                  <c:v>1.2803795821592181E-3</c:v>
                </c:pt>
                <c:pt idx="67">
                  <c:v>7.8328664731944621E-4</c:v>
                </c:pt>
                <c:pt idx="68">
                  <c:v>2.7127970870976262E-4</c:v>
                </c:pt>
                <c:pt idx="69">
                  <c:v>7.2971836586101626E-5</c:v>
                </c:pt>
                <c:pt idx="70">
                  <c:v>0</c:v>
                </c:pt>
                <c:pt idx="71">
                  <c:v>0</c:v>
                </c:pt>
                <c:pt idx="72">
                  <c:v>0</c:v>
                </c:pt>
                <c:pt idx="73">
                  <c:v>0</c:v>
                </c:pt>
                <c:pt idx="74">
                  <c:v>0</c:v>
                </c:pt>
                <c:pt idx="75">
                  <c:v>0</c:v>
                </c:pt>
                <c:pt idx="76">
                  <c:v>0</c:v>
                </c:pt>
                <c:pt idx="77">
                  <c:v>0</c:v>
                </c:pt>
              </c:numCache>
            </c:numRef>
          </c:val>
          <c:extLst>
            <c:ext xmlns:c16="http://schemas.microsoft.com/office/drawing/2014/chart" uri="{C3380CC4-5D6E-409C-BE32-E72D297353CC}">
              <c16:uniqueId val="{00000042-7980-4C82-8C1C-32D5A7B4E44B}"/>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ershey's Cookies 'n Creme Block 90g</c:v>
                </c:pt>
              </c:strCache>
            </c:strRef>
          </c:tx>
          <c:spPr>
            <a:solidFill>
              <a:schemeClr val="bg2"/>
            </a:solidFill>
            <a:ln>
              <a:noFill/>
            </a:ln>
            <a:effectLst/>
          </c:spPr>
          <c:invertIfNegative val="0"/>
          <c:dPt>
            <c:idx val="0"/>
            <c:invertIfNegative val="0"/>
            <c:bubble3D val="0"/>
            <c:spPr>
              <a:solidFill>
                <a:srgbClr val="E6E5E5"/>
              </a:solidFill>
              <a:ln>
                <a:noFill/>
              </a:ln>
              <a:effectLst/>
            </c:spPr>
            <c:extLst>
              <c:ext xmlns:c16="http://schemas.microsoft.com/office/drawing/2014/chart" uri="{C3380CC4-5D6E-409C-BE32-E72D297353CC}">
                <c16:uniqueId val="{0000000E-7980-4C82-8C1C-32D5A7B4E44B}"/>
              </c:ext>
            </c:extLst>
          </c:dPt>
          <c:dPt>
            <c:idx val="1"/>
            <c:invertIfNegative val="1"/>
            <c:bubble3D val="0"/>
            <c:spPr>
              <a:solidFill>
                <a:srgbClr val="E6E5E5"/>
              </a:solidFill>
            </c:spPr>
            <c:extLst>
              <c:ext xmlns:c16="http://schemas.microsoft.com/office/drawing/2014/chart" uri="{C3380CC4-5D6E-409C-BE32-E72D297353CC}">
                <c16:uniqueId val="{0000000F-7980-4C82-8C1C-32D5A7B4E44B}"/>
              </c:ext>
            </c:extLst>
          </c:dPt>
          <c:dPt>
            <c:idx val="2"/>
            <c:invertIfNegative val="1"/>
            <c:bubble3D val="0"/>
            <c:spPr>
              <a:solidFill>
                <a:srgbClr val="E6E5E5"/>
              </a:solidFill>
            </c:spPr>
            <c:extLst>
              <c:ext xmlns:c16="http://schemas.microsoft.com/office/drawing/2014/chart" uri="{C3380CC4-5D6E-409C-BE32-E72D297353CC}">
                <c16:uniqueId val="{00000010-7980-4C82-8C1C-32D5A7B4E44B}"/>
              </c:ext>
            </c:extLst>
          </c:dPt>
          <c:dPt>
            <c:idx val="3"/>
            <c:invertIfNegative val="0"/>
            <c:bubble3D val="0"/>
            <c:spPr>
              <a:solidFill>
                <a:srgbClr val="E6E5E5"/>
              </a:solidFill>
              <a:ln>
                <a:noFill/>
              </a:ln>
              <a:effectLst/>
            </c:spPr>
            <c:extLst>
              <c:ext xmlns:c16="http://schemas.microsoft.com/office/drawing/2014/chart" uri="{C3380CC4-5D6E-409C-BE32-E72D297353CC}">
                <c16:uniqueId val="{00000011-7980-4C82-8C1C-32D5A7B4E44B}"/>
              </c:ext>
            </c:extLst>
          </c:dPt>
          <c:dPt>
            <c:idx val="4"/>
            <c:invertIfNegative val="1"/>
            <c:bubble3D val="0"/>
            <c:spPr>
              <a:solidFill>
                <a:srgbClr val="E6E5E5"/>
              </a:solidFill>
            </c:spPr>
            <c:extLst>
              <c:ext xmlns:c16="http://schemas.microsoft.com/office/drawing/2014/chart" uri="{C3380CC4-5D6E-409C-BE32-E72D297353CC}">
                <c16:uniqueId val="{00000012-7980-4C82-8C1C-32D5A7B4E44B}"/>
              </c:ext>
            </c:extLst>
          </c:dPt>
          <c:dPt>
            <c:idx val="5"/>
            <c:invertIfNegative val="1"/>
            <c:bubble3D val="0"/>
            <c:spPr>
              <a:solidFill>
                <a:srgbClr val="E6E5E5"/>
              </a:solidFill>
            </c:spPr>
            <c:extLst>
              <c:ext xmlns:c16="http://schemas.microsoft.com/office/drawing/2014/chart" uri="{C3380CC4-5D6E-409C-BE32-E72D297353CC}">
                <c16:uniqueId val="{00000013-7980-4C82-8C1C-32D5A7B4E44B}"/>
              </c:ext>
            </c:extLst>
          </c:dPt>
          <c:dPt>
            <c:idx val="6"/>
            <c:invertIfNegative val="1"/>
            <c:bubble3D val="0"/>
            <c:spPr>
              <a:solidFill>
                <a:srgbClr val="E6E5E5"/>
              </a:solidFill>
            </c:spPr>
            <c:extLst>
              <c:ext xmlns:c16="http://schemas.microsoft.com/office/drawing/2014/chart" uri="{C3380CC4-5D6E-409C-BE32-E72D297353CC}">
                <c16:uniqueId val="{00000014-7980-4C82-8C1C-32D5A7B4E44B}"/>
              </c:ext>
            </c:extLst>
          </c:dPt>
          <c:dPt>
            <c:idx val="7"/>
            <c:invertIfNegative val="1"/>
            <c:bubble3D val="0"/>
            <c:spPr>
              <a:solidFill>
                <a:srgbClr val="E6E5E5"/>
              </a:solidFill>
            </c:spPr>
            <c:extLst>
              <c:ext xmlns:c16="http://schemas.microsoft.com/office/drawing/2014/chart" uri="{C3380CC4-5D6E-409C-BE32-E72D297353CC}">
                <c16:uniqueId val="{00000015-7980-4C82-8C1C-32D5A7B4E44B}"/>
              </c:ext>
            </c:extLst>
          </c:dPt>
          <c:dPt>
            <c:idx val="8"/>
            <c:invertIfNegative val="1"/>
            <c:bubble3D val="0"/>
            <c:spPr>
              <a:solidFill>
                <a:srgbClr val="E6E5E5"/>
              </a:solidFill>
            </c:spPr>
            <c:extLst>
              <c:ext xmlns:c16="http://schemas.microsoft.com/office/drawing/2014/chart" uri="{C3380CC4-5D6E-409C-BE32-E72D297353CC}">
                <c16:uniqueId val="{00000016-7980-4C82-8C1C-32D5A7B4E44B}"/>
              </c:ext>
            </c:extLst>
          </c:dPt>
          <c:dPt>
            <c:idx val="9"/>
            <c:invertIfNegative val="1"/>
            <c:bubble3D val="0"/>
            <c:spPr>
              <a:solidFill>
                <a:srgbClr val="E6E5E5"/>
              </a:solidFill>
            </c:spPr>
            <c:extLst>
              <c:ext xmlns:c16="http://schemas.microsoft.com/office/drawing/2014/chart" uri="{C3380CC4-5D6E-409C-BE32-E72D297353CC}">
                <c16:uniqueId val="{00000017-7980-4C82-8C1C-32D5A7B4E44B}"/>
              </c:ext>
            </c:extLst>
          </c:dPt>
          <c:dPt>
            <c:idx val="10"/>
            <c:invertIfNegative val="1"/>
            <c:bubble3D val="0"/>
            <c:spPr>
              <a:solidFill>
                <a:srgbClr val="E6E5E5"/>
              </a:solidFill>
            </c:spPr>
            <c:extLst>
              <c:ext xmlns:c16="http://schemas.microsoft.com/office/drawing/2014/chart" uri="{C3380CC4-5D6E-409C-BE32-E72D297353CC}">
                <c16:uniqueId val="{00000018-7980-4C82-8C1C-32D5A7B4E44B}"/>
              </c:ext>
            </c:extLst>
          </c:dPt>
          <c:dPt>
            <c:idx val="11"/>
            <c:invertIfNegative val="1"/>
            <c:bubble3D val="0"/>
            <c:spPr>
              <a:solidFill>
                <a:srgbClr val="E6E5E5"/>
              </a:solidFill>
            </c:spPr>
            <c:extLst>
              <c:ext xmlns:c16="http://schemas.microsoft.com/office/drawing/2014/chart" uri="{C3380CC4-5D6E-409C-BE32-E72D297353CC}">
                <c16:uniqueId val="{00000019-7980-4C82-8C1C-32D5A7B4E44B}"/>
              </c:ext>
            </c:extLst>
          </c:dPt>
          <c:dPt>
            <c:idx val="12"/>
            <c:invertIfNegative val="1"/>
            <c:bubble3D val="0"/>
            <c:spPr>
              <a:solidFill>
                <a:srgbClr val="E6E5E5"/>
              </a:solidFill>
            </c:spPr>
            <c:extLst>
              <c:ext xmlns:c16="http://schemas.microsoft.com/office/drawing/2014/chart" uri="{C3380CC4-5D6E-409C-BE32-E72D297353CC}">
                <c16:uniqueId val="{0000001A-7980-4C82-8C1C-32D5A7B4E44B}"/>
              </c:ext>
            </c:extLst>
          </c:dPt>
          <c:dPt>
            <c:idx val="13"/>
            <c:invertIfNegative val="1"/>
            <c:bubble3D val="0"/>
            <c:spPr>
              <a:solidFill>
                <a:srgbClr val="E6E5E5"/>
              </a:solidFill>
            </c:spPr>
            <c:extLst>
              <c:ext xmlns:c16="http://schemas.microsoft.com/office/drawing/2014/chart" uri="{C3380CC4-5D6E-409C-BE32-E72D297353CC}">
                <c16:uniqueId val="{0000001B-7980-4C82-8C1C-32D5A7B4E44B}"/>
              </c:ext>
            </c:extLst>
          </c:dPt>
          <c:dPt>
            <c:idx val="14"/>
            <c:invertIfNegative val="0"/>
            <c:bubble3D val="0"/>
            <c:spPr>
              <a:solidFill>
                <a:srgbClr val="E6E5E5"/>
              </a:solidFill>
              <a:ln>
                <a:noFill/>
              </a:ln>
              <a:effectLst/>
            </c:spPr>
            <c:extLst>
              <c:ext xmlns:c16="http://schemas.microsoft.com/office/drawing/2014/chart" uri="{C3380CC4-5D6E-409C-BE32-E72D297353CC}">
                <c16:uniqueId val="{0000001C-7980-4C82-8C1C-32D5A7B4E44B}"/>
              </c:ext>
            </c:extLst>
          </c:dPt>
          <c:dPt>
            <c:idx val="15"/>
            <c:invertIfNegative val="1"/>
            <c:bubble3D val="0"/>
            <c:spPr>
              <a:solidFill>
                <a:srgbClr val="E6E5E5"/>
              </a:solidFill>
            </c:spPr>
            <c:extLst>
              <c:ext xmlns:c16="http://schemas.microsoft.com/office/drawing/2014/chart" uri="{C3380CC4-5D6E-409C-BE32-E72D297353CC}">
                <c16:uniqueId val="{0000001D-7980-4C82-8C1C-32D5A7B4E44B}"/>
              </c:ext>
            </c:extLst>
          </c:dPt>
          <c:dPt>
            <c:idx val="16"/>
            <c:invertIfNegative val="1"/>
            <c:bubble3D val="0"/>
            <c:spPr>
              <a:solidFill>
                <a:srgbClr val="E6E5E5"/>
              </a:solidFill>
            </c:spPr>
            <c:extLst>
              <c:ext xmlns:c16="http://schemas.microsoft.com/office/drawing/2014/chart" uri="{C3380CC4-5D6E-409C-BE32-E72D297353CC}">
                <c16:uniqueId val="{0000001E-7980-4C82-8C1C-32D5A7B4E44B}"/>
              </c:ext>
            </c:extLst>
          </c:dPt>
          <c:dPt>
            <c:idx val="17"/>
            <c:invertIfNegative val="0"/>
            <c:bubble3D val="0"/>
            <c:spPr>
              <a:solidFill>
                <a:srgbClr val="E6E5E5"/>
              </a:solidFill>
              <a:ln>
                <a:noFill/>
              </a:ln>
              <a:effectLst/>
            </c:spPr>
            <c:extLst>
              <c:ext xmlns:c16="http://schemas.microsoft.com/office/drawing/2014/chart" uri="{C3380CC4-5D6E-409C-BE32-E72D297353CC}">
                <c16:uniqueId val="{0000001F-7980-4C82-8C1C-32D5A7B4E44B}"/>
              </c:ext>
            </c:extLst>
          </c:dPt>
          <c:dPt>
            <c:idx val="18"/>
            <c:invertIfNegative val="1"/>
            <c:bubble3D val="0"/>
            <c:spPr>
              <a:solidFill>
                <a:srgbClr val="E6E5E5"/>
              </a:solidFill>
            </c:spPr>
            <c:extLst>
              <c:ext xmlns:c16="http://schemas.microsoft.com/office/drawing/2014/chart" uri="{C3380CC4-5D6E-409C-BE32-E72D297353CC}">
                <c16:uniqueId val="{00000020-7980-4C82-8C1C-32D5A7B4E44B}"/>
              </c:ext>
            </c:extLst>
          </c:dPt>
          <c:dPt>
            <c:idx val="19"/>
            <c:invertIfNegative val="1"/>
            <c:bubble3D val="0"/>
            <c:spPr>
              <a:solidFill>
                <a:srgbClr val="E6E5E5"/>
              </a:solidFill>
            </c:spPr>
            <c:extLst>
              <c:ext xmlns:c16="http://schemas.microsoft.com/office/drawing/2014/chart" uri="{C3380CC4-5D6E-409C-BE32-E72D297353CC}">
                <c16:uniqueId val="{00000021-7980-4C82-8C1C-32D5A7B4E44B}"/>
              </c:ext>
            </c:extLst>
          </c:dPt>
          <c:dPt>
            <c:idx val="20"/>
            <c:invertIfNegative val="1"/>
            <c:bubble3D val="0"/>
            <c:spPr>
              <a:solidFill>
                <a:srgbClr val="E6E5E5"/>
              </a:solidFill>
            </c:spPr>
            <c:extLst>
              <c:ext xmlns:c16="http://schemas.microsoft.com/office/drawing/2014/chart" uri="{C3380CC4-5D6E-409C-BE32-E72D297353CC}">
                <c16:uniqueId val="{00000022-7980-4C82-8C1C-32D5A7B4E44B}"/>
              </c:ext>
            </c:extLst>
          </c:dPt>
          <c:dPt>
            <c:idx val="21"/>
            <c:invertIfNegative val="1"/>
            <c:bubble3D val="0"/>
            <c:spPr>
              <a:solidFill>
                <a:srgbClr val="E6E5E5"/>
              </a:solidFill>
            </c:spPr>
            <c:extLst>
              <c:ext xmlns:c16="http://schemas.microsoft.com/office/drawing/2014/chart" uri="{C3380CC4-5D6E-409C-BE32-E72D297353CC}">
                <c16:uniqueId val="{00000001-7980-4C82-8C1C-32D5A7B4E44B}"/>
              </c:ext>
            </c:extLst>
          </c:dPt>
          <c:dPt>
            <c:idx val="22"/>
            <c:invertIfNegative val="1"/>
            <c:bubble3D val="0"/>
            <c:spPr>
              <a:solidFill>
                <a:srgbClr val="E6E5E5"/>
              </a:solidFill>
            </c:spPr>
            <c:extLst>
              <c:ext xmlns:c16="http://schemas.microsoft.com/office/drawing/2014/chart" uri="{C3380CC4-5D6E-409C-BE32-E72D297353CC}">
                <c16:uniqueId val="{00000023-7980-4C82-8C1C-32D5A7B4E44B}"/>
              </c:ext>
            </c:extLst>
          </c:dPt>
          <c:dPt>
            <c:idx val="23"/>
            <c:invertIfNegative val="1"/>
            <c:bubble3D val="0"/>
            <c:spPr>
              <a:solidFill>
                <a:srgbClr val="E6E5E5"/>
              </a:solidFill>
            </c:spPr>
            <c:extLst>
              <c:ext xmlns:c16="http://schemas.microsoft.com/office/drawing/2014/chart" uri="{C3380CC4-5D6E-409C-BE32-E72D297353CC}">
                <c16:uniqueId val="{00000003-7980-4C82-8C1C-32D5A7B4E44B}"/>
              </c:ext>
            </c:extLst>
          </c:dPt>
          <c:dPt>
            <c:idx val="24"/>
            <c:invertIfNegative val="1"/>
            <c:bubble3D val="0"/>
            <c:spPr>
              <a:solidFill>
                <a:srgbClr val="E6E5E5"/>
              </a:solidFill>
            </c:spPr>
            <c:extLst>
              <c:ext xmlns:c16="http://schemas.microsoft.com/office/drawing/2014/chart" uri="{C3380CC4-5D6E-409C-BE32-E72D297353CC}">
                <c16:uniqueId val="{00000024-7980-4C82-8C1C-32D5A7B4E44B}"/>
              </c:ext>
            </c:extLst>
          </c:dPt>
          <c:dPt>
            <c:idx val="25"/>
            <c:invertIfNegative val="1"/>
            <c:bubble3D val="0"/>
            <c:spPr>
              <a:solidFill>
                <a:srgbClr val="E6E5E5"/>
              </a:solidFill>
            </c:spPr>
            <c:extLst>
              <c:ext xmlns:c16="http://schemas.microsoft.com/office/drawing/2014/chart" uri="{C3380CC4-5D6E-409C-BE32-E72D297353CC}">
                <c16:uniqueId val="{00000025-7980-4C82-8C1C-32D5A7B4E44B}"/>
              </c:ext>
            </c:extLst>
          </c:dPt>
          <c:dPt>
            <c:idx val="26"/>
            <c:invertIfNegative val="1"/>
            <c:bubble3D val="0"/>
            <c:spPr>
              <a:solidFill>
                <a:srgbClr val="E6E5E5"/>
              </a:solidFill>
            </c:spPr>
            <c:extLst>
              <c:ext xmlns:c16="http://schemas.microsoft.com/office/drawing/2014/chart" uri="{C3380CC4-5D6E-409C-BE32-E72D297353CC}">
                <c16:uniqueId val="{00000026-7980-4C82-8C1C-32D5A7B4E44B}"/>
              </c:ext>
            </c:extLst>
          </c:dPt>
          <c:dPt>
            <c:idx val="27"/>
            <c:invertIfNegative val="1"/>
            <c:bubble3D val="0"/>
            <c:spPr>
              <a:solidFill>
                <a:srgbClr val="E6E5E5"/>
              </a:solidFill>
            </c:spPr>
            <c:extLst>
              <c:ext xmlns:c16="http://schemas.microsoft.com/office/drawing/2014/chart" uri="{C3380CC4-5D6E-409C-BE32-E72D297353CC}">
                <c16:uniqueId val="{00000027-7980-4C82-8C1C-32D5A7B4E44B}"/>
              </c:ext>
            </c:extLst>
          </c:dPt>
          <c:dPt>
            <c:idx val="28"/>
            <c:invertIfNegative val="1"/>
            <c:bubble3D val="0"/>
            <c:spPr>
              <a:solidFill>
                <a:srgbClr val="E6E5E5"/>
              </a:solidFill>
            </c:spPr>
            <c:extLst>
              <c:ext xmlns:c16="http://schemas.microsoft.com/office/drawing/2014/chart" uri="{C3380CC4-5D6E-409C-BE32-E72D297353CC}">
                <c16:uniqueId val="{00000028-7980-4C82-8C1C-32D5A7B4E44B}"/>
              </c:ext>
            </c:extLst>
          </c:dPt>
          <c:dPt>
            <c:idx val="29"/>
            <c:invertIfNegative val="1"/>
            <c:bubble3D val="0"/>
            <c:spPr>
              <a:solidFill>
                <a:srgbClr val="E6E5E5"/>
              </a:solidFill>
            </c:spPr>
            <c:extLst>
              <c:ext xmlns:c16="http://schemas.microsoft.com/office/drawing/2014/chart" uri="{C3380CC4-5D6E-409C-BE32-E72D297353CC}">
                <c16:uniqueId val="{00000029-7980-4C82-8C1C-32D5A7B4E44B}"/>
              </c:ext>
            </c:extLst>
          </c:dPt>
          <c:dPt>
            <c:idx val="30"/>
            <c:invertIfNegative val="1"/>
            <c:bubble3D val="0"/>
            <c:spPr>
              <a:solidFill>
                <a:srgbClr val="E6E5E5"/>
              </a:solidFill>
            </c:spPr>
            <c:extLst>
              <c:ext xmlns:c16="http://schemas.microsoft.com/office/drawing/2014/chart" uri="{C3380CC4-5D6E-409C-BE32-E72D297353CC}">
                <c16:uniqueId val="{0000002A-7980-4C82-8C1C-32D5A7B4E44B}"/>
              </c:ext>
            </c:extLst>
          </c:dPt>
          <c:dPt>
            <c:idx val="31"/>
            <c:invertIfNegative val="1"/>
            <c:bubble3D val="0"/>
            <c:spPr>
              <a:solidFill>
                <a:srgbClr val="E6E5E5"/>
              </a:solidFill>
            </c:spPr>
            <c:extLst>
              <c:ext xmlns:c16="http://schemas.microsoft.com/office/drawing/2014/chart" uri="{C3380CC4-5D6E-409C-BE32-E72D297353CC}">
                <c16:uniqueId val="{0000002B-7980-4C82-8C1C-32D5A7B4E44B}"/>
              </c:ext>
            </c:extLst>
          </c:dPt>
          <c:dPt>
            <c:idx val="32"/>
            <c:invertIfNegative val="0"/>
            <c:bubble3D val="0"/>
            <c:spPr>
              <a:solidFill>
                <a:srgbClr val="E6E5E5"/>
              </a:solidFill>
              <a:ln>
                <a:noFill/>
              </a:ln>
              <a:effectLst/>
            </c:spPr>
            <c:extLst>
              <c:ext xmlns:c16="http://schemas.microsoft.com/office/drawing/2014/chart" uri="{C3380CC4-5D6E-409C-BE32-E72D297353CC}">
                <c16:uniqueId val="{00000005-7980-4C82-8C1C-32D5A7B4E44B}"/>
              </c:ext>
            </c:extLst>
          </c:dPt>
          <c:dPt>
            <c:idx val="33"/>
            <c:invertIfNegative val="1"/>
            <c:bubble3D val="0"/>
            <c:spPr>
              <a:solidFill>
                <a:srgbClr val="E6E5E5"/>
              </a:solidFill>
            </c:spPr>
            <c:extLst>
              <c:ext xmlns:c16="http://schemas.microsoft.com/office/drawing/2014/chart" uri="{C3380CC4-5D6E-409C-BE32-E72D297353CC}">
                <c16:uniqueId val="{0000002C-7980-4C82-8C1C-32D5A7B4E44B}"/>
              </c:ext>
            </c:extLst>
          </c:dPt>
          <c:dPt>
            <c:idx val="34"/>
            <c:invertIfNegative val="1"/>
            <c:bubble3D val="0"/>
            <c:spPr>
              <a:solidFill>
                <a:srgbClr val="E6E5E5"/>
              </a:solidFill>
            </c:spPr>
            <c:extLst>
              <c:ext xmlns:c16="http://schemas.microsoft.com/office/drawing/2014/chart" uri="{C3380CC4-5D6E-409C-BE32-E72D297353CC}">
                <c16:uniqueId val="{00000007-7980-4C82-8C1C-32D5A7B4E44B}"/>
              </c:ext>
            </c:extLst>
          </c:dPt>
          <c:dPt>
            <c:idx val="35"/>
            <c:invertIfNegative val="1"/>
            <c:bubble3D val="0"/>
            <c:spPr>
              <a:solidFill>
                <a:srgbClr val="E6E5E5"/>
              </a:solidFill>
            </c:spPr>
            <c:extLst>
              <c:ext xmlns:c16="http://schemas.microsoft.com/office/drawing/2014/chart" uri="{C3380CC4-5D6E-409C-BE32-E72D297353CC}">
                <c16:uniqueId val="{0000002D-7980-4C82-8C1C-32D5A7B4E44B}"/>
              </c:ext>
            </c:extLst>
          </c:dPt>
          <c:dPt>
            <c:idx val="36"/>
            <c:invertIfNegative val="1"/>
            <c:bubble3D val="0"/>
            <c:spPr>
              <a:solidFill>
                <a:srgbClr val="E6E5E5"/>
              </a:solidFill>
            </c:spPr>
            <c:extLst>
              <c:ext xmlns:c16="http://schemas.microsoft.com/office/drawing/2014/chart" uri="{C3380CC4-5D6E-409C-BE32-E72D297353CC}">
                <c16:uniqueId val="{0000002E-7980-4C82-8C1C-32D5A7B4E44B}"/>
              </c:ext>
            </c:extLst>
          </c:dPt>
          <c:dPt>
            <c:idx val="37"/>
            <c:invertIfNegative val="1"/>
            <c:bubble3D val="0"/>
            <c:spPr>
              <a:solidFill>
                <a:srgbClr val="E6E5E5"/>
              </a:solidFill>
            </c:spPr>
            <c:extLst>
              <c:ext xmlns:c16="http://schemas.microsoft.com/office/drawing/2014/chart" uri="{C3380CC4-5D6E-409C-BE32-E72D297353CC}">
                <c16:uniqueId val="{0000002F-7980-4C82-8C1C-32D5A7B4E44B}"/>
              </c:ext>
            </c:extLst>
          </c:dPt>
          <c:dPt>
            <c:idx val="38"/>
            <c:invertIfNegative val="1"/>
            <c:bubble3D val="0"/>
            <c:spPr>
              <a:solidFill>
                <a:srgbClr val="E6E5E5"/>
              </a:solidFill>
            </c:spPr>
            <c:extLst>
              <c:ext xmlns:c16="http://schemas.microsoft.com/office/drawing/2014/chart" uri="{C3380CC4-5D6E-409C-BE32-E72D297353CC}">
                <c16:uniqueId val="{00000030-7980-4C82-8C1C-32D5A7B4E44B}"/>
              </c:ext>
            </c:extLst>
          </c:dPt>
          <c:dPt>
            <c:idx val="39"/>
            <c:invertIfNegative val="1"/>
            <c:bubble3D val="0"/>
            <c:spPr>
              <a:solidFill>
                <a:srgbClr val="E6E5E5"/>
              </a:solidFill>
            </c:spPr>
            <c:extLst>
              <c:ext xmlns:c16="http://schemas.microsoft.com/office/drawing/2014/chart" uri="{C3380CC4-5D6E-409C-BE32-E72D297353CC}">
                <c16:uniqueId val="{00000031-7980-4C82-8C1C-32D5A7B4E44B}"/>
              </c:ext>
            </c:extLst>
          </c:dPt>
          <c:dPt>
            <c:idx val="40"/>
            <c:invertIfNegative val="1"/>
            <c:bubble3D val="0"/>
            <c:spPr>
              <a:solidFill>
                <a:srgbClr val="E6E5E5"/>
              </a:solidFill>
            </c:spPr>
            <c:extLst>
              <c:ext xmlns:c16="http://schemas.microsoft.com/office/drawing/2014/chart" uri="{C3380CC4-5D6E-409C-BE32-E72D297353CC}">
                <c16:uniqueId val="{00000032-7980-4C82-8C1C-32D5A7B4E44B}"/>
              </c:ext>
            </c:extLst>
          </c:dPt>
          <c:dPt>
            <c:idx val="41"/>
            <c:invertIfNegative val="1"/>
            <c:bubble3D val="0"/>
            <c:spPr>
              <a:solidFill>
                <a:srgbClr val="E6E5E5"/>
              </a:solidFill>
            </c:spPr>
            <c:extLst>
              <c:ext xmlns:c16="http://schemas.microsoft.com/office/drawing/2014/chart" uri="{C3380CC4-5D6E-409C-BE32-E72D297353CC}">
                <c16:uniqueId val="{00000033-7980-4C82-8C1C-32D5A7B4E44B}"/>
              </c:ext>
            </c:extLst>
          </c:dPt>
          <c:dPt>
            <c:idx val="42"/>
            <c:invertIfNegative val="1"/>
            <c:bubble3D val="0"/>
            <c:spPr>
              <a:solidFill>
                <a:srgbClr val="E6E5E5"/>
              </a:solidFill>
            </c:spPr>
            <c:extLst>
              <c:ext xmlns:c16="http://schemas.microsoft.com/office/drawing/2014/chart" uri="{C3380CC4-5D6E-409C-BE32-E72D297353CC}">
                <c16:uniqueId val="{00000009-7980-4C82-8C1C-32D5A7B4E44B}"/>
              </c:ext>
            </c:extLst>
          </c:dPt>
          <c:dPt>
            <c:idx val="43"/>
            <c:invertIfNegative val="1"/>
            <c:bubble3D val="0"/>
            <c:spPr>
              <a:solidFill>
                <a:srgbClr val="E6E5E5"/>
              </a:solidFill>
            </c:spPr>
            <c:extLst>
              <c:ext xmlns:c16="http://schemas.microsoft.com/office/drawing/2014/chart" uri="{C3380CC4-5D6E-409C-BE32-E72D297353CC}">
                <c16:uniqueId val="{0000000B-7980-4C82-8C1C-32D5A7B4E44B}"/>
              </c:ext>
            </c:extLst>
          </c:dPt>
          <c:dPt>
            <c:idx val="44"/>
            <c:invertIfNegative val="0"/>
            <c:bubble3D val="0"/>
            <c:spPr>
              <a:solidFill>
                <a:srgbClr val="E6E5E5"/>
              </a:solidFill>
              <a:ln>
                <a:noFill/>
              </a:ln>
              <a:effectLst/>
            </c:spPr>
            <c:extLst>
              <c:ext xmlns:c16="http://schemas.microsoft.com/office/drawing/2014/chart" uri="{C3380CC4-5D6E-409C-BE32-E72D297353CC}">
                <c16:uniqueId val="{00000034-7980-4C82-8C1C-32D5A7B4E44B}"/>
              </c:ext>
            </c:extLst>
          </c:dPt>
          <c:dPt>
            <c:idx val="45"/>
            <c:invertIfNegative val="1"/>
            <c:bubble3D val="0"/>
            <c:spPr>
              <a:solidFill>
                <a:srgbClr val="E6E5E5"/>
              </a:solidFill>
            </c:spPr>
            <c:extLst>
              <c:ext xmlns:c16="http://schemas.microsoft.com/office/drawing/2014/chart" uri="{C3380CC4-5D6E-409C-BE32-E72D297353CC}">
                <c16:uniqueId val="{00000035-7980-4C82-8C1C-32D5A7B4E44B}"/>
              </c:ext>
            </c:extLst>
          </c:dPt>
          <c:dPt>
            <c:idx val="46"/>
            <c:invertIfNegative val="1"/>
            <c:bubble3D val="0"/>
            <c:spPr>
              <a:solidFill>
                <a:srgbClr val="E6E5E5"/>
              </a:solidFill>
            </c:spPr>
            <c:extLst>
              <c:ext xmlns:c16="http://schemas.microsoft.com/office/drawing/2014/chart" uri="{C3380CC4-5D6E-409C-BE32-E72D297353CC}">
                <c16:uniqueId val="{00000036-7980-4C82-8C1C-32D5A7B4E44B}"/>
              </c:ext>
            </c:extLst>
          </c:dPt>
          <c:dPt>
            <c:idx val="47"/>
            <c:invertIfNegative val="1"/>
            <c:bubble3D val="0"/>
            <c:spPr>
              <a:solidFill>
                <a:srgbClr val="E6E5E5"/>
              </a:solidFill>
            </c:spPr>
            <c:extLst>
              <c:ext xmlns:c16="http://schemas.microsoft.com/office/drawing/2014/chart" uri="{C3380CC4-5D6E-409C-BE32-E72D297353CC}">
                <c16:uniqueId val="{00000037-7980-4C82-8C1C-32D5A7B4E44B}"/>
              </c:ext>
            </c:extLst>
          </c:dPt>
          <c:dPt>
            <c:idx val="48"/>
            <c:invertIfNegative val="1"/>
            <c:bubble3D val="0"/>
            <c:spPr>
              <a:solidFill>
                <a:srgbClr val="E6E5E5"/>
              </a:solidFill>
            </c:spPr>
            <c:extLst>
              <c:ext xmlns:c16="http://schemas.microsoft.com/office/drawing/2014/chart" uri="{C3380CC4-5D6E-409C-BE32-E72D297353CC}">
                <c16:uniqueId val="{00000038-7980-4C82-8C1C-32D5A7B4E44B}"/>
              </c:ext>
            </c:extLst>
          </c:dPt>
          <c:dPt>
            <c:idx val="49"/>
            <c:invertIfNegative val="0"/>
            <c:bubble3D val="0"/>
            <c:spPr>
              <a:solidFill>
                <a:srgbClr val="E6E5E5"/>
              </a:solidFill>
              <a:ln>
                <a:noFill/>
              </a:ln>
              <a:effectLst/>
            </c:spPr>
            <c:extLst>
              <c:ext xmlns:c16="http://schemas.microsoft.com/office/drawing/2014/chart" uri="{C3380CC4-5D6E-409C-BE32-E72D297353CC}">
                <c16:uniqueId val="{00000039-7980-4C82-8C1C-32D5A7B4E44B}"/>
              </c:ext>
            </c:extLst>
          </c:dPt>
          <c:dPt>
            <c:idx val="50"/>
            <c:invertIfNegative val="0"/>
            <c:bubble3D val="0"/>
            <c:spPr>
              <a:solidFill>
                <a:srgbClr val="E6E5E5"/>
              </a:solidFill>
              <a:ln>
                <a:noFill/>
              </a:ln>
              <a:effectLst/>
            </c:spPr>
            <c:extLst>
              <c:ext xmlns:c16="http://schemas.microsoft.com/office/drawing/2014/chart" uri="{C3380CC4-5D6E-409C-BE32-E72D297353CC}">
                <c16:uniqueId val="{0000003A-7980-4C82-8C1C-32D5A7B4E44B}"/>
              </c:ext>
            </c:extLst>
          </c:dPt>
          <c:dPt>
            <c:idx val="51"/>
            <c:invertIfNegative val="1"/>
            <c:bubble3D val="0"/>
            <c:spPr>
              <a:solidFill>
                <a:srgbClr val="E6E5E5"/>
              </a:solidFill>
            </c:spPr>
            <c:extLst>
              <c:ext xmlns:c16="http://schemas.microsoft.com/office/drawing/2014/chart" uri="{C3380CC4-5D6E-409C-BE32-E72D297353CC}">
                <c16:uniqueId val="{0000003B-7980-4C82-8C1C-32D5A7B4E44B}"/>
              </c:ext>
            </c:extLst>
          </c:dPt>
          <c:dPt>
            <c:idx val="52"/>
            <c:invertIfNegative val="1"/>
            <c:bubble3D val="0"/>
            <c:spPr>
              <a:solidFill>
                <a:srgbClr val="E6E5E5"/>
              </a:solidFill>
            </c:spPr>
            <c:extLst>
              <c:ext xmlns:c16="http://schemas.microsoft.com/office/drawing/2014/chart" uri="{C3380CC4-5D6E-409C-BE32-E72D297353CC}">
                <c16:uniqueId val="{0000003C-7980-4C82-8C1C-32D5A7B4E44B}"/>
              </c:ext>
            </c:extLst>
          </c:dPt>
          <c:dPt>
            <c:idx val="53"/>
            <c:invertIfNegative val="1"/>
            <c:bubble3D val="0"/>
            <c:spPr>
              <a:solidFill>
                <a:srgbClr val="E6E5E5"/>
              </a:solidFill>
            </c:spPr>
            <c:extLst>
              <c:ext xmlns:c16="http://schemas.microsoft.com/office/drawing/2014/chart" uri="{C3380CC4-5D6E-409C-BE32-E72D297353CC}">
                <c16:uniqueId val="{0000006B-77EF-42ED-BAFF-03BF265C16B5}"/>
              </c:ext>
            </c:extLst>
          </c:dPt>
          <c:dPt>
            <c:idx val="54"/>
            <c:invertIfNegative val="1"/>
            <c:bubble3D val="0"/>
            <c:spPr>
              <a:solidFill>
                <a:srgbClr val="E6E5E5"/>
              </a:solidFill>
            </c:spPr>
            <c:extLst>
              <c:ext xmlns:c16="http://schemas.microsoft.com/office/drawing/2014/chart" uri="{C3380CC4-5D6E-409C-BE32-E72D297353CC}">
                <c16:uniqueId val="{0000006D-77EF-42ED-BAFF-03BF265C16B5}"/>
              </c:ext>
            </c:extLst>
          </c:dPt>
          <c:dPt>
            <c:idx val="55"/>
            <c:invertIfNegative val="1"/>
            <c:bubble3D val="0"/>
            <c:spPr>
              <a:solidFill>
                <a:srgbClr val="E6E5E5"/>
              </a:solidFill>
            </c:spPr>
            <c:extLst>
              <c:ext xmlns:c16="http://schemas.microsoft.com/office/drawing/2014/chart" uri="{C3380CC4-5D6E-409C-BE32-E72D297353CC}">
                <c16:uniqueId val="{0000006F-77EF-42ED-BAFF-03BF265C16B5}"/>
              </c:ext>
            </c:extLst>
          </c:dPt>
          <c:dPt>
            <c:idx val="56"/>
            <c:invertIfNegative val="1"/>
            <c:bubble3D val="0"/>
            <c:spPr>
              <a:solidFill>
                <a:srgbClr val="E6E5E5"/>
              </a:solidFill>
            </c:spPr>
            <c:extLst>
              <c:ext xmlns:c16="http://schemas.microsoft.com/office/drawing/2014/chart" uri="{C3380CC4-5D6E-409C-BE32-E72D297353CC}">
                <c16:uniqueId val="{00000071-77EF-42ED-BAFF-03BF265C16B5}"/>
              </c:ext>
            </c:extLst>
          </c:dPt>
          <c:dPt>
            <c:idx val="57"/>
            <c:invertIfNegative val="1"/>
            <c:bubble3D val="0"/>
            <c:spPr>
              <a:solidFill>
                <a:srgbClr val="E6E5E5"/>
              </a:solidFill>
            </c:spPr>
            <c:extLst>
              <c:ext xmlns:c16="http://schemas.microsoft.com/office/drawing/2014/chart" uri="{C3380CC4-5D6E-409C-BE32-E72D297353CC}">
                <c16:uniqueId val="{00000073-77EF-42ED-BAFF-03BF265C16B5}"/>
              </c:ext>
            </c:extLst>
          </c:dPt>
          <c:dPt>
            <c:idx val="58"/>
            <c:invertIfNegative val="1"/>
            <c:bubble3D val="0"/>
            <c:spPr>
              <a:solidFill>
                <a:srgbClr val="E6E5E5"/>
              </a:solidFill>
            </c:spPr>
            <c:extLst>
              <c:ext xmlns:c16="http://schemas.microsoft.com/office/drawing/2014/chart" uri="{C3380CC4-5D6E-409C-BE32-E72D297353CC}">
                <c16:uniqueId val="{00000075-77EF-42ED-BAFF-03BF265C16B5}"/>
              </c:ext>
            </c:extLst>
          </c:dPt>
          <c:dPt>
            <c:idx val="59"/>
            <c:invertIfNegative val="1"/>
            <c:bubble3D val="0"/>
            <c:spPr>
              <a:solidFill>
                <a:srgbClr val="E6E5E5"/>
              </a:solidFill>
            </c:spPr>
            <c:extLst>
              <c:ext xmlns:c16="http://schemas.microsoft.com/office/drawing/2014/chart" uri="{C3380CC4-5D6E-409C-BE32-E72D297353CC}">
                <c16:uniqueId val="{00000077-77EF-42ED-BAFF-03BF265C16B5}"/>
              </c:ext>
            </c:extLst>
          </c:dPt>
          <c:dPt>
            <c:idx val="60"/>
            <c:invertIfNegative val="1"/>
            <c:bubble3D val="0"/>
            <c:spPr>
              <a:solidFill>
                <a:srgbClr val="E6E5E5"/>
              </a:solidFill>
            </c:spPr>
            <c:extLst>
              <c:ext xmlns:c16="http://schemas.microsoft.com/office/drawing/2014/chart" uri="{C3380CC4-5D6E-409C-BE32-E72D297353CC}">
                <c16:uniqueId val="{00000079-77EF-42ED-BAFF-03BF265C16B5}"/>
              </c:ext>
            </c:extLst>
          </c:dPt>
          <c:dPt>
            <c:idx val="61"/>
            <c:invertIfNegative val="1"/>
            <c:bubble3D val="0"/>
            <c:spPr>
              <a:solidFill>
                <a:srgbClr val="E6E5E5"/>
              </a:solidFill>
            </c:spPr>
            <c:extLst>
              <c:ext xmlns:c16="http://schemas.microsoft.com/office/drawing/2014/chart" uri="{C3380CC4-5D6E-409C-BE32-E72D297353CC}">
                <c16:uniqueId val="{0000007B-77EF-42ED-BAFF-03BF265C16B5}"/>
              </c:ext>
            </c:extLst>
          </c:dPt>
          <c:dPt>
            <c:idx val="62"/>
            <c:invertIfNegative val="1"/>
            <c:bubble3D val="0"/>
            <c:spPr>
              <a:solidFill>
                <a:srgbClr val="E6E5E5"/>
              </a:solidFill>
            </c:spPr>
            <c:extLst>
              <c:ext xmlns:c16="http://schemas.microsoft.com/office/drawing/2014/chart" uri="{C3380CC4-5D6E-409C-BE32-E72D297353CC}">
                <c16:uniqueId val="{0000007D-77EF-42ED-BAFF-03BF265C16B5}"/>
              </c:ext>
            </c:extLst>
          </c:dPt>
          <c:dPt>
            <c:idx val="63"/>
            <c:invertIfNegative val="1"/>
            <c:bubble3D val="0"/>
            <c:spPr>
              <a:solidFill>
                <a:srgbClr val="E6E5E5"/>
              </a:solidFill>
            </c:spPr>
            <c:extLst>
              <c:ext xmlns:c16="http://schemas.microsoft.com/office/drawing/2014/chart" uri="{C3380CC4-5D6E-409C-BE32-E72D297353CC}">
                <c16:uniqueId val="{0000007F-77EF-42ED-BAFF-03BF265C16B5}"/>
              </c:ext>
            </c:extLst>
          </c:dPt>
          <c:dPt>
            <c:idx val="64"/>
            <c:invertIfNegative val="1"/>
            <c:bubble3D val="0"/>
            <c:spPr>
              <a:solidFill>
                <a:srgbClr val="E6E5E5"/>
              </a:solidFill>
            </c:spPr>
            <c:extLst>
              <c:ext xmlns:c16="http://schemas.microsoft.com/office/drawing/2014/chart" uri="{C3380CC4-5D6E-409C-BE32-E72D297353CC}">
                <c16:uniqueId val="{00000081-77EF-42ED-BAFF-03BF265C16B5}"/>
              </c:ext>
            </c:extLst>
          </c:dPt>
          <c:dPt>
            <c:idx val="65"/>
            <c:invertIfNegative val="1"/>
            <c:bubble3D val="0"/>
            <c:spPr>
              <a:solidFill>
                <a:srgbClr val="E6E5E5"/>
              </a:solidFill>
            </c:spPr>
            <c:extLst>
              <c:ext xmlns:c16="http://schemas.microsoft.com/office/drawing/2014/chart" uri="{C3380CC4-5D6E-409C-BE32-E72D297353CC}">
                <c16:uniqueId val="{00000083-77EF-42ED-BAFF-03BF265C16B5}"/>
              </c:ext>
            </c:extLst>
          </c:dPt>
          <c:dPt>
            <c:idx val="66"/>
            <c:invertIfNegative val="1"/>
            <c:bubble3D val="0"/>
            <c:spPr>
              <a:solidFill>
                <a:srgbClr val="E6E5E5"/>
              </a:solidFill>
            </c:spPr>
            <c:extLst>
              <c:ext xmlns:c16="http://schemas.microsoft.com/office/drawing/2014/chart" uri="{C3380CC4-5D6E-409C-BE32-E72D297353CC}">
                <c16:uniqueId val="{00000085-77EF-42ED-BAFF-03BF265C16B5}"/>
              </c:ext>
            </c:extLst>
          </c:dPt>
          <c:dPt>
            <c:idx val="67"/>
            <c:invertIfNegative val="1"/>
            <c:bubble3D val="0"/>
            <c:spPr>
              <a:solidFill>
                <a:srgbClr val="E6E5E5"/>
              </a:solidFill>
            </c:spPr>
            <c:extLst>
              <c:ext xmlns:c16="http://schemas.microsoft.com/office/drawing/2014/chart" uri="{C3380CC4-5D6E-409C-BE32-E72D297353CC}">
                <c16:uniqueId val="{00000087-77EF-42ED-BAFF-03BF265C16B5}"/>
              </c:ext>
            </c:extLst>
          </c:dPt>
          <c:dPt>
            <c:idx val="68"/>
            <c:invertIfNegative val="1"/>
            <c:bubble3D val="0"/>
            <c:spPr>
              <a:solidFill>
                <a:srgbClr val="E6E5E5"/>
              </a:solidFill>
            </c:spPr>
            <c:extLst>
              <c:ext xmlns:c16="http://schemas.microsoft.com/office/drawing/2014/chart" uri="{C3380CC4-5D6E-409C-BE32-E72D297353CC}">
                <c16:uniqueId val="{00000089-77EF-42ED-BAFF-03BF265C16B5}"/>
              </c:ext>
            </c:extLst>
          </c:dPt>
          <c:dPt>
            <c:idx val="69"/>
            <c:invertIfNegative val="1"/>
            <c:bubble3D val="0"/>
            <c:spPr>
              <a:solidFill>
                <a:srgbClr val="E6E5E5"/>
              </a:solidFill>
            </c:spPr>
            <c:extLst>
              <c:ext xmlns:c16="http://schemas.microsoft.com/office/drawing/2014/chart" uri="{C3380CC4-5D6E-409C-BE32-E72D297353CC}">
                <c16:uniqueId val="{0000008B-77EF-42ED-BAFF-03BF265C16B5}"/>
              </c:ext>
            </c:extLst>
          </c:dPt>
          <c:dPt>
            <c:idx val="70"/>
            <c:invertIfNegative val="1"/>
            <c:bubble3D val="0"/>
            <c:spPr>
              <a:solidFill>
                <a:srgbClr val="E6E5E5"/>
              </a:solidFill>
            </c:spPr>
            <c:extLst>
              <c:ext xmlns:c16="http://schemas.microsoft.com/office/drawing/2014/chart" uri="{C3380CC4-5D6E-409C-BE32-E72D297353CC}">
                <c16:uniqueId val="{0000008D-77EF-42ED-BAFF-03BF265C16B5}"/>
              </c:ext>
            </c:extLst>
          </c:dPt>
          <c:dPt>
            <c:idx val="71"/>
            <c:invertIfNegative val="1"/>
            <c:bubble3D val="0"/>
            <c:spPr>
              <a:solidFill>
                <a:srgbClr val="E6E5E5"/>
              </a:solidFill>
            </c:spPr>
            <c:extLst>
              <c:ext xmlns:c16="http://schemas.microsoft.com/office/drawing/2014/chart" uri="{C3380CC4-5D6E-409C-BE32-E72D297353CC}">
                <c16:uniqueId val="{0000008F-77EF-42ED-BAFF-03BF265C16B5}"/>
              </c:ext>
            </c:extLst>
          </c:dPt>
          <c:dPt>
            <c:idx val="72"/>
            <c:invertIfNegative val="1"/>
            <c:bubble3D val="0"/>
            <c:spPr>
              <a:solidFill>
                <a:srgbClr val="E6E5E5"/>
              </a:solidFill>
            </c:spPr>
            <c:extLst>
              <c:ext xmlns:c16="http://schemas.microsoft.com/office/drawing/2014/chart" uri="{C3380CC4-5D6E-409C-BE32-E72D297353CC}">
                <c16:uniqueId val="{00000091-77EF-42ED-BAFF-03BF265C16B5}"/>
              </c:ext>
            </c:extLst>
          </c:dPt>
          <c:dPt>
            <c:idx val="73"/>
            <c:invertIfNegative val="1"/>
            <c:bubble3D val="0"/>
            <c:spPr>
              <a:solidFill>
                <a:srgbClr val="E6E5E5"/>
              </a:solidFill>
            </c:spPr>
            <c:extLst>
              <c:ext xmlns:c16="http://schemas.microsoft.com/office/drawing/2014/chart" uri="{C3380CC4-5D6E-409C-BE32-E72D297353CC}">
                <c16:uniqueId val="{00000093-77EF-42ED-BAFF-03BF265C16B5}"/>
              </c:ext>
            </c:extLst>
          </c:dPt>
          <c:dPt>
            <c:idx val="74"/>
            <c:invertIfNegative val="1"/>
            <c:bubble3D val="0"/>
            <c:spPr>
              <a:solidFill>
                <a:srgbClr val="E6E5E5"/>
              </a:solidFill>
            </c:spPr>
            <c:extLst>
              <c:ext xmlns:c16="http://schemas.microsoft.com/office/drawing/2014/chart" uri="{C3380CC4-5D6E-409C-BE32-E72D297353CC}">
                <c16:uniqueId val="{00000095-77EF-42ED-BAFF-03BF265C16B5}"/>
              </c:ext>
            </c:extLst>
          </c:dPt>
          <c:dPt>
            <c:idx val="75"/>
            <c:invertIfNegative val="1"/>
            <c:bubble3D val="0"/>
            <c:spPr>
              <a:solidFill>
                <a:srgbClr val="E6E5E5"/>
              </a:solidFill>
            </c:spPr>
            <c:extLst>
              <c:ext xmlns:c16="http://schemas.microsoft.com/office/drawing/2014/chart" uri="{C3380CC4-5D6E-409C-BE32-E72D297353CC}">
                <c16:uniqueId val="{00000097-77EF-42ED-BAFF-03BF265C16B5}"/>
              </c:ext>
            </c:extLst>
          </c:dPt>
          <c:dPt>
            <c:idx val="76"/>
            <c:invertIfNegative val="1"/>
            <c:bubble3D val="0"/>
            <c:spPr>
              <a:solidFill>
                <a:srgbClr val="E6E5E5"/>
              </a:solidFill>
            </c:spPr>
            <c:extLst>
              <c:ext xmlns:c16="http://schemas.microsoft.com/office/drawing/2014/chart" uri="{C3380CC4-5D6E-409C-BE32-E72D297353CC}">
                <c16:uniqueId val="{00000099-77EF-42ED-BAFF-03BF265C16B5}"/>
              </c:ext>
            </c:extLst>
          </c:dPt>
          <c:dPt>
            <c:idx val="77"/>
            <c:invertIfNegative val="1"/>
            <c:bubble3D val="0"/>
            <c:spPr>
              <a:solidFill>
                <a:srgbClr val="E6E5E5"/>
              </a:solidFill>
            </c:spPr>
            <c:extLst>
              <c:ext xmlns:c16="http://schemas.microsoft.com/office/drawing/2014/chart" uri="{C3380CC4-5D6E-409C-BE32-E72D297353CC}">
                <c16:uniqueId val="{0000009B-77EF-42ED-BAFF-03BF265C16B5}"/>
              </c:ext>
            </c:extLst>
          </c:dPt>
          <c:dPt>
            <c:idx val="78"/>
            <c:invertIfNegative val="1"/>
            <c:bubble3D val="0"/>
            <c:spPr>
              <a:solidFill>
                <a:srgbClr val="E6E5E5"/>
              </a:solidFill>
            </c:spPr>
            <c:extLst>
              <c:ext xmlns:c16="http://schemas.microsoft.com/office/drawing/2014/chart" uri="{C3380CC4-5D6E-409C-BE32-E72D297353CC}">
                <c16:uniqueId val="{0000009D-77EF-42ED-BAFF-03BF265C16B5}"/>
              </c:ext>
            </c:extLst>
          </c:dPt>
          <c:dPt>
            <c:idx val="79"/>
            <c:invertIfNegative val="1"/>
            <c:bubble3D val="0"/>
            <c:spPr>
              <a:solidFill>
                <a:srgbClr val="E6E5E5"/>
              </a:solidFill>
            </c:spPr>
            <c:extLst>
              <c:ext xmlns:c16="http://schemas.microsoft.com/office/drawing/2014/chart" uri="{C3380CC4-5D6E-409C-BE32-E72D297353CC}">
                <c16:uniqueId val="{0000009F-77EF-42ED-BAFF-03BF265C16B5}"/>
              </c:ext>
            </c:extLst>
          </c:dPt>
          <c:dPt>
            <c:idx val="80"/>
            <c:invertIfNegative val="1"/>
            <c:bubble3D val="0"/>
            <c:spPr>
              <a:solidFill>
                <a:srgbClr val="E6E5E5"/>
              </a:solidFill>
            </c:spPr>
            <c:extLst>
              <c:ext xmlns:c16="http://schemas.microsoft.com/office/drawing/2014/chart" uri="{C3380CC4-5D6E-409C-BE32-E72D297353CC}">
                <c16:uniqueId val="{000000A1-77EF-42ED-BAFF-03BF265C16B5}"/>
              </c:ext>
            </c:extLst>
          </c:dPt>
          <c:dPt>
            <c:idx val="81"/>
            <c:invertIfNegative val="1"/>
            <c:bubble3D val="0"/>
            <c:spPr>
              <a:solidFill>
                <a:srgbClr val="E6E5E5"/>
              </a:solidFill>
            </c:spPr>
            <c:extLst>
              <c:ext xmlns:c16="http://schemas.microsoft.com/office/drawing/2014/chart" uri="{C3380CC4-5D6E-409C-BE32-E72D297353CC}">
                <c16:uniqueId val="{000000A3-77EF-42ED-BAFF-03BF265C16B5}"/>
              </c:ext>
            </c:extLst>
          </c:dPt>
          <c:dPt>
            <c:idx val="82"/>
            <c:invertIfNegative val="1"/>
            <c:bubble3D val="0"/>
            <c:spPr>
              <a:solidFill>
                <a:srgbClr val="E6E5E5"/>
              </a:solidFill>
            </c:spPr>
            <c:extLst>
              <c:ext xmlns:c16="http://schemas.microsoft.com/office/drawing/2014/chart" uri="{C3380CC4-5D6E-409C-BE32-E72D297353CC}">
                <c16:uniqueId val="{000000A5-77EF-42ED-BAFF-03BF265C16B5}"/>
              </c:ext>
            </c:extLst>
          </c:dPt>
          <c:dPt>
            <c:idx val="83"/>
            <c:invertIfNegative val="1"/>
            <c:bubble3D val="0"/>
            <c:spPr>
              <a:solidFill>
                <a:srgbClr val="E6E5E5"/>
              </a:solidFill>
            </c:spPr>
            <c:extLst>
              <c:ext xmlns:c16="http://schemas.microsoft.com/office/drawing/2014/chart" uri="{C3380CC4-5D6E-409C-BE32-E72D297353CC}">
                <c16:uniqueId val="{000000A7-77EF-42ED-BAFF-03BF265C16B5}"/>
              </c:ext>
            </c:extLst>
          </c:dPt>
          <c:dPt>
            <c:idx val="84"/>
            <c:invertIfNegative val="1"/>
            <c:bubble3D val="0"/>
            <c:spPr>
              <a:solidFill>
                <a:srgbClr val="E6E5E5"/>
              </a:solidFill>
            </c:spPr>
            <c:extLst>
              <c:ext xmlns:c16="http://schemas.microsoft.com/office/drawing/2014/chart" uri="{C3380CC4-5D6E-409C-BE32-E72D297353CC}">
                <c16:uniqueId val="{000000A9-77EF-42ED-BAFF-03BF265C16B5}"/>
              </c:ext>
            </c:extLst>
          </c:dPt>
          <c:dPt>
            <c:idx val="85"/>
            <c:invertIfNegative val="1"/>
            <c:bubble3D val="0"/>
            <c:spPr>
              <a:solidFill>
                <a:srgbClr val="E6E5E5"/>
              </a:solidFill>
            </c:spPr>
            <c:extLst>
              <c:ext xmlns:c16="http://schemas.microsoft.com/office/drawing/2014/chart" uri="{C3380CC4-5D6E-409C-BE32-E72D297353CC}">
                <c16:uniqueId val="{000000AB-77EF-42ED-BAFF-03BF265C16B5}"/>
              </c:ext>
            </c:extLst>
          </c:dPt>
          <c:dPt>
            <c:idx val="86"/>
            <c:invertIfNegative val="1"/>
            <c:bubble3D val="0"/>
            <c:spPr>
              <a:solidFill>
                <a:srgbClr val="E6E5E5"/>
              </a:solidFill>
            </c:spPr>
            <c:extLst>
              <c:ext xmlns:c16="http://schemas.microsoft.com/office/drawing/2014/chart" uri="{C3380CC4-5D6E-409C-BE32-E72D297353CC}">
                <c16:uniqueId val="{000000AD-77EF-42ED-BAFF-03BF265C16B5}"/>
              </c:ext>
            </c:extLst>
          </c:dPt>
          <c:dPt>
            <c:idx val="87"/>
            <c:invertIfNegative val="1"/>
            <c:bubble3D val="0"/>
            <c:spPr>
              <a:solidFill>
                <a:srgbClr val="E6E5E5"/>
              </a:solidFill>
            </c:spPr>
            <c:extLst>
              <c:ext xmlns:c16="http://schemas.microsoft.com/office/drawing/2014/chart" uri="{C3380CC4-5D6E-409C-BE32-E72D297353CC}">
                <c16:uniqueId val="{000000AF-77EF-42ED-BAFF-03BF265C16B5}"/>
              </c:ext>
            </c:extLst>
          </c:dPt>
          <c:dPt>
            <c:idx val="88"/>
            <c:invertIfNegative val="1"/>
            <c:bubble3D val="0"/>
            <c:spPr>
              <a:solidFill>
                <a:srgbClr val="E6E5E5"/>
              </a:solidFill>
            </c:spPr>
            <c:extLst>
              <c:ext xmlns:c16="http://schemas.microsoft.com/office/drawing/2014/chart" uri="{C3380CC4-5D6E-409C-BE32-E72D297353CC}">
                <c16:uniqueId val="{000000B1-77EF-42ED-BAFF-03BF265C16B5}"/>
              </c:ext>
            </c:extLst>
          </c:dPt>
          <c:dPt>
            <c:idx val="89"/>
            <c:invertIfNegative val="1"/>
            <c:bubble3D val="0"/>
            <c:spPr>
              <a:solidFill>
                <a:srgbClr val="E6E5E5"/>
              </a:solidFill>
            </c:spPr>
            <c:extLst>
              <c:ext xmlns:c16="http://schemas.microsoft.com/office/drawing/2014/chart" uri="{C3380CC4-5D6E-409C-BE32-E72D297353CC}">
                <c16:uniqueId val="{000000B3-77EF-42ED-BAFF-03BF265C16B5}"/>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7980-4C82-8C1C-32D5A7B4E44B}"/>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7980-4C82-8C1C-32D5A7B4E44B}"/>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7980-4C82-8C1C-32D5A7B4E44B}"/>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7980-4C82-8C1C-32D5A7B4E44B}"/>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7980-4C82-8C1C-32D5A7B4E44B}"/>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7980-4C82-8C1C-32D5A7B4E44B}"/>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7980-4C82-8C1C-32D5A7B4E44B}"/>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7980-4C82-8C1C-32D5A7B4E44B}"/>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7980-4C82-8C1C-32D5A7B4E44B}"/>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7980-4C82-8C1C-32D5A7B4E44B}"/>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7980-4C82-8C1C-32D5A7B4E44B}"/>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7980-4C82-8C1C-32D5A7B4E44B}"/>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7980-4C82-8C1C-32D5A7B4E44B}"/>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7980-4C82-8C1C-32D5A7B4E44B}"/>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7980-4C82-8C1C-32D5A7B4E44B}"/>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7980-4C82-8C1C-32D5A7B4E44B}"/>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7980-4C82-8C1C-32D5A7B4E44B}"/>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7980-4C82-8C1C-32D5A7B4E44B}"/>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7980-4C82-8C1C-32D5A7B4E44B}"/>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7980-4C82-8C1C-32D5A7B4E44B}"/>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7980-4C82-8C1C-32D5A7B4E44B}"/>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7980-4C82-8C1C-32D5A7B4E44B}"/>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7980-4C82-8C1C-32D5A7B4E44B}"/>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7980-4C82-8C1C-32D5A7B4E44B}"/>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7980-4C82-8C1C-32D5A7B4E44B}"/>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7980-4C82-8C1C-32D5A7B4E44B}"/>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7980-4C82-8C1C-32D5A7B4E44B}"/>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7980-4C82-8C1C-32D5A7B4E44B}"/>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7980-4C82-8C1C-32D5A7B4E44B}"/>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7980-4C82-8C1C-32D5A7B4E44B}"/>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7980-4C82-8C1C-32D5A7B4E44B}"/>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7980-4C82-8C1C-32D5A7B4E44B}"/>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980-4C82-8C1C-32D5A7B4E44B}"/>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7980-4C82-8C1C-32D5A7B4E44B}"/>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980-4C82-8C1C-32D5A7B4E44B}"/>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7980-4C82-8C1C-32D5A7B4E44B}"/>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7980-4C82-8C1C-32D5A7B4E44B}"/>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7980-4C82-8C1C-32D5A7B4E44B}"/>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7980-4C82-8C1C-32D5A7B4E44B}"/>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7980-4C82-8C1C-32D5A7B4E44B}"/>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layout>
                    <c:manualLayout>
                      <c:w val="4.4718783068783061E-2"/>
                      <c:h val="5.0377414451733424E-2"/>
                    </c:manualLayout>
                  </c15:layout>
                  <c15:showDataLabelsRange val="0"/>
                </c:ext>
                <c:ext xmlns:c16="http://schemas.microsoft.com/office/drawing/2014/chart" uri="{C3380CC4-5D6E-409C-BE32-E72D297353CC}">
                  <c16:uniqueId val="{00000032-7980-4C82-8C1C-32D5A7B4E44B}"/>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7980-4C82-8C1C-32D5A7B4E44B}"/>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7980-4C82-8C1C-32D5A7B4E44B}"/>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7980-4C82-8C1C-32D5A7B4E44B}"/>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7980-4C82-8C1C-32D5A7B4E44B}"/>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7980-4C82-8C1C-32D5A7B4E44B}"/>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7980-4C82-8C1C-32D5A7B4E44B}"/>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7980-4C82-8C1C-32D5A7B4E44B}"/>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7980-4C82-8C1C-32D5A7B4E44B}"/>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7980-4C82-8C1C-32D5A7B4E44B}"/>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7980-4C82-8C1C-32D5A7B4E44B}"/>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7980-4C82-8C1C-32D5A7B4E44B}"/>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7980-4C82-8C1C-32D5A7B4E44B}"/>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77EF-42ED-BAFF-03BF265C16B5}"/>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77EF-42ED-BAFF-03BF265C16B5}"/>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77EF-42ED-BAFF-03BF265C16B5}"/>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77EF-42ED-BAFF-03BF265C16B5}"/>
                </c:ext>
              </c:extLst>
            </c:dLbl>
            <c:dLbl>
              <c:idx val="5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77EF-42ED-BAFF-03BF265C16B5}"/>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77EF-42ED-BAFF-03BF265C16B5}"/>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77EF-42ED-BAFF-03BF265C16B5}"/>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77EF-42ED-BAFF-03BF265C16B5}"/>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77EF-42ED-BAFF-03BF265C16B5}"/>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77EF-42ED-BAFF-03BF265C16B5}"/>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77EF-42ED-BAFF-03BF265C16B5}"/>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77EF-42ED-BAFF-03BF265C16B5}"/>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77EF-42ED-BAFF-03BF265C16B5}"/>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77EF-42ED-BAFF-03BF265C16B5}"/>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77EF-42ED-BAFF-03BF265C16B5}"/>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77EF-42ED-BAFF-03BF265C16B5}"/>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77EF-42ED-BAFF-03BF265C16B5}"/>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77EF-42ED-BAFF-03BF265C16B5}"/>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77EF-42ED-BAFF-03BF265C16B5}"/>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77EF-42ED-BAFF-03BF265C16B5}"/>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77EF-42ED-BAFF-03BF265C16B5}"/>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77EF-42ED-BAFF-03BF265C16B5}"/>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77EF-42ED-BAFF-03BF265C16B5}"/>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77EF-42ED-BAFF-03BF265C16B5}"/>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77EF-42ED-BAFF-03BF265C16B5}"/>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77EF-42ED-BAFF-03BF265C16B5}"/>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77EF-42ED-BAFF-03BF265C16B5}"/>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77EF-42ED-BAFF-03BF265C16B5}"/>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77EF-42ED-BAFF-03BF265C16B5}"/>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77EF-42ED-BAFF-03BF265C16B5}"/>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77EF-42ED-BAFF-03BF265C16B5}"/>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77EF-42ED-BAFF-03BF265C16B5}"/>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77EF-42ED-BAFF-03BF265C16B5}"/>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77EF-42ED-BAFF-03BF265C16B5}"/>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77EF-42ED-BAFF-03BF265C16B5}"/>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77EF-42ED-BAFF-03BF265C16B5}"/>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9</c:f>
              <c:strCache>
                <c:ptCount val="78"/>
                <c:pt idx="0">
                  <c:v>Galaxy Jewels 1.4kg</c:v>
                </c:pt>
                <c:pt idx="1">
                  <c:v>Ferrero Rocher 300g</c:v>
                </c:pt>
                <c:pt idx="2">
                  <c:v>Galaxy Smooth Milk Chocolate 36g x 24</c:v>
                </c:pt>
                <c:pt idx="3">
                  <c:v>Galaxy Jewels 900g</c:v>
                </c:pt>
                <c:pt idx="4">
                  <c:v>Galaxy Jewels 650g</c:v>
                </c:pt>
                <c:pt idx="5">
                  <c:v>Cadbury Dairy Milk Minis Selection 500g</c:v>
                </c:pt>
                <c:pt idx="6">
                  <c:v>Kit Kat 17.7g x 18</c:v>
                </c:pt>
                <c:pt idx="7">
                  <c:v>Kinder Bueno Milk&amp;Hazelnut 43g</c:v>
                </c:pt>
                <c:pt idx="8">
                  <c:v>Tiffany Break Supa 38gx12</c:v>
                </c:pt>
                <c:pt idx="9">
                  <c:v>Snickers 50gx6</c:v>
                </c:pt>
                <c:pt idx="10">
                  <c:v>Tiffany Break 24x15.5g</c:v>
                </c:pt>
                <c:pt idx="11">
                  <c:v>Tiffany Break Mini Fun 384g</c:v>
                </c:pt>
                <c:pt idx="12">
                  <c:v>Kinder Bueno Milk&amp;Hazelnut 43gx10</c:v>
                </c:pt>
                <c:pt idx="13">
                  <c:v>Mackintosh Quality Street Chocolate 600g</c:v>
                </c:pt>
                <c:pt idx="14">
                  <c:v>Snickers Bar 50g</c:v>
                </c:pt>
                <c:pt idx="15">
                  <c:v>Maltesers Chocolate 175g</c:v>
                </c:pt>
                <c:pt idx="16">
                  <c:v>Tiffany Break 31gx12</c:v>
                </c:pt>
                <c:pt idx="17">
                  <c:v>Tiffany Break Delight 25gx12</c:v>
                </c:pt>
                <c:pt idx="18">
                  <c:v>Snickers Minis Bag 252g</c:v>
                </c:pt>
                <c:pt idx="19">
                  <c:v>Cadbury Miniatures Box 400g</c:v>
                </c:pt>
                <c:pt idx="20">
                  <c:v>Bounty Bar 57g</c:v>
                </c:pt>
                <c:pt idx="21">
                  <c:v>Galaxy Smooth Milk Minis 237.5g</c:v>
                </c:pt>
                <c:pt idx="22">
                  <c:v>Bounty Bar 57g x 5</c:v>
                </c:pt>
                <c:pt idx="23">
                  <c:v>Kinder Maxi Chocolate 21gx11 (10+1)</c:v>
                </c:pt>
                <c:pt idx="24">
                  <c:v>Ferrero Rocher 200g</c:v>
                </c:pt>
                <c:pt idx="25">
                  <c:v>Ferrero Raffaello 150g box </c:v>
                </c:pt>
                <c:pt idx="26">
                  <c:v>Galaxy Hazelnut Minis 237.5g</c:v>
                </c:pt>
                <c:pt idx="27">
                  <c:v>Twix 50gx5</c:v>
                </c:pt>
                <c:pt idx="28">
                  <c:v>Twix Bar 50g</c:v>
                </c:pt>
                <c:pt idx="29">
                  <c:v>Maltesers Chocolate 37g</c:v>
                </c:pt>
                <c:pt idx="30">
                  <c:v>Snickers Miniatures 150g</c:v>
                </c:pt>
                <c:pt idx="31">
                  <c:v>Cadbury Flake Minis Bag 159.5g</c:v>
                </c:pt>
                <c:pt idx="32">
                  <c:v>M&amp;M's Peanut 165g</c:v>
                </c:pt>
                <c:pt idx="33">
                  <c:v>Twix Miniatures 150g</c:v>
                </c:pt>
                <c:pt idx="34">
                  <c:v>Cadbury Timeout Minis Wafer 247.2g</c:v>
                </c:pt>
                <c:pt idx="35">
                  <c:v>Toblerone Milk Chocolate 200g</c:v>
                </c:pt>
                <c:pt idx="36">
                  <c:v>Galaxy Smooth Milk Minis 162.5g</c:v>
                </c:pt>
                <c:pt idx="37">
                  <c:v>Mars 45g x 6</c:v>
                </c:pt>
                <c:pt idx="38">
                  <c:v>Bounty Miniatures 150g</c:v>
                </c:pt>
                <c:pt idx="39">
                  <c:v>Kinder Chocolate Bar 8x12.5g</c:v>
                </c:pt>
                <c:pt idx="40">
                  <c:v>Galaxy Smooth Dark Chocolate 40g</c:v>
                </c:pt>
                <c:pt idx="41">
                  <c:v>Mars Bar 51g </c:v>
                </c:pt>
                <c:pt idx="42">
                  <c:v>Hershey's Kisses Special Selection Assorted 325g</c:v>
                </c:pt>
                <c:pt idx="43">
                  <c:v>Galaxy Hazelnut Chocolate 36g</c:v>
                </c:pt>
                <c:pt idx="44">
                  <c:v>Galaxy Smooth Milk Chocolate 36g</c:v>
                </c:pt>
                <c:pt idx="45">
                  <c:v>Galaxy Caramel Bar 40g</c:v>
                </c:pt>
                <c:pt idx="46">
                  <c:v>Kinder Chocolate Bar 50g</c:v>
                </c:pt>
                <c:pt idx="47">
                  <c:v>Kinder Bueno White 39g</c:v>
                </c:pt>
                <c:pt idx="48">
                  <c:v>Hershey's Kisses Classic Selection Assorted 325g</c:v>
                </c:pt>
                <c:pt idx="49">
                  <c:v>Galaxy Crispy Milk Chocolate 36g</c:v>
                </c:pt>
                <c:pt idx="50">
                  <c:v> Reeses Peanut Butter Cup Mini 340g </c:v>
                </c:pt>
                <c:pt idx="51">
                  <c:v>Kit Kat 17.7g</c:v>
                </c:pt>
                <c:pt idx="52">
                  <c:v> Reeses Peanut Butter Cup 42g x 6</c:v>
                </c:pt>
                <c:pt idx="53">
                  <c:v>Reeses Peanut Butter Cups 46g</c:v>
                </c:pt>
                <c:pt idx="54">
                  <c:v>Reeses Peanut Butter Cup Mini 215g</c:v>
                </c:pt>
                <c:pt idx="55">
                  <c:v>M&amp;M's Milk Chocolate 30.6g</c:v>
                </c:pt>
                <c:pt idx="56">
                  <c:v>Godiva Double Chocolate Bar 35g</c:v>
                </c:pt>
                <c:pt idx="57">
                  <c:v>Galaxy Smooth Milk Chocolate 80g</c:v>
                </c:pt>
                <c:pt idx="58">
                  <c:v>Galaxy Ripple Bar 33g</c:v>
                </c:pt>
                <c:pt idx="59">
                  <c:v>Hershey's Chocobites Cookies 'n Creme 90g</c:v>
                </c:pt>
                <c:pt idx="60">
                  <c:v>Hershey's Kisses Special Selection Assorted 100g</c:v>
                </c:pt>
                <c:pt idx="61">
                  <c:v>Hershey's Chocobites Salted Caramel 81g</c:v>
                </c:pt>
                <c:pt idx="62">
                  <c:v>Hershey's Cookies N' Chocolate 40g</c:v>
                </c:pt>
                <c:pt idx="63">
                  <c:v>Reeses Block 90g</c:v>
                </c:pt>
                <c:pt idx="64">
                  <c:v>Reeses Nut Bar 47g</c:v>
                </c:pt>
                <c:pt idx="65">
                  <c:v>Hershey's Kisses Classic Selection Assorted 100g</c:v>
                </c:pt>
                <c:pt idx="66">
                  <c:v>Hershey's Cookies 'n Creme Block 90g</c:v>
                </c:pt>
                <c:pt idx="67">
                  <c:v>Hershey's Cookies N' Crème 12.76g</c:v>
                </c:pt>
                <c:pt idx="68">
                  <c:v> Reeses Wafer Sticks 42g</c:v>
                </c:pt>
                <c:pt idx="69">
                  <c:v>Hershey's Choco Tubes Cookies N' Creme 18g</c:v>
                </c:pt>
                <c:pt idx="70">
                  <c:v> Reeses Peanut Butter Cup Mini 500G</c:v>
                </c:pt>
                <c:pt idx="71">
                  <c:v>Reeses Pieces 180g</c:v>
                </c:pt>
                <c:pt idx="72">
                  <c:v>Reeses Mini King Size 71g</c:v>
                </c:pt>
                <c:pt idx="73">
                  <c:v>Hershey's Cookies 'n Creme Creations Salted Caramel 38g</c:v>
                </c:pt>
                <c:pt idx="74">
                  <c:v>Hersheys Kisses Classic Selection Assorted 600G</c:v>
                </c:pt>
                <c:pt idx="75">
                  <c:v>Hershey's Cookies 'n Creme 40Gx 4</c:v>
                </c:pt>
                <c:pt idx="76">
                  <c:v>Hershey's Variety Pack 40Gx3</c:v>
                </c:pt>
                <c:pt idx="77">
                  <c:v>Reeses Fast break 51g</c:v>
                </c:pt>
              </c:strCache>
            </c:strRef>
          </c:cat>
          <c:val>
            <c:numRef>
              <c:f>Sheet1!$B$2:$B$79</c:f>
              <c:numCache>
                <c:formatCode>General</c:formatCode>
                <c:ptCount val="78"/>
                <c:pt idx="0">
                  <c:v>8.7472496097121558E-2</c:v>
                </c:pt>
                <c:pt idx="1">
                  <c:v>5.7538947324104119E-2</c:v>
                </c:pt>
                <c:pt idx="2">
                  <c:v>5.2433248127097418E-2</c:v>
                </c:pt>
                <c:pt idx="3">
                  <c:v>5.2427028090236263E-2</c:v>
                </c:pt>
                <c:pt idx="4">
                  <c:v>4.8702496145713738E-2</c:v>
                </c:pt>
                <c:pt idx="5">
                  <c:v>3.984530703204197E-2</c:v>
                </c:pt>
                <c:pt idx="6">
                  <c:v>2.9281333941963E-2</c:v>
                </c:pt>
                <c:pt idx="7">
                  <c:v>2.7690668434504601E-2</c:v>
                </c:pt>
                <c:pt idx="8">
                  <c:v>2.5210000455187748E-2</c:v>
                </c:pt>
                <c:pt idx="9">
                  <c:v>2.4943187003251179E-2</c:v>
                </c:pt>
                <c:pt idx="10">
                  <c:v>2.4410882866364541E-2</c:v>
                </c:pt>
                <c:pt idx="11">
                  <c:v>2.431449668967391E-2</c:v>
                </c:pt>
                <c:pt idx="12">
                  <c:v>2.2624836421410909E-2</c:v>
                </c:pt>
                <c:pt idx="13">
                  <c:v>2.240126222098935E-2</c:v>
                </c:pt>
                <c:pt idx="14">
                  <c:v>2.1312383520667021E-2</c:v>
                </c:pt>
                <c:pt idx="15">
                  <c:v>2.0948557967625781E-2</c:v>
                </c:pt>
                <c:pt idx="16">
                  <c:v>2.0802759209870909E-2</c:v>
                </c:pt>
                <c:pt idx="17">
                  <c:v>1.796715545025266E-2</c:v>
                </c:pt>
                <c:pt idx="18">
                  <c:v>1.6841617507406651E-2</c:v>
                </c:pt>
                <c:pt idx="19">
                  <c:v>1.595185798501797E-2</c:v>
                </c:pt>
                <c:pt idx="20">
                  <c:v>1.5133684418223889E-2</c:v>
                </c:pt>
                <c:pt idx="21">
                  <c:v>1.4607463502544641E-2</c:v>
                </c:pt>
                <c:pt idx="22">
                  <c:v>1.4327795755228641E-2</c:v>
                </c:pt>
                <c:pt idx="23">
                  <c:v>1.4300496139580759E-2</c:v>
                </c:pt>
                <c:pt idx="24">
                  <c:v>1.428543080773065E-2</c:v>
                </c:pt>
                <c:pt idx="25">
                  <c:v>1.4034261062238269E-2</c:v>
                </c:pt>
                <c:pt idx="26">
                  <c:v>1.329639293211704E-2</c:v>
                </c:pt>
                <c:pt idx="27">
                  <c:v>1.2785194916348211E-2</c:v>
                </c:pt>
                <c:pt idx="28">
                  <c:v>1.1550390621815201E-2</c:v>
                </c:pt>
                <c:pt idx="29">
                  <c:v>1.1357457804435761E-2</c:v>
                </c:pt>
                <c:pt idx="30">
                  <c:v>1.086426231323109E-2</c:v>
                </c:pt>
                <c:pt idx="31">
                  <c:v>1.0480589734489711E-2</c:v>
                </c:pt>
                <c:pt idx="32">
                  <c:v>1.0430399563066959E-2</c:v>
                </c:pt>
                <c:pt idx="33">
                  <c:v>1.020525301098122E-2</c:v>
                </c:pt>
                <c:pt idx="34">
                  <c:v>9.9953769134242237E-3</c:v>
                </c:pt>
                <c:pt idx="35">
                  <c:v>9.681768078509994E-3</c:v>
                </c:pt>
                <c:pt idx="36">
                  <c:v>9.4015158630799279E-3</c:v>
                </c:pt>
                <c:pt idx="37">
                  <c:v>8.0950411657840678E-3</c:v>
                </c:pt>
                <c:pt idx="38">
                  <c:v>7.5484160737205926E-3</c:v>
                </c:pt>
                <c:pt idx="39">
                  <c:v>7.4456816552401391E-3</c:v>
                </c:pt>
                <c:pt idx="40">
                  <c:v>7.2259315698773264E-3</c:v>
                </c:pt>
                <c:pt idx="41">
                  <c:v>7.1656336772027091E-3</c:v>
                </c:pt>
                <c:pt idx="42">
                  <c:v>6.7758356553924001E-3</c:v>
                </c:pt>
                <c:pt idx="43">
                  <c:v>6.6474385250116421E-3</c:v>
                </c:pt>
                <c:pt idx="44">
                  <c:v>6.5896804076022017E-3</c:v>
                </c:pt>
                <c:pt idx="45">
                  <c:v>6.1115357976134982E-3</c:v>
                </c:pt>
                <c:pt idx="46">
                  <c:v>5.451110043885531E-3</c:v>
                </c:pt>
                <c:pt idx="47">
                  <c:v>5.4366567437936376E-3</c:v>
                </c:pt>
                <c:pt idx="48">
                  <c:v>5.0655794386848208E-3</c:v>
                </c:pt>
                <c:pt idx="49">
                  <c:v>4.8777439605028356E-3</c:v>
                </c:pt>
                <c:pt idx="50">
                  <c:v>4.8173841850306202E-3</c:v>
                </c:pt>
                <c:pt idx="51">
                  <c:v>4.757078936432276E-3</c:v>
                </c:pt>
                <c:pt idx="52">
                  <c:v>4.6073366062554071E-3</c:v>
                </c:pt>
                <c:pt idx="53">
                  <c:v>4.4996529359943851E-3</c:v>
                </c:pt>
                <c:pt idx="54">
                  <c:v>4.3987723156036279E-3</c:v>
                </c:pt>
                <c:pt idx="55">
                  <c:v>4.0273573708384863E-3</c:v>
                </c:pt>
                <c:pt idx="56">
                  <c:v>3.9203779776991127E-3</c:v>
                </c:pt>
                <c:pt idx="57">
                  <c:v>3.4968857436555559E-3</c:v>
                </c:pt>
                <c:pt idx="58">
                  <c:v>3.318392300390517E-3</c:v>
                </c:pt>
                <c:pt idx="59">
                  <c:v>2.7099351522742849E-3</c:v>
                </c:pt>
                <c:pt idx="60">
                  <c:v>2.541972149100086E-3</c:v>
                </c:pt>
                <c:pt idx="61">
                  <c:v>2.4365023024946779E-3</c:v>
                </c:pt>
                <c:pt idx="62">
                  <c:v>2.4242122973904402E-3</c:v>
                </c:pt>
                <c:pt idx="63">
                  <c:v>2.1546631701556051E-3</c:v>
                </c:pt>
                <c:pt idx="64">
                  <c:v>1.6539174754250411E-3</c:v>
                </c:pt>
                <c:pt idx="65">
                  <c:v>1.533100664626598E-3</c:v>
                </c:pt>
                <c:pt idx="66">
                  <c:v>1.2803795821592181E-3</c:v>
                </c:pt>
                <c:pt idx="67">
                  <c:v>7.8328664731944621E-4</c:v>
                </c:pt>
                <c:pt idx="68">
                  <c:v>2.7127970870976262E-4</c:v>
                </c:pt>
                <c:pt idx="69">
                  <c:v>7.2971836586101626E-5</c:v>
                </c:pt>
                <c:pt idx="70">
                  <c:v>0</c:v>
                </c:pt>
                <c:pt idx="71">
                  <c:v>0</c:v>
                </c:pt>
                <c:pt idx="72">
                  <c:v>0</c:v>
                </c:pt>
                <c:pt idx="73">
                  <c:v>0</c:v>
                </c:pt>
                <c:pt idx="74">
                  <c:v>0</c:v>
                </c:pt>
                <c:pt idx="75">
                  <c:v>0</c:v>
                </c:pt>
                <c:pt idx="76">
                  <c:v>0</c:v>
                </c:pt>
                <c:pt idx="77">
                  <c:v>0</c:v>
                </c:pt>
              </c:numCache>
            </c:numRef>
          </c:val>
          <c:extLst>
            <c:ext xmlns:c16="http://schemas.microsoft.com/office/drawing/2014/chart" uri="{C3380CC4-5D6E-409C-BE32-E72D297353CC}">
              <c16:uniqueId val="{00000042-7980-4C82-8C1C-32D5A7B4E44B}"/>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ershey's Cookies 'n Creme 40Gx 4</c:v>
                </c:pt>
              </c:strCache>
            </c:strRef>
          </c:tx>
          <c:spPr>
            <a:solidFill>
              <a:schemeClr val="bg2"/>
            </a:solidFill>
            <a:ln>
              <a:noFill/>
            </a:ln>
            <a:effectLst/>
          </c:spPr>
          <c:invertIfNegative val="0"/>
          <c:dPt>
            <c:idx val="0"/>
            <c:invertIfNegative val="1"/>
            <c:bubble3D val="0"/>
            <c:spPr>
              <a:solidFill>
                <a:srgbClr val="E6E5E5"/>
              </a:solidFill>
            </c:spPr>
            <c:extLst>
              <c:ext xmlns:c16="http://schemas.microsoft.com/office/drawing/2014/chart" uri="{C3380CC4-5D6E-409C-BE32-E72D297353CC}">
                <c16:uniqueId val="{00000008-A0D8-4FF8-BF2D-A6DC7B178F5A}"/>
              </c:ext>
            </c:extLst>
          </c:dPt>
          <c:dPt>
            <c:idx val="1"/>
            <c:invertIfNegative val="0"/>
            <c:bubble3D val="0"/>
            <c:spPr>
              <a:solidFill>
                <a:srgbClr val="E6E5E5"/>
              </a:solidFill>
              <a:ln>
                <a:noFill/>
              </a:ln>
              <a:effectLst/>
            </c:spPr>
            <c:extLst>
              <c:ext xmlns:c16="http://schemas.microsoft.com/office/drawing/2014/chart" uri="{C3380CC4-5D6E-409C-BE32-E72D297353CC}">
                <c16:uniqueId val="{00000009-A0D8-4FF8-BF2D-A6DC7B178F5A}"/>
              </c:ext>
            </c:extLst>
          </c:dPt>
          <c:dPt>
            <c:idx val="2"/>
            <c:invertIfNegative val="1"/>
            <c:bubble3D val="0"/>
            <c:spPr>
              <a:solidFill>
                <a:srgbClr val="E6E5E5"/>
              </a:solidFill>
            </c:spPr>
            <c:extLst>
              <c:ext xmlns:c16="http://schemas.microsoft.com/office/drawing/2014/chart" uri="{C3380CC4-5D6E-409C-BE32-E72D297353CC}">
                <c16:uniqueId val="{0000000A-A0D8-4FF8-BF2D-A6DC7B178F5A}"/>
              </c:ext>
            </c:extLst>
          </c:dPt>
          <c:dPt>
            <c:idx val="3"/>
            <c:invertIfNegative val="1"/>
            <c:bubble3D val="0"/>
            <c:spPr>
              <a:solidFill>
                <a:srgbClr val="E6E5E5"/>
              </a:solidFill>
            </c:spPr>
            <c:extLst>
              <c:ext xmlns:c16="http://schemas.microsoft.com/office/drawing/2014/chart" uri="{C3380CC4-5D6E-409C-BE32-E72D297353CC}">
                <c16:uniqueId val="{0000000B-A0D8-4FF8-BF2D-A6DC7B178F5A}"/>
              </c:ext>
            </c:extLst>
          </c:dPt>
          <c:dPt>
            <c:idx val="4"/>
            <c:invertIfNegative val="1"/>
            <c:bubble3D val="0"/>
            <c:spPr>
              <a:solidFill>
                <a:srgbClr val="E6E5E5"/>
              </a:solidFill>
            </c:spPr>
            <c:extLst>
              <c:ext xmlns:c16="http://schemas.microsoft.com/office/drawing/2014/chart" uri="{C3380CC4-5D6E-409C-BE32-E72D297353CC}">
                <c16:uniqueId val="{0000000C-A0D8-4FF8-BF2D-A6DC7B178F5A}"/>
              </c:ext>
            </c:extLst>
          </c:dPt>
          <c:dPt>
            <c:idx val="5"/>
            <c:invertIfNegative val="1"/>
            <c:bubble3D val="0"/>
            <c:spPr>
              <a:solidFill>
                <a:srgbClr val="E6E5E5"/>
              </a:solidFill>
            </c:spPr>
            <c:extLst>
              <c:ext xmlns:c16="http://schemas.microsoft.com/office/drawing/2014/chart" uri="{C3380CC4-5D6E-409C-BE32-E72D297353CC}">
                <c16:uniqueId val="{0000000D-A0D8-4FF8-BF2D-A6DC7B178F5A}"/>
              </c:ext>
            </c:extLst>
          </c:dPt>
          <c:dPt>
            <c:idx val="6"/>
            <c:invertIfNegative val="1"/>
            <c:bubble3D val="0"/>
            <c:spPr>
              <a:solidFill>
                <a:srgbClr val="E6E5E5"/>
              </a:solidFill>
            </c:spPr>
            <c:extLst>
              <c:ext xmlns:c16="http://schemas.microsoft.com/office/drawing/2014/chart" uri="{C3380CC4-5D6E-409C-BE32-E72D297353CC}">
                <c16:uniqueId val="{0000000E-A0D8-4FF8-BF2D-A6DC7B178F5A}"/>
              </c:ext>
            </c:extLst>
          </c:dPt>
          <c:dPt>
            <c:idx val="7"/>
            <c:invertIfNegative val="1"/>
            <c:bubble3D val="0"/>
            <c:spPr>
              <a:solidFill>
                <a:srgbClr val="E6E5E5"/>
              </a:solidFill>
            </c:spPr>
            <c:extLst>
              <c:ext xmlns:c16="http://schemas.microsoft.com/office/drawing/2014/chart" uri="{C3380CC4-5D6E-409C-BE32-E72D297353CC}">
                <c16:uniqueId val="{0000000F-A0D8-4FF8-BF2D-A6DC7B178F5A}"/>
              </c:ext>
            </c:extLst>
          </c:dPt>
          <c:dPt>
            <c:idx val="8"/>
            <c:invertIfNegative val="1"/>
            <c:bubble3D val="0"/>
            <c:spPr>
              <a:solidFill>
                <a:srgbClr val="E6E5E5"/>
              </a:solidFill>
            </c:spPr>
            <c:extLst>
              <c:ext xmlns:c16="http://schemas.microsoft.com/office/drawing/2014/chart" uri="{C3380CC4-5D6E-409C-BE32-E72D297353CC}">
                <c16:uniqueId val="{00000010-A0D8-4FF8-BF2D-A6DC7B178F5A}"/>
              </c:ext>
            </c:extLst>
          </c:dPt>
          <c:dPt>
            <c:idx val="9"/>
            <c:invertIfNegative val="1"/>
            <c:bubble3D val="0"/>
            <c:spPr>
              <a:solidFill>
                <a:srgbClr val="E6E5E5"/>
              </a:solidFill>
            </c:spPr>
            <c:extLst>
              <c:ext xmlns:c16="http://schemas.microsoft.com/office/drawing/2014/chart" uri="{C3380CC4-5D6E-409C-BE32-E72D297353CC}">
                <c16:uniqueId val="{00000011-A0D8-4FF8-BF2D-A6DC7B178F5A}"/>
              </c:ext>
            </c:extLst>
          </c:dPt>
          <c:dPt>
            <c:idx val="10"/>
            <c:invertIfNegative val="1"/>
            <c:bubble3D val="0"/>
            <c:spPr>
              <a:solidFill>
                <a:srgbClr val="E6E5E5"/>
              </a:solidFill>
            </c:spPr>
            <c:extLst>
              <c:ext xmlns:c16="http://schemas.microsoft.com/office/drawing/2014/chart" uri="{C3380CC4-5D6E-409C-BE32-E72D297353CC}">
                <c16:uniqueId val="{00000001-A0D8-4FF8-BF2D-A6DC7B178F5A}"/>
              </c:ext>
            </c:extLst>
          </c:dPt>
          <c:dPt>
            <c:idx val="11"/>
            <c:invertIfNegative val="0"/>
            <c:bubble3D val="0"/>
            <c:spPr>
              <a:solidFill>
                <a:srgbClr val="E6E5E5"/>
              </a:solidFill>
              <a:ln>
                <a:noFill/>
              </a:ln>
              <a:effectLst/>
            </c:spPr>
            <c:extLst>
              <c:ext xmlns:c16="http://schemas.microsoft.com/office/drawing/2014/chart" uri="{C3380CC4-5D6E-409C-BE32-E72D297353CC}">
                <c16:uniqueId val="{00000003-A0D8-4FF8-BF2D-A6DC7B178F5A}"/>
              </c:ext>
            </c:extLst>
          </c:dPt>
          <c:dPt>
            <c:idx val="12"/>
            <c:invertIfNegative val="1"/>
            <c:bubble3D val="0"/>
            <c:spPr>
              <a:solidFill>
                <a:srgbClr val="E6E5E5"/>
              </a:solidFill>
            </c:spPr>
            <c:extLst>
              <c:ext xmlns:c16="http://schemas.microsoft.com/office/drawing/2014/chart" uri="{C3380CC4-5D6E-409C-BE32-E72D297353CC}">
                <c16:uniqueId val="{00000005-A0D8-4FF8-BF2D-A6DC7B178F5A}"/>
              </c:ext>
            </c:extLst>
          </c:dPt>
          <c:dPt>
            <c:idx val="13"/>
            <c:invertIfNegative val="1"/>
            <c:bubble3D val="0"/>
            <c:spPr>
              <a:solidFill>
                <a:srgbClr val="E6E5E5"/>
              </a:solidFill>
            </c:spPr>
            <c:extLst>
              <c:ext xmlns:c16="http://schemas.microsoft.com/office/drawing/2014/chart" uri="{C3380CC4-5D6E-409C-BE32-E72D297353CC}">
                <c16:uniqueId val="{00000012-A0D8-4FF8-BF2D-A6DC7B178F5A}"/>
              </c:ext>
            </c:extLst>
          </c:dPt>
          <c:dPt>
            <c:idx val="14"/>
            <c:invertIfNegative val="1"/>
            <c:bubble3D val="0"/>
            <c:spPr>
              <a:solidFill>
                <a:srgbClr val="E6E5E5"/>
              </a:solidFill>
            </c:spPr>
            <c:extLst>
              <c:ext xmlns:c16="http://schemas.microsoft.com/office/drawing/2014/chart" uri="{C3380CC4-5D6E-409C-BE32-E72D297353CC}">
                <c16:uniqueId val="{00000013-A0D8-4FF8-BF2D-A6DC7B178F5A}"/>
              </c:ext>
            </c:extLst>
          </c:dPt>
          <c:dPt>
            <c:idx val="15"/>
            <c:invertIfNegative val="1"/>
            <c:bubble3D val="0"/>
            <c:spPr>
              <a:solidFill>
                <a:srgbClr val="E6E5E5"/>
              </a:solidFill>
            </c:spPr>
            <c:extLst>
              <c:ext xmlns:c16="http://schemas.microsoft.com/office/drawing/2014/chart" uri="{C3380CC4-5D6E-409C-BE32-E72D297353CC}">
                <c16:uniqueId val="{00000014-A0D8-4FF8-BF2D-A6DC7B178F5A}"/>
              </c:ext>
            </c:extLst>
          </c:dPt>
          <c:dPt>
            <c:idx val="16"/>
            <c:invertIfNegative val="1"/>
            <c:bubble3D val="0"/>
            <c:spPr>
              <a:solidFill>
                <a:srgbClr val="E6E5E5"/>
              </a:solidFill>
            </c:spPr>
            <c:extLst>
              <c:ext xmlns:c16="http://schemas.microsoft.com/office/drawing/2014/chart" uri="{C3380CC4-5D6E-409C-BE32-E72D297353CC}">
                <c16:uniqueId val="{00000015-A0D8-4FF8-BF2D-A6DC7B178F5A}"/>
              </c:ext>
            </c:extLst>
          </c:dPt>
          <c:dPt>
            <c:idx val="17"/>
            <c:invertIfNegative val="1"/>
            <c:bubble3D val="0"/>
            <c:spPr>
              <a:solidFill>
                <a:srgbClr val="E6E5E5"/>
              </a:solidFill>
            </c:spPr>
            <c:extLst>
              <c:ext xmlns:c16="http://schemas.microsoft.com/office/drawing/2014/chart" uri="{C3380CC4-5D6E-409C-BE32-E72D297353CC}">
                <c16:uniqueId val="{00000016-A0D8-4FF8-BF2D-A6DC7B178F5A}"/>
              </c:ext>
            </c:extLst>
          </c:dPt>
          <c:dPt>
            <c:idx val="18"/>
            <c:invertIfNegative val="1"/>
            <c:bubble3D val="0"/>
            <c:spPr>
              <a:solidFill>
                <a:srgbClr val="E6E5E5"/>
              </a:solidFill>
            </c:spPr>
            <c:extLst>
              <c:ext xmlns:c16="http://schemas.microsoft.com/office/drawing/2014/chart" uri="{C3380CC4-5D6E-409C-BE32-E72D297353CC}">
                <c16:uniqueId val="{00000017-A0D8-4FF8-BF2D-A6DC7B178F5A}"/>
              </c:ext>
            </c:extLst>
          </c:dPt>
          <c:dPt>
            <c:idx val="19"/>
            <c:invertIfNegative val="1"/>
            <c:bubble3D val="0"/>
            <c:spPr>
              <a:solidFill>
                <a:srgbClr val="E6E5E5"/>
              </a:solidFill>
            </c:spPr>
            <c:extLst>
              <c:ext xmlns:c16="http://schemas.microsoft.com/office/drawing/2014/chart" uri="{C3380CC4-5D6E-409C-BE32-E72D297353CC}">
                <c16:uniqueId val="{00000018-A0D8-4FF8-BF2D-A6DC7B178F5A}"/>
              </c:ext>
            </c:extLst>
          </c:dPt>
          <c:dPt>
            <c:idx val="20"/>
            <c:invertIfNegative val="1"/>
            <c:bubble3D val="0"/>
            <c:spPr>
              <a:solidFill>
                <a:srgbClr val="E6E5E5"/>
              </a:solidFill>
            </c:spPr>
            <c:extLst>
              <c:ext xmlns:c16="http://schemas.microsoft.com/office/drawing/2014/chart" uri="{C3380CC4-5D6E-409C-BE32-E72D297353CC}">
                <c16:uniqueId val="{00000019-A0D8-4FF8-BF2D-A6DC7B178F5A}"/>
              </c:ext>
            </c:extLst>
          </c:dPt>
          <c:dPt>
            <c:idx val="21"/>
            <c:invertIfNegative val="1"/>
            <c:bubble3D val="0"/>
            <c:spPr>
              <a:solidFill>
                <a:srgbClr val="E6E5E5"/>
              </a:solidFill>
            </c:spPr>
            <c:extLst>
              <c:ext xmlns:c16="http://schemas.microsoft.com/office/drawing/2014/chart" uri="{C3380CC4-5D6E-409C-BE32-E72D297353CC}">
                <c16:uniqueId val="{0000001A-A0D8-4FF8-BF2D-A6DC7B178F5A}"/>
              </c:ext>
            </c:extLst>
          </c:dPt>
          <c:dPt>
            <c:idx val="22"/>
            <c:invertIfNegative val="1"/>
            <c:bubble3D val="0"/>
            <c:spPr>
              <a:solidFill>
                <a:srgbClr val="E6E5E5"/>
              </a:solidFill>
            </c:spPr>
            <c:extLst>
              <c:ext xmlns:c16="http://schemas.microsoft.com/office/drawing/2014/chart" uri="{C3380CC4-5D6E-409C-BE32-E72D297353CC}">
                <c16:uniqueId val="{0000001B-A0D8-4FF8-BF2D-A6DC7B178F5A}"/>
              </c:ext>
            </c:extLst>
          </c:dPt>
          <c:dPt>
            <c:idx val="23"/>
            <c:invertIfNegative val="1"/>
            <c:bubble3D val="0"/>
            <c:spPr>
              <a:solidFill>
                <a:srgbClr val="E6E5E5"/>
              </a:solidFill>
            </c:spPr>
            <c:extLst>
              <c:ext xmlns:c16="http://schemas.microsoft.com/office/drawing/2014/chart" uri="{C3380CC4-5D6E-409C-BE32-E72D297353CC}">
                <c16:uniqueId val="{0000001C-A0D8-4FF8-BF2D-A6DC7B178F5A}"/>
              </c:ext>
            </c:extLst>
          </c:dPt>
          <c:dPt>
            <c:idx val="24"/>
            <c:invertIfNegative val="1"/>
            <c:bubble3D val="0"/>
            <c:spPr>
              <a:solidFill>
                <a:srgbClr val="E6E5E5"/>
              </a:solidFill>
            </c:spPr>
            <c:extLst>
              <c:ext xmlns:c16="http://schemas.microsoft.com/office/drawing/2014/chart" uri="{C3380CC4-5D6E-409C-BE32-E72D297353CC}">
                <c16:uniqueId val="{0000001D-A0D8-4FF8-BF2D-A6DC7B178F5A}"/>
              </c:ext>
            </c:extLst>
          </c:dPt>
          <c:dPt>
            <c:idx val="25"/>
            <c:invertIfNegative val="1"/>
            <c:bubble3D val="0"/>
            <c:spPr>
              <a:solidFill>
                <a:srgbClr val="E6E5E5"/>
              </a:solidFill>
            </c:spPr>
            <c:extLst>
              <c:ext xmlns:c16="http://schemas.microsoft.com/office/drawing/2014/chart" uri="{C3380CC4-5D6E-409C-BE32-E72D297353CC}">
                <c16:uniqueId val="{0000001E-A0D8-4FF8-BF2D-A6DC7B178F5A}"/>
              </c:ext>
            </c:extLst>
          </c:dPt>
          <c:dPt>
            <c:idx val="26"/>
            <c:invertIfNegative val="1"/>
            <c:bubble3D val="0"/>
            <c:spPr>
              <a:solidFill>
                <a:srgbClr val="E6E5E5"/>
              </a:solidFill>
            </c:spPr>
            <c:extLst>
              <c:ext xmlns:c16="http://schemas.microsoft.com/office/drawing/2014/chart" uri="{C3380CC4-5D6E-409C-BE32-E72D297353CC}">
                <c16:uniqueId val="{0000001F-A0D8-4FF8-BF2D-A6DC7B178F5A}"/>
              </c:ext>
            </c:extLst>
          </c:dPt>
          <c:dPt>
            <c:idx val="27"/>
            <c:invertIfNegative val="1"/>
            <c:bubble3D val="0"/>
            <c:spPr>
              <a:solidFill>
                <a:srgbClr val="E6E5E5"/>
              </a:solidFill>
            </c:spPr>
            <c:extLst>
              <c:ext xmlns:c16="http://schemas.microsoft.com/office/drawing/2014/chart" uri="{C3380CC4-5D6E-409C-BE32-E72D297353CC}">
                <c16:uniqueId val="{00000020-A0D8-4FF8-BF2D-A6DC7B178F5A}"/>
              </c:ext>
            </c:extLst>
          </c:dPt>
          <c:dPt>
            <c:idx val="28"/>
            <c:invertIfNegative val="1"/>
            <c:bubble3D val="0"/>
            <c:spPr>
              <a:solidFill>
                <a:srgbClr val="E6E5E5"/>
              </a:solidFill>
            </c:spPr>
            <c:extLst>
              <c:ext xmlns:c16="http://schemas.microsoft.com/office/drawing/2014/chart" uri="{C3380CC4-5D6E-409C-BE32-E72D297353CC}">
                <c16:uniqueId val="{00000021-A0D8-4FF8-BF2D-A6DC7B178F5A}"/>
              </c:ext>
            </c:extLst>
          </c:dPt>
          <c:dPt>
            <c:idx val="29"/>
            <c:invertIfNegative val="1"/>
            <c:bubble3D val="0"/>
            <c:spPr>
              <a:solidFill>
                <a:srgbClr val="E6E5E5"/>
              </a:solidFill>
            </c:spPr>
            <c:extLst>
              <c:ext xmlns:c16="http://schemas.microsoft.com/office/drawing/2014/chart" uri="{C3380CC4-5D6E-409C-BE32-E72D297353CC}">
                <c16:uniqueId val="{00000022-A0D8-4FF8-BF2D-A6DC7B178F5A}"/>
              </c:ext>
            </c:extLst>
          </c:dPt>
          <c:dPt>
            <c:idx val="30"/>
            <c:invertIfNegative val="1"/>
            <c:bubble3D val="0"/>
            <c:spPr>
              <a:solidFill>
                <a:srgbClr val="E6E5E5"/>
              </a:solidFill>
            </c:spPr>
            <c:extLst>
              <c:ext xmlns:c16="http://schemas.microsoft.com/office/drawing/2014/chart" uri="{C3380CC4-5D6E-409C-BE32-E72D297353CC}">
                <c16:uniqueId val="{00000023-A0D8-4FF8-BF2D-A6DC7B178F5A}"/>
              </c:ext>
            </c:extLst>
          </c:dPt>
          <c:dPt>
            <c:idx val="31"/>
            <c:invertIfNegative val="1"/>
            <c:bubble3D val="0"/>
            <c:spPr>
              <a:solidFill>
                <a:srgbClr val="E6E5E5"/>
              </a:solidFill>
            </c:spPr>
            <c:extLst>
              <c:ext xmlns:c16="http://schemas.microsoft.com/office/drawing/2014/chart" uri="{C3380CC4-5D6E-409C-BE32-E72D297353CC}">
                <c16:uniqueId val="{00000024-A0D8-4FF8-BF2D-A6DC7B178F5A}"/>
              </c:ext>
            </c:extLst>
          </c:dPt>
          <c:dPt>
            <c:idx val="32"/>
            <c:invertIfNegative val="1"/>
            <c:bubble3D val="0"/>
            <c:spPr>
              <a:solidFill>
                <a:srgbClr val="E6E5E5"/>
              </a:solidFill>
            </c:spPr>
            <c:extLst>
              <c:ext xmlns:c16="http://schemas.microsoft.com/office/drawing/2014/chart" uri="{C3380CC4-5D6E-409C-BE32-E72D297353CC}">
                <c16:uniqueId val="{00000025-A0D8-4FF8-BF2D-A6DC7B178F5A}"/>
              </c:ext>
            </c:extLst>
          </c:dPt>
          <c:dPt>
            <c:idx val="33"/>
            <c:invertIfNegative val="1"/>
            <c:bubble3D val="0"/>
            <c:spPr>
              <a:solidFill>
                <a:srgbClr val="E6E5E5"/>
              </a:solidFill>
            </c:spPr>
            <c:extLst>
              <c:ext xmlns:c16="http://schemas.microsoft.com/office/drawing/2014/chart" uri="{C3380CC4-5D6E-409C-BE32-E72D297353CC}">
                <c16:uniqueId val="{00000026-A0D8-4FF8-BF2D-A6DC7B178F5A}"/>
              </c:ext>
            </c:extLst>
          </c:dPt>
          <c:dPt>
            <c:idx val="34"/>
            <c:invertIfNegative val="1"/>
            <c:bubble3D val="0"/>
            <c:spPr>
              <a:solidFill>
                <a:srgbClr val="E6E5E5"/>
              </a:solidFill>
            </c:spPr>
            <c:extLst>
              <c:ext xmlns:c16="http://schemas.microsoft.com/office/drawing/2014/chart" uri="{C3380CC4-5D6E-409C-BE32-E72D297353CC}">
                <c16:uniqueId val="{00000027-A0D8-4FF8-BF2D-A6DC7B178F5A}"/>
              </c:ext>
            </c:extLst>
          </c:dPt>
          <c:dPt>
            <c:idx val="35"/>
            <c:invertIfNegative val="1"/>
            <c:bubble3D val="0"/>
            <c:spPr>
              <a:solidFill>
                <a:srgbClr val="E6E5E5"/>
              </a:solidFill>
            </c:spPr>
            <c:extLst>
              <c:ext xmlns:c16="http://schemas.microsoft.com/office/drawing/2014/chart" uri="{C3380CC4-5D6E-409C-BE32-E72D297353CC}">
                <c16:uniqueId val="{00000028-A0D8-4FF8-BF2D-A6DC7B178F5A}"/>
              </c:ext>
            </c:extLst>
          </c:dPt>
          <c:dPt>
            <c:idx val="36"/>
            <c:invertIfNegative val="1"/>
            <c:bubble3D val="0"/>
            <c:spPr>
              <a:solidFill>
                <a:srgbClr val="E6E5E5"/>
              </a:solidFill>
            </c:spPr>
            <c:extLst>
              <c:ext xmlns:c16="http://schemas.microsoft.com/office/drawing/2014/chart" uri="{C3380CC4-5D6E-409C-BE32-E72D297353CC}">
                <c16:uniqueId val="{00000029-A0D8-4FF8-BF2D-A6DC7B178F5A}"/>
              </c:ext>
            </c:extLst>
          </c:dPt>
          <c:dPt>
            <c:idx val="37"/>
            <c:invertIfNegative val="1"/>
            <c:bubble3D val="0"/>
            <c:spPr>
              <a:solidFill>
                <a:srgbClr val="E6E5E5"/>
              </a:solidFill>
            </c:spPr>
            <c:extLst>
              <c:ext xmlns:c16="http://schemas.microsoft.com/office/drawing/2014/chart" uri="{C3380CC4-5D6E-409C-BE32-E72D297353CC}">
                <c16:uniqueId val="{0000002A-A0D8-4FF8-BF2D-A6DC7B178F5A}"/>
              </c:ext>
            </c:extLst>
          </c:dPt>
          <c:dPt>
            <c:idx val="38"/>
            <c:invertIfNegative val="1"/>
            <c:bubble3D val="0"/>
            <c:spPr>
              <a:solidFill>
                <a:srgbClr val="E6E5E5"/>
              </a:solidFill>
            </c:spPr>
            <c:extLst>
              <c:ext xmlns:c16="http://schemas.microsoft.com/office/drawing/2014/chart" uri="{C3380CC4-5D6E-409C-BE32-E72D297353CC}">
                <c16:uniqueId val="{0000002B-A0D8-4FF8-BF2D-A6DC7B178F5A}"/>
              </c:ext>
            </c:extLst>
          </c:dPt>
          <c:dPt>
            <c:idx val="39"/>
            <c:invertIfNegative val="1"/>
            <c:bubble3D val="0"/>
            <c:spPr>
              <a:solidFill>
                <a:srgbClr val="E6E5E5"/>
              </a:solidFill>
            </c:spPr>
            <c:extLst>
              <c:ext xmlns:c16="http://schemas.microsoft.com/office/drawing/2014/chart" uri="{C3380CC4-5D6E-409C-BE32-E72D297353CC}">
                <c16:uniqueId val="{0000002C-A0D8-4FF8-BF2D-A6DC7B178F5A}"/>
              </c:ext>
            </c:extLst>
          </c:dPt>
          <c:dPt>
            <c:idx val="40"/>
            <c:invertIfNegative val="1"/>
            <c:bubble3D val="0"/>
            <c:spPr>
              <a:solidFill>
                <a:srgbClr val="E6E5E5"/>
              </a:solidFill>
            </c:spPr>
            <c:extLst>
              <c:ext xmlns:c16="http://schemas.microsoft.com/office/drawing/2014/chart" uri="{C3380CC4-5D6E-409C-BE32-E72D297353CC}">
                <c16:uniqueId val="{0000002D-A0D8-4FF8-BF2D-A6DC7B178F5A}"/>
              </c:ext>
            </c:extLst>
          </c:dPt>
          <c:dPt>
            <c:idx val="41"/>
            <c:invertIfNegative val="1"/>
            <c:bubble3D val="0"/>
            <c:spPr>
              <a:solidFill>
                <a:srgbClr val="E6E5E5"/>
              </a:solidFill>
            </c:spPr>
            <c:extLst>
              <c:ext xmlns:c16="http://schemas.microsoft.com/office/drawing/2014/chart" uri="{C3380CC4-5D6E-409C-BE32-E72D297353CC}">
                <c16:uniqueId val="{0000002E-A0D8-4FF8-BF2D-A6DC7B178F5A}"/>
              </c:ext>
            </c:extLst>
          </c:dPt>
          <c:dPt>
            <c:idx val="42"/>
            <c:invertIfNegative val="1"/>
            <c:bubble3D val="0"/>
            <c:spPr>
              <a:solidFill>
                <a:srgbClr val="E6E5E5"/>
              </a:solidFill>
            </c:spPr>
            <c:extLst>
              <c:ext xmlns:c16="http://schemas.microsoft.com/office/drawing/2014/chart" uri="{C3380CC4-5D6E-409C-BE32-E72D297353CC}">
                <c16:uniqueId val="{00000007-A0D8-4FF8-BF2D-A6DC7B178F5A}"/>
              </c:ext>
            </c:extLst>
          </c:dPt>
          <c:dPt>
            <c:idx val="43"/>
            <c:invertIfNegative val="1"/>
            <c:bubble3D val="0"/>
            <c:spPr>
              <a:solidFill>
                <a:srgbClr val="E6E5E5"/>
              </a:solidFill>
            </c:spPr>
            <c:extLst>
              <c:ext xmlns:c16="http://schemas.microsoft.com/office/drawing/2014/chart" uri="{C3380CC4-5D6E-409C-BE32-E72D297353CC}">
                <c16:uniqueId val="{0000002F-A0D8-4FF8-BF2D-A6DC7B178F5A}"/>
              </c:ext>
            </c:extLst>
          </c:dPt>
          <c:dPt>
            <c:idx val="44"/>
            <c:invertIfNegative val="1"/>
            <c:bubble3D val="0"/>
            <c:spPr>
              <a:solidFill>
                <a:srgbClr val="E6E5E5"/>
              </a:solidFill>
            </c:spPr>
            <c:extLst>
              <c:ext xmlns:c16="http://schemas.microsoft.com/office/drawing/2014/chart" uri="{C3380CC4-5D6E-409C-BE32-E72D297353CC}">
                <c16:uniqueId val="{00000030-A0D8-4FF8-BF2D-A6DC7B178F5A}"/>
              </c:ext>
            </c:extLst>
          </c:dPt>
          <c:dPt>
            <c:idx val="45"/>
            <c:invertIfNegative val="1"/>
            <c:bubble3D val="0"/>
            <c:spPr>
              <a:solidFill>
                <a:srgbClr val="E6E5E5"/>
              </a:solidFill>
            </c:spPr>
            <c:extLst>
              <c:ext xmlns:c16="http://schemas.microsoft.com/office/drawing/2014/chart" uri="{C3380CC4-5D6E-409C-BE32-E72D297353CC}">
                <c16:uniqueId val="{00000031-A0D8-4FF8-BF2D-A6DC7B178F5A}"/>
              </c:ext>
            </c:extLst>
          </c:dPt>
          <c:dPt>
            <c:idx val="46"/>
            <c:invertIfNegative val="0"/>
            <c:bubble3D val="0"/>
            <c:spPr>
              <a:solidFill>
                <a:srgbClr val="E6E5E5"/>
              </a:solidFill>
              <a:ln>
                <a:noFill/>
              </a:ln>
              <a:effectLst/>
            </c:spPr>
            <c:extLst>
              <c:ext xmlns:c16="http://schemas.microsoft.com/office/drawing/2014/chart" uri="{C3380CC4-5D6E-409C-BE32-E72D297353CC}">
                <c16:uniqueId val="{00000032-A0D8-4FF8-BF2D-A6DC7B178F5A}"/>
              </c:ext>
            </c:extLst>
          </c:dPt>
          <c:dPt>
            <c:idx val="47"/>
            <c:invertIfNegative val="1"/>
            <c:bubble3D val="0"/>
            <c:spPr>
              <a:solidFill>
                <a:srgbClr val="E6E5E5"/>
              </a:solidFill>
            </c:spPr>
            <c:extLst>
              <c:ext xmlns:c16="http://schemas.microsoft.com/office/drawing/2014/chart" uri="{C3380CC4-5D6E-409C-BE32-E72D297353CC}">
                <c16:uniqueId val="{00000033-A0D8-4FF8-BF2D-A6DC7B178F5A}"/>
              </c:ext>
            </c:extLst>
          </c:dPt>
          <c:dPt>
            <c:idx val="48"/>
            <c:invertIfNegative val="0"/>
            <c:bubble3D val="0"/>
            <c:spPr>
              <a:solidFill>
                <a:srgbClr val="E6E5E5"/>
              </a:solidFill>
              <a:ln>
                <a:noFill/>
              </a:ln>
              <a:effectLst/>
            </c:spPr>
            <c:extLst>
              <c:ext xmlns:c16="http://schemas.microsoft.com/office/drawing/2014/chart" uri="{C3380CC4-5D6E-409C-BE32-E72D297353CC}">
                <c16:uniqueId val="{00000034-A0D8-4FF8-BF2D-A6DC7B178F5A}"/>
              </c:ext>
            </c:extLst>
          </c:dPt>
          <c:dPt>
            <c:idx val="49"/>
            <c:invertIfNegative val="1"/>
            <c:bubble3D val="0"/>
            <c:spPr>
              <a:solidFill>
                <a:srgbClr val="E6E5E5"/>
              </a:solidFill>
            </c:spPr>
            <c:extLst>
              <c:ext xmlns:c16="http://schemas.microsoft.com/office/drawing/2014/chart" uri="{C3380CC4-5D6E-409C-BE32-E72D297353CC}">
                <c16:uniqueId val="{00000035-A0D8-4FF8-BF2D-A6DC7B178F5A}"/>
              </c:ext>
            </c:extLst>
          </c:dPt>
          <c:dPt>
            <c:idx val="50"/>
            <c:invertIfNegative val="1"/>
            <c:bubble3D val="0"/>
            <c:spPr>
              <a:solidFill>
                <a:srgbClr val="E6E5E5"/>
              </a:solidFill>
            </c:spPr>
            <c:extLst>
              <c:ext xmlns:c16="http://schemas.microsoft.com/office/drawing/2014/chart" uri="{C3380CC4-5D6E-409C-BE32-E72D297353CC}">
                <c16:uniqueId val="{00000036-A0D8-4FF8-BF2D-A6DC7B178F5A}"/>
              </c:ext>
            </c:extLst>
          </c:dPt>
          <c:dPt>
            <c:idx val="51"/>
            <c:invertIfNegative val="1"/>
            <c:bubble3D val="0"/>
            <c:spPr>
              <a:solidFill>
                <a:srgbClr val="E6E5E5"/>
              </a:solidFill>
            </c:spPr>
            <c:extLst>
              <c:ext xmlns:c16="http://schemas.microsoft.com/office/drawing/2014/chart" uri="{C3380CC4-5D6E-409C-BE32-E72D297353CC}">
                <c16:uniqueId val="{00000037-A0D8-4FF8-BF2D-A6DC7B178F5A}"/>
              </c:ext>
            </c:extLst>
          </c:dPt>
          <c:dPt>
            <c:idx val="52"/>
            <c:invertIfNegative val="0"/>
            <c:bubble3D val="0"/>
            <c:spPr>
              <a:solidFill>
                <a:srgbClr val="E6E5E5"/>
              </a:solidFill>
              <a:ln>
                <a:noFill/>
              </a:ln>
              <a:effectLst/>
            </c:spPr>
            <c:extLst>
              <c:ext xmlns:c16="http://schemas.microsoft.com/office/drawing/2014/chart" uri="{C3380CC4-5D6E-409C-BE32-E72D297353CC}">
                <c16:uniqueId val="{00000038-A0D8-4FF8-BF2D-A6DC7B178F5A}"/>
              </c:ext>
            </c:extLst>
          </c:dPt>
          <c:dPt>
            <c:idx val="53"/>
            <c:invertIfNegative val="1"/>
            <c:bubble3D val="0"/>
            <c:spPr>
              <a:solidFill>
                <a:srgbClr val="E6E5E5"/>
              </a:solidFill>
            </c:spPr>
            <c:extLst>
              <c:ext xmlns:c16="http://schemas.microsoft.com/office/drawing/2014/chart" uri="{C3380CC4-5D6E-409C-BE32-E72D297353CC}">
                <c16:uniqueId val="{0000006B-B572-4DF2-A18B-EB5D630E70B4}"/>
              </c:ext>
            </c:extLst>
          </c:dPt>
          <c:dPt>
            <c:idx val="54"/>
            <c:invertIfNegative val="1"/>
            <c:bubble3D val="0"/>
            <c:spPr>
              <a:solidFill>
                <a:srgbClr val="E6E5E5"/>
              </a:solidFill>
            </c:spPr>
            <c:extLst>
              <c:ext xmlns:c16="http://schemas.microsoft.com/office/drawing/2014/chart" uri="{C3380CC4-5D6E-409C-BE32-E72D297353CC}">
                <c16:uniqueId val="{0000006D-B572-4DF2-A18B-EB5D630E70B4}"/>
              </c:ext>
            </c:extLst>
          </c:dPt>
          <c:dPt>
            <c:idx val="55"/>
            <c:invertIfNegative val="1"/>
            <c:bubble3D val="0"/>
            <c:spPr>
              <a:solidFill>
                <a:srgbClr val="E6E5E5"/>
              </a:solidFill>
            </c:spPr>
            <c:extLst>
              <c:ext xmlns:c16="http://schemas.microsoft.com/office/drawing/2014/chart" uri="{C3380CC4-5D6E-409C-BE32-E72D297353CC}">
                <c16:uniqueId val="{0000006F-B572-4DF2-A18B-EB5D630E70B4}"/>
              </c:ext>
            </c:extLst>
          </c:dPt>
          <c:dPt>
            <c:idx val="56"/>
            <c:invertIfNegative val="1"/>
            <c:bubble3D val="0"/>
            <c:spPr>
              <a:solidFill>
                <a:srgbClr val="E6E5E5"/>
              </a:solidFill>
            </c:spPr>
            <c:extLst>
              <c:ext xmlns:c16="http://schemas.microsoft.com/office/drawing/2014/chart" uri="{C3380CC4-5D6E-409C-BE32-E72D297353CC}">
                <c16:uniqueId val="{00000071-B572-4DF2-A18B-EB5D630E70B4}"/>
              </c:ext>
            </c:extLst>
          </c:dPt>
          <c:dPt>
            <c:idx val="57"/>
            <c:invertIfNegative val="1"/>
            <c:bubble3D val="0"/>
            <c:spPr>
              <a:solidFill>
                <a:srgbClr val="E6E5E5"/>
              </a:solidFill>
            </c:spPr>
            <c:extLst>
              <c:ext xmlns:c16="http://schemas.microsoft.com/office/drawing/2014/chart" uri="{C3380CC4-5D6E-409C-BE32-E72D297353CC}">
                <c16:uniqueId val="{00000073-B572-4DF2-A18B-EB5D630E70B4}"/>
              </c:ext>
            </c:extLst>
          </c:dPt>
          <c:dPt>
            <c:idx val="58"/>
            <c:invertIfNegative val="1"/>
            <c:bubble3D val="0"/>
            <c:spPr>
              <a:solidFill>
                <a:srgbClr val="E6E5E5"/>
              </a:solidFill>
            </c:spPr>
            <c:extLst>
              <c:ext xmlns:c16="http://schemas.microsoft.com/office/drawing/2014/chart" uri="{C3380CC4-5D6E-409C-BE32-E72D297353CC}">
                <c16:uniqueId val="{00000075-B572-4DF2-A18B-EB5D630E70B4}"/>
              </c:ext>
            </c:extLst>
          </c:dPt>
          <c:dPt>
            <c:idx val="59"/>
            <c:invertIfNegative val="1"/>
            <c:bubble3D val="0"/>
            <c:spPr>
              <a:solidFill>
                <a:srgbClr val="E6E5E5"/>
              </a:solidFill>
            </c:spPr>
            <c:extLst>
              <c:ext xmlns:c16="http://schemas.microsoft.com/office/drawing/2014/chart" uri="{C3380CC4-5D6E-409C-BE32-E72D297353CC}">
                <c16:uniqueId val="{00000077-B572-4DF2-A18B-EB5D630E70B4}"/>
              </c:ext>
            </c:extLst>
          </c:dPt>
          <c:dPt>
            <c:idx val="60"/>
            <c:invertIfNegative val="1"/>
            <c:bubble3D val="0"/>
            <c:spPr>
              <a:solidFill>
                <a:srgbClr val="E6E5E5"/>
              </a:solidFill>
            </c:spPr>
            <c:extLst>
              <c:ext xmlns:c16="http://schemas.microsoft.com/office/drawing/2014/chart" uri="{C3380CC4-5D6E-409C-BE32-E72D297353CC}">
                <c16:uniqueId val="{00000079-B572-4DF2-A18B-EB5D630E70B4}"/>
              </c:ext>
            </c:extLst>
          </c:dPt>
          <c:dPt>
            <c:idx val="61"/>
            <c:invertIfNegative val="1"/>
            <c:bubble3D val="0"/>
            <c:spPr>
              <a:solidFill>
                <a:srgbClr val="E6E5E5"/>
              </a:solidFill>
            </c:spPr>
            <c:extLst>
              <c:ext xmlns:c16="http://schemas.microsoft.com/office/drawing/2014/chart" uri="{C3380CC4-5D6E-409C-BE32-E72D297353CC}">
                <c16:uniqueId val="{0000007B-B572-4DF2-A18B-EB5D630E70B4}"/>
              </c:ext>
            </c:extLst>
          </c:dPt>
          <c:dPt>
            <c:idx val="62"/>
            <c:invertIfNegative val="1"/>
            <c:bubble3D val="0"/>
            <c:spPr>
              <a:solidFill>
                <a:srgbClr val="E6E5E5"/>
              </a:solidFill>
            </c:spPr>
            <c:extLst>
              <c:ext xmlns:c16="http://schemas.microsoft.com/office/drawing/2014/chart" uri="{C3380CC4-5D6E-409C-BE32-E72D297353CC}">
                <c16:uniqueId val="{0000007D-B572-4DF2-A18B-EB5D630E70B4}"/>
              </c:ext>
            </c:extLst>
          </c:dPt>
          <c:dPt>
            <c:idx val="63"/>
            <c:invertIfNegative val="1"/>
            <c:bubble3D val="0"/>
            <c:spPr>
              <a:solidFill>
                <a:srgbClr val="E6E5E5"/>
              </a:solidFill>
            </c:spPr>
            <c:extLst>
              <c:ext xmlns:c16="http://schemas.microsoft.com/office/drawing/2014/chart" uri="{C3380CC4-5D6E-409C-BE32-E72D297353CC}">
                <c16:uniqueId val="{0000007F-B572-4DF2-A18B-EB5D630E70B4}"/>
              </c:ext>
            </c:extLst>
          </c:dPt>
          <c:dPt>
            <c:idx val="64"/>
            <c:invertIfNegative val="1"/>
            <c:bubble3D val="0"/>
            <c:spPr>
              <a:solidFill>
                <a:srgbClr val="E6E5E5"/>
              </a:solidFill>
            </c:spPr>
            <c:extLst>
              <c:ext xmlns:c16="http://schemas.microsoft.com/office/drawing/2014/chart" uri="{C3380CC4-5D6E-409C-BE32-E72D297353CC}">
                <c16:uniqueId val="{00000081-B572-4DF2-A18B-EB5D630E70B4}"/>
              </c:ext>
            </c:extLst>
          </c:dPt>
          <c:dPt>
            <c:idx val="65"/>
            <c:invertIfNegative val="1"/>
            <c:bubble3D val="0"/>
            <c:spPr>
              <a:solidFill>
                <a:srgbClr val="E6E5E5"/>
              </a:solidFill>
            </c:spPr>
            <c:extLst>
              <c:ext xmlns:c16="http://schemas.microsoft.com/office/drawing/2014/chart" uri="{C3380CC4-5D6E-409C-BE32-E72D297353CC}">
                <c16:uniqueId val="{00000083-B572-4DF2-A18B-EB5D630E70B4}"/>
              </c:ext>
            </c:extLst>
          </c:dPt>
          <c:dPt>
            <c:idx val="66"/>
            <c:invertIfNegative val="1"/>
            <c:bubble3D val="0"/>
            <c:spPr>
              <a:solidFill>
                <a:srgbClr val="E6E5E5"/>
              </a:solidFill>
            </c:spPr>
            <c:extLst>
              <c:ext xmlns:c16="http://schemas.microsoft.com/office/drawing/2014/chart" uri="{C3380CC4-5D6E-409C-BE32-E72D297353CC}">
                <c16:uniqueId val="{00000085-B572-4DF2-A18B-EB5D630E70B4}"/>
              </c:ext>
            </c:extLst>
          </c:dPt>
          <c:dPt>
            <c:idx val="67"/>
            <c:invertIfNegative val="1"/>
            <c:bubble3D val="0"/>
            <c:spPr>
              <a:solidFill>
                <a:srgbClr val="E6E5E5"/>
              </a:solidFill>
            </c:spPr>
            <c:extLst>
              <c:ext xmlns:c16="http://schemas.microsoft.com/office/drawing/2014/chart" uri="{C3380CC4-5D6E-409C-BE32-E72D297353CC}">
                <c16:uniqueId val="{00000087-B572-4DF2-A18B-EB5D630E70B4}"/>
              </c:ext>
            </c:extLst>
          </c:dPt>
          <c:dPt>
            <c:idx val="68"/>
            <c:invertIfNegative val="1"/>
            <c:bubble3D val="0"/>
            <c:spPr>
              <a:solidFill>
                <a:srgbClr val="E6E5E5"/>
              </a:solidFill>
            </c:spPr>
            <c:extLst>
              <c:ext xmlns:c16="http://schemas.microsoft.com/office/drawing/2014/chart" uri="{C3380CC4-5D6E-409C-BE32-E72D297353CC}">
                <c16:uniqueId val="{00000089-B572-4DF2-A18B-EB5D630E70B4}"/>
              </c:ext>
            </c:extLst>
          </c:dPt>
          <c:dPt>
            <c:idx val="69"/>
            <c:invertIfNegative val="1"/>
            <c:bubble3D val="0"/>
            <c:spPr>
              <a:solidFill>
                <a:srgbClr val="E6E5E5"/>
              </a:solidFill>
            </c:spPr>
            <c:extLst>
              <c:ext xmlns:c16="http://schemas.microsoft.com/office/drawing/2014/chart" uri="{C3380CC4-5D6E-409C-BE32-E72D297353CC}">
                <c16:uniqueId val="{0000008B-B572-4DF2-A18B-EB5D630E70B4}"/>
              </c:ext>
            </c:extLst>
          </c:dPt>
          <c:dPt>
            <c:idx val="70"/>
            <c:invertIfNegative val="1"/>
            <c:bubble3D val="0"/>
            <c:spPr>
              <a:solidFill>
                <a:srgbClr val="E6E5E5"/>
              </a:solidFill>
            </c:spPr>
            <c:extLst>
              <c:ext xmlns:c16="http://schemas.microsoft.com/office/drawing/2014/chart" uri="{C3380CC4-5D6E-409C-BE32-E72D297353CC}">
                <c16:uniqueId val="{0000008D-B572-4DF2-A18B-EB5D630E70B4}"/>
              </c:ext>
            </c:extLst>
          </c:dPt>
          <c:dPt>
            <c:idx val="71"/>
            <c:invertIfNegative val="1"/>
            <c:bubble3D val="0"/>
            <c:spPr>
              <a:solidFill>
                <a:srgbClr val="E6E5E5"/>
              </a:solidFill>
            </c:spPr>
            <c:extLst>
              <c:ext xmlns:c16="http://schemas.microsoft.com/office/drawing/2014/chart" uri="{C3380CC4-5D6E-409C-BE32-E72D297353CC}">
                <c16:uniqueId val="{0000008F-B572-4DF2-A18B-EB5D630E70B4}"/>
              </c:ext>
            </c:extLst>
          </c:dPt>
          <c:dPt>
            <c:idx val="72"/>
            <c:invertIfNegative val="1"/>
            <c:bubble3D val="0"/>
            <c:spPr>
              <a:solidFill>
                <a:srgbClr val="E6E5E5"/>
              </a:solidFill>
            </c:spPr>
            <c:extLst>
              <c:ext xmlns:c16="http://schemas.microsoft.com/office/drawing/2014/chart" uri="{C3380CC4-5D6E-409C-BE32-E72D297353CC}">
                <c16:uniqueId val="{00000091-B572-4DF2-A18B-EB5D630E70B4}"/>
              </c:ext>
            </c:extLst>
          </c:dPt>
          <c:dPt>
            <c:idx val="73"/>
            <c:invertIfNegative val="1"/>
            <c:bubble3D val="0"/>
            <c:spPr>
              <a:solidFill>
                <a:srgbClr val="E6E5E5"/>
              </a:solidFill>
            </c:spPr>
            <c:extLst>
              <c:ext xmlns:c16="http://schemas.microsoft.com/office/drawing/2014/chart" uri="{C3380CC4-5D6E-409C-BE32-E72D297353CC}">
                <c16:uniqueId val="{00000093-B572-4DF2-A18B-EB5D630E70B4}"/>
              </c:ext>
            </c:extLst>
          </c:dPt>
          <c:dPt>
            <c:idx val="74"/>
            <c:invertIfNegative val="1"/>
            <c:bubble3D val="0"/>
            <c:spPr>
              <a:solidFill>
                <a:srgbClr val="E6E5E5"/>
              </a:solidFill>
            </c:spPr>
            <c:extLst>
              <c:ext xmlns:c16="http://schemas.microsoft.com/office/drawing/2014/chart" uri="{C3380CC4-5D6E-409C-BE32-E72D297353CC}">
                <c16:uniqueId val="{00000095-B572-4DF2-A18B-EB5D630E70B4}"/>
              </c:ext>
            </c:extLst>
          </c:dPt>
          <c:dPt>
            <c:idx val="75"/>
            <c:invertIfNegative val="1"/>
            <c:bubble3D val="0"/>
            <c:spPr>
              <a:solidFill>
                <a:srgbClr val="E6E5E5"/>
              </a:solidFill>
            </c:spPr>
            <c:extLst>
              <c:ext xmlns:c16="http://schemas.microsoft.com/office/drawing/2014/chart" uri="{C3380CC4-5D6E-409C-BE32-E72D297353CC}">
                <c16:uniqueId val="{00000097-B572-4DF2-A18B-EB5D630E70B4}"/>
              </c:ext>
            </c:extLst>
          </c:dPt>
          <c:dPt>
            <c:idx val="76"/>
            <c:invertIfNegative val="1"/>
            <c:bubble3D val="0"/>
            <c:spPr>
              <a:solidFill>
                <a:srgbClr val="E6E5E5"/>
              </a:solidFill>
            </c:spPr>
            <c:extLst>
              <c:ext xmlns:c16="http://schemas.microsoft.com/office/drawing/2014/chart" uri="{C3380CC4-5D6E-409C-BE32-E72D297353CC}">
                <c16:uniqueId val="{00000099-B572-4DF2-A18B-EB5D630E70B4}"/>
              </c:ext>
            </c:extLst>
          </c:dPt>
          <c:dPt>
            <c:idx val="77"/>
            <c:invertIfNegative val="1"/>
            <c:bubble3D val="0"/>
            <c:spPr>
              <a:solidFill>
                <a:srgbClr val="E6E5E5"/>
              </a:solidFill>
            </c:spPr>
            <c:extLst>
              <c:ext xmlns:c16="http://schemas.microsoft.com/office/drawing/2014/chart" uri="{C3380CC4-5D6E-409C-BE32-E72D297353CC}">
                <c16:uniqueId val="{0000009B-B572-4DF2-A18B-EB5D630E70B4}"/>
              </c:ext>
            </c:extLst>
          </c:dPt>
          <c:dPt>
            <c:idx val="78"/>
            <c:invertIfNegative val="1"/>
            <c:bubble3D val="0"/>
            <c:spPr>
              <a:solidFill>
                <a:srgbClr val="E6E5E5"/>
              </a:solidFill>
            </c:spPr>
            <c:extLst>
              <c:ext xmlns:c16="http://schemas.microsoft.com/office/drawing/2014/chart" uri="{C3380CC4-5D6E-409C-BE32-E72D297353CC}">
                <c16:uniqueId val="{0000009D-B572-4DF2-A18B-EB5D630E70B4}"/>
              </c:ext>
            </c:extLst>
          </c:dPt>
          <c:dPt>
            <c:idx val="79"/>
            <c:invertIfNegative val="1"/>
            <c:bubble3D val="0"/>
            <c:spPr>
              <a:solidFill>
                <a:srgbClr val="E6E5E5"/>
              </a:solidFill>
            </c:spPr>
            <c:extLst>
              <c:ext xmlns:c16="http://schemas.microsoft.com/office/drawing/2014/chart" uri="{C3380CC4-5D6E-409C-BE32-E72D297353CC}">
                <c16:uniqueId val="{0000009F-B572-4DF2-A18B-EB5D630E70B4}"/>
              </c:ext>
            </c:extLst>
          </c:dPt>
          <c:dPt>
            <c:idx val="80"/>
            <c:invertIfNegative val="1"/>
            <c:bubble3D val="0"/>
            <c:spPr>
              <a:solidFill>
                <a:srgbClr val="E6E5E5"/>
              </a:solidFill>
            </c:spPr>
            <c:extLst>
              <c:ext xmlns:c16="http://schemas.microsoft.com/office/drawing/2014/chart" uri="{C3380CC4-5D6E-409C-BE32-E72D297353CC}">
                <c16:uniqueId val="{000000A1-B572-4DF2-A18B-EB5D630E70B4}"/>
              </c:ext>
            </c:extLst>
          </c:dPt>
          <c:dPt>
            <c:idx val="81"/>
            <c:invertIfNegative val="1"/>
            <c:bubble3D val="0"/>
            <c:spPr>
              <a:solidFill>
                <a:srgbClr val="E6E5E5"/>
              </a:solidFill>
            </c:spPr>
            <c:extLst>
              <c:ext xmlns:c16="http://schemas.microsoft.com/office/drawing/2014/chart" uri="{C3380CC4-5D6E-409C-BE32-E72D297353CC}">
                <c16:uniqueId val="{000000A3-B572-4DF2-A18B-EB5D630E70B4}"/>
              </c:ext>
            </c:extLst>
          </c:dPt>
          <c:dPt>
            <c:idx val="82"/>
            <c:invertIfNegative val="1"/>
            <c:bubble3D val="0"/>
            <c:spPr>
              <a:solidFill>
                <a:srgbClr val="E6E5E5"/>
              </a:solidFill>
            </c:spPr>
            <c:extLst>
              <c:ext xmlns:c16="http://schemas.microsoft.com/office/drawing/2014/chart" uri="{C3380CC4-5D6E-409C-BE32-E72D297353CC}">
                <c16:uniqueId val="{000000A5-B572-4DF2-A18B-EB5D630E70B4}"/>
              </c:ext>
            </c:extLst>
          </c:dPt>
          <c:dPt>
            <c:idx val="83"/>
            <c:invertIfNegative val="1"/>
            <c:bubble3D val="0"/>
            <c:spPr>
              <a:solidFill>
                <a:srgbClr val="E6E5E5"/>
              </a:solidFill>
            </c:spPr>
            <c:extLst>
              <c:ext xmlns:c16="http://schemas.microsoft.com/office/drawing/2014/chart" uri="{C3380CC4-5D6E-409C-BE32-E72D297353CC}">
                <c16:uniqueId val="{000000A7-B572-4DF2-A18B-EB5D630E70B4}"/>
              </c:ext>
            </c:extLst>
          </c:dPt>
          <c:dPt>
            <c:idx val="84"/>
            <c:invertIfNegative val="1"/>
            <c:bubble3D val="0"/>
            <c:spPr>
              <a:solidFill>
                <a:srgbClr val="E6E5E5"/>
              </a:solidFill>
            </c:spPr>
            <c:extLst>
              <c:ext xmlns:c16="http://schemas.microsoft.com/office/drawing/2014/chart" uri="{C3380CC4-5D6E-409C-BE32-E72D297353CC}">
                <c16:uniqueId val="{000000A9-B572-4DF2-A18B-EB5D630E70B4}"/>
              </c:ext>
            </c:extLst>
          </c:dPt>
          <c:dPt>
            <c:idx val="85"/>
            <c:invertIfNegative val="1"/>
            <c:bubble3D val="0"/>
            <c:spPr>
              <a:solidFill>
                <a:srgbClr val="E6E5E5"/>
              </a:solidFill>
            </c:spPr>
            <c:extLst>
              <c:ext xmlns:c16="http://schemas.microsoft.com/office/drawing/2014/chart" uri="{C3380CC4-5D6E-409C-BE32-E72D297353CC}">
                <c16:uniqueId val="{000000AB-B572-4DF2-A18B-EB5D630E70B4}"/>
              </c:ext>
            </c:extLst>
          </c:dPt>
          <c:dPt>
            <c:idx val="86"/>
            <c:invertIfNegative val="1"/>
            <c:bubble3D val="0"/>
            <c:spPr>
              <a:solidFill>
                <a:srgbClr val="E6E5E5"/>
              </a:solidFill>
            </c:spPr>
            <c:extLst>
              <c:ext xmlns:c16="http://schemas.microsoft.com/office/drawing/2014/chart" uri="{C3380CC4-5D6E-409C-BE32-E72D297353CC}">
                <c16:uniqueId val="{000000AD-B572-4DF2-A18B-EB5D630E70B4}"/>
              </c:ext>
            </c:extLst>
          </c:dPt>
          <c:dPt>
            <c:idx val="87"/>
            <c:invertIfNegative val="1"/>
            <c:bubble3D val="0"/>
            <c:spPr>
              <a:solidFill>
                <a:srgbClr val="E6E5E5"/>
              </a:solidFill>
            </c:spPr>
            <c:extLst>
              <c:ext xmlns:c16="http://schemas.microsoft.com/office/drawing/2014/chart" uri="{C3380CC4-5D6E-409C-BE32-E72D297353CC}">
                <c16:uniqueId val="{000000AF-B572-4DF2-A18B-EB5D630E70B4}"/>
              </c:ext>
            </c:extLst>
          </c:dPt>
          <c:dPt>
            <c:idx val="88"/>
            <c:invertIfNegative val="1"/>
            <c:bubble3D val="0"/>
            <c:spPr>
              <a:solidFill>
                <a:srgbClr val="E6E5E5"/>
              </a:solidFill>
            </c:spPr>
            <c:extLst>
              <c:ext xmlns:c16="http://schemas.microsoft.com/office/drawing/2014/chart" uri="{C3380CC4-5D6E-409C-BE32-E72D297353CC}">
                <c16:uniqueId val="{000000B1-B572-4DF2-A18B-EB5D630E70B4}"/>
              </c:ext>
            </c:extLst>
          </c:dPt>
          <c:dPt>
            <c:idx val="89"/>
            <c:invertIfNegative val="1"/>
            <c:bubble3D val="0"/>
            <c:spPr>
              <a:solidFill>
                <a:srgbClr val="E6E5E5"/>
              </a:solidFill>
            </c:spPr>
            <c:extLst>
              <c:ext xmlns:c16="http://schemas.microsoft.com/office/drawing/2014/chart" uri="{C3380CC4-5D6E-409C-BE32-E72D297353CC}">
                <c16:uniqueId val="{000000B3-B572-4DF2-A18B-EB5D630E70B4}"/>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A0D8-4FF8-BF2D-A6DC7B178F5A}"/>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A0D8-4FF8-BF2D-A6DC7B178F5A}"/>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A0D8-4FF8-BF2D-A6DC7B178F5A}"/>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A0D8-4FF8-BF2D-A6DC7B178F5A}"/>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A0D8-4FF8-BF2D-A6DC7B178F5A}"/>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A0D8-4FF8-BF2D-A6DC7B178F5A}"/>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A0D8-4FF8-BF2D-A6DC7B178F5A}"/>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A0D8-4FF8-BF2D-A6DC7B178F5A}"/>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A0D8-4FF8-BF2D-A6DC7B178F5A}"/>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A0D8-4FF8-BF2D-A6DC7B178F5A}"/>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A0D8-4FF8-BF2D-A6DC7B178F5A}"/>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A0D8-4FF8-BF2D-A6DC7B178F5A}"/>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A0D8-4FF8-BF2D-A6DC7B178F5A}"/>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A0D8-4FF8-BF2D-A6DC7B178F5A}"/>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A0D8-4FF8-BF2D-A6DC7B178F5A}"/>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A0D8-4FF8-BF2D-A6DC7B178F5A}"/>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A0D8-4FF8-BF2D-A6DC7B178F5A}"/>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A0D8-4FF8-BF2D-A6DC7B178F5A}"/>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A0D8-4FF8-BF2D-A6DC7B178F5A}"/>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A0D8-4FF8-BF2D-A6DC7B178F5A}"/>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A0D8-4FF8-BF2D-A6DC7B178F5A}"/>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A0D8-4FF8-BF2D-A6DC7B178F5A}"/>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A0D8-4FF8-BF2D-A6DC7B178F5A}"/>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A0D8-4FF8-BF2D-A6DC7B178F5A}"/>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A0D8-4FF8-BF2D-A6DC7B178F5A}"/>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A0D8-4FF8-BF2D-A6DC7B178F5A}"/>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A0D8-4FF8-BF2D-A6DC7B178F5A}"/>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A0D8-4FF8-BF2D-A6DC7B178F5A}"/>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A0D8-4FF8-BF2D-A6DC7B178F5A}"/>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A0D8-4FF8-BF2D-A6DC7B178F5A}"/>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A0D8-4FF8-BF2D-A6DC7B178F5A}"/>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A0D8-4FF8-BF2D-A6DC7B178F5A}"/>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A0D8-4FF8-BF2D-A6DC7B178F5A}"/>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A0D8-4FF8-BF2D-A6DC7B178F5A}"/>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A0D8-4FF8-BF2D-A6DC7B178F5A}"/>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A0D8-4FF8-BF2D-A6DC7B178F5A}"/>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A0D8-4FF8-BF2D-A6DC7B178F5A}"/>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A0D8-4FF8-BF2D-A6DC7B178F5A}"/>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A0D8-4FF8-BF2D-A6DC7B178F5A}"/>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A0D8-4FF8-BF2D-A6DC7B178F5A}"/>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A0D8-4FF8-BF2D-A6DC7B178F5A}"/>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A0D8-4FF8-BF2D-A6DC7B178F5A}"/>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A0D8-4FF8-BF2D-A6DC7B178F5A}"/>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A0D8-4FF8-BF2D-A6DC7B178F5A}"/>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A0D8-4FF8-BF2D-A6DC7B178F5A}"/>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A0D8-4FF8-BF2D-A6DC7B178F5A}"/>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A0D8-4FF8-BF2D-A6DC7B178F5A}"/>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A0D8-4FF8-BF2D-A6DC7B178F5A}"/>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A0D8-4FF8-BF2D-A6DC7B178F5A}"/>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A0D8-4FF8-BF2D-A6DC7B178F5A}"/>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A0D8-4FF8-BF2D-A6DC7B178F5A}"/>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A0D8-4FF8-BF2D-A6DC7B178F5A}"/>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A0D8-4FF8-BF2D-A6DC7B178F5A}"/>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B572-4DF2-A18B-EB5D630E70B4}"/>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B572-4DF2-A18B-EB5D630E70B4}"/>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B572-4DF2-A18B-EB5D630E70B4}"/>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B572-4DF2-A18B-EB5D630E70B4}"/>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B572-4DF2-A18B-EB5D630E70B4}"/>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B572-4DF2-A18B-EB5D630E70B4}"/>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B572-4DF2-A18B-EB5D630E70B4}"/>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B572-4DF2-A18B-EB5D630E70B4}"/>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B572-4DF2-A18B-EB5D630E70B4}"/>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B572-4DF2-A18B-EB5D630E70B4}"/>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B572-4DF2-A18B-EB5D630E70B4}"/>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B572-4DF2-A18B-EB5D630E70B4}"/>
                </c:ext>
              </c:extLst>
            </c:dLbl>
            <c:dLbl>
              <c:idx val="6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B572-4DF2-A18B-EB5D630E70B4}"/>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B572-4DF2-A18B-EB5D630E70B4}"/>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B572-4DF2-A18B-EB5D630E70B4}"/>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B572-4DF2-A18B-EB5D630E70B4}"/>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B572-4DF2-A18B-EB5D630E70B4}"/>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B572-4DF2-A18B-EB5D630E70B4}"/>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B572-4DF2-A18B-EB5D630E70B4}"/>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B572-4DF2-A18B-EB5D630E70B4}"/>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B572-4DF2-A18B-EB5D630E70B4}"/>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B572-4DF2-A18B-EB5D630E70B4}"/>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B572-4DF2-A18B-EB5D630E70B4}"/>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B572-4DF2-A18B-EB5D630E70B4}"/>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B572-4DF2-A18B-EB5D630E70B4}"/>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B572-4DF2-A18B-EB5D630E70B4}"/>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B572-4DF2-A18B-EB5D630E70B4}"/>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B572-4DF2-A18B-EB5D630E70B4}"/>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B572-4DF2-A18B-EB5D630E70B4}"/>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B572-4DF2-A18B-EB5D630E70B4}"/>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B572-4DF2-A18B-EB5D630E70B4}"/>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B572-4DF2-A18B-EB5D630E70B4}"/>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B572-4DF2-A18B-EB5D630E70B4}"/>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B572-4DF2-A18B-EB5D630E70B4}"/>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B572-4DF2-A18B-EB5D630E70B4}"/>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B572-4DF2-A18B-EB5D630E70B4}"/>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9</c:f>
              <c:strCache>
                <c:ptCount val="78"/>
                <c:pt idx="0">
                  <c:v>Galaxy Jewels 1.4kg</c:v>
                </c:pt>
                <c:pt idx="1">
                  <c:v>Ferrero Rocher 300g</c:v>
                </c:pt>
                <c:pt idx="2">
                  <c:v>Galaxy Smooth Milk Chocolate 36g x 24</c:v>
                </c:pt>
                <c:pt idx="3">
                  <c:v>Galaxy Jewels 900g</c:v>
                </c:pt>
                <c:pt idx="4">
                  <c:v>Galaxy Jewels 650g</c:v>
                </c:pt>
                <c:pt idx="5">
                  <c:v>Cadbury Dairy Milk Minis Selection 500g</c:v>
                </c:pt>
                <c:pt idx="6">
                  <c:v>Kit Kat 17.7g x 18</c:v>
                </c:pt>
                <c:pt idx="7">
                  <c:v>Kinder Bueno Milk&amp;Hazelnut 43g</c:v>
                </c:pt>
                <c:pt idx="8">
                  <c:v>Tiffany Break Supa 38gx12</c:v>
                </c:pt>
                <c:pt idx="9">
                  <c:v>Snickers 50gx6</c:v>
                </c:pt>
                <c:pt idx="10">
                  <c:v>Tiffany Break 24x15.5g</c:v>
                </c:pt>
                <c:pt idx="11">
                  <c:v>Tiffany Break Mini Fun 384g</c:v>
                </c:pt>
                <c:pt idx="12">
                  <c:v>Kinder Bueno Milk&amp;Hazelnut 43gx10</c:v>
                </c:pt>
                <c:pt idx="13">
                  <c:v>Mackintosh Quality Street Chocolate 600g</c:v>
                </c:pt>
                <c:pt idx="14">
                  <c:v>Snickers Bar 50g</c:v>
                </c:pt>
                <c:pt idx="15">
                  <c:v>Maltesers Chocolate 175g</c:v>
                </c:pt>
                <c:pt idx="16">
                  <c:v>Tiffany Break 31gx12</c:v>
                </c:pt>
                <c:pt idx="17">
                  <c:v>Tiffany Break Delight 25gx12</c:v>
                </c:pt>
                <c:pt idx="18">
                  <c:v>Snickers Minis Bag 252g</c:v>
                </c:pt>
                <c:pt idx="19">
                  <c:v>Cadbury Miniatures Box 400g</c:v>
                </c:pt>
                <c:pt idx="20">
                  <c:v>Bounty Bar 57g</c:v>
                </c:pt>
                <c:pt idx="21">
                  <c:v>Galaxy Smooth Milk Minis 237.5g</c:v>
                </c:pt>
                <c:pt idx="22">
                  <c:v>Bounty Bar 57g x 5</c:v>
                </c:pt>
                <c:pt idx="23">
                  <c:v>Ferrero Rocher 200g</c:v>
                </c:pt>
                <c:pt idx="24">
                  <c:v>Kinder Maxi Chocolate 21gx11 (10+1)</c:v>
                </c:pt>
                <c:pt idx="25">
                  <c:v>Ferrero Raffaello 150g box </c:v>
                </c:pt>
                <c:pt idx="26">
                  <c:v>Galaxy Hazelnut Minis 237.5g</c:v>
                </c:pt>
                <c:pt idx="27">
                  <c:v>Twix 50gx5</c:v>
                </c:pt>
                <c:pt idx="28">
                  <c:v>Twix Bar 50g</c:v>
                </c:pt>
                <c:pt idx="29">
                  <c:v>Maltesers Chocolate 37g</c:v>
                </c:pt>
                <c:pt idx="30">
                  <c:v>Snickers Miniatures 150g</c:v>
                </c:pt>
                <c:pt idx="31">
                  <c:v>Cadbury Flake Minis Bag 159.5g</c:v>
                </c:pt>
                <c:pt idx="32">
                  <c:v>M&amp;M's Peanut 165g</c:v>
                </c:pt>
                <c:pt idx="33">
                  <c:v>Twix Miniatures 150g</c:v>
                </c:pt>
                <c:pt idx="34">
                  <c:v>Cadbury Timeout Minis Wafer 247.2g</c:v>
                </c:pt>
                <c:pt idx="35">
                  <c:v>Toblerone Milk Chocolate 200g</c:v>
                </c:pt>
                <c:pt idx="36">
                  <c:v>Galaxy Smooth Milk Minis 162.5g</c:v>
                </c:pt>
                <c:pt idx="37">
                  <c:v>Mars 45g x 6</c:v>
                </c:pt>
                <c:pt idx="38">
                  <c:v>Bounty Miniatures 150g</c:v>
                </c:pt>
                <c:pt idx="39">
                  <c:v>Kinder Chocolate Bar 8x12.5g</c:v>
                </c:pt>
                <c:pt idx="40">
                  <c:v>Galaxy Smooth Dark Chocolate 40g</c:v>
                </c:pt>
                <c:pt idx="41">
                  <c:v>Mars Bar 51g </c:v>
                </c:pt>
                <c:pt idx="42">
                  <c:v>Hershey's Kisses Special Selection Assorted 325g</c:v>
                </c:pt>
                <c:pt idx="43">
                  <c:v>Galaxy Hazelnut Chocolate 36g</c:v>
                </c:pt>
                <c:pt idx="44">
                  <c:v>Galaxy Smooth Milk Chocolate 36g</c:v>
                </c:pt>
                <c:pt idx="45">
                  <c:v>Galaxy Caramel Bar 40g</c:v>
                </c:pt>
                <c:pt idx="46">
                  <c:v>Kinder Chocolate Bar 50g</c:v>
                </c:pt>
                <c:pt idx="47">
                  <c:v>Kinder Bueno White 39g</c:v>
                </c:pt>
                <c:pt idx="48">
                  <c:v>Hershey's Kisses Classic Selection Assorted 325g</c:v>
                </c:pt>
                <c:pt idx="49">
                  <c:v>Galaxy Crispy Milk Chocolate 36g</c:v>
                </c:pt>
                <c:pt idx="50">
                  <c:v> Reeses Peanut Butter Cup Mini 340g </c:v>
                </c:pt>
                <c:pt idx="51">
                  <c:v>Kit Kat 17.7g</c:v>
                </c:pt>
                <c:pt idx="52">
                  <c:v> Reeses Peanut Butter Cup 42g x 6</c:v>
                </c:pt>
                <c:pt idx="53">
                  <c:v>Reeses Peanut Butter Cups 46g</c:v>
                </c:pt>
                <c:pt idx="54">
                  <c:v>Reeses Peanut Butter Cup Mini 215g</c:v>
                </c:pt>
                <c:pt idx="55">
                  <c:v>M&amp;M's Milk Chocolate 30.6g</c:v>
                </c:pt>
                <c:pt idx="56">
                  <c:v>Godiva Double Chocolate Bar 35g</c:v>
                </c:pt>
                <c:pt idx="57">
                  <c:v>Hershey's Cookies 'n Creme 40Gx 4</c:v>
                </c:pt>
                <c:pt idx="58">
                  <c:v>Galaxy Smooth Milk Chocolate 80g</c:v>
                </c:pt>
                <c:pt idx="59">
                  <c:v>Galaxy Ripple Bar 33g</c:v>
                </c:pt>
                <c:pt idx="60">
                  <c:v>Hershey's Chocobites Cookies 'n Creme 90g</c:v>
                </c:pt>
                <c:pt idx="61">
                  <c:v>Hershey's Kisses Special Selection Assorted 100g</c:v>
                </c:pt>
                <c:pt idx="62">
                  <c:v>Hershey's Chocobites Salted Caramel 81g</c:v>
                </c:pt>
                <c:pt idx="63">
                  <c:v>Hershey's Cookies N' Chocolate 40g</c:v>
                </c:pt>
                <c:pt idx="64">
                  <c:v>Reeses Block 90g</c:v>
                </c:pt>
                <c:pt idx="65">
                  <c:v>Reeses Nut Bar 47g</c:v>
                </c:pt>
                <c:pt idx="66">
                  <c:v>Hershey's Kisses Classic Selection Assorted 100g</c:v>
                </c:pt>
                <c:pt idx="67">
                  <c:v>Hershey's Cookies N' Crème 12.76g</c:v>
                </c:pt>
                <c:pt idx="68">
                  <c:v> Reeses Wafer Sticks 42g</c:v>
                </c:pt>
                <c:pt idx="69">
                  <c:v>Hershey's Choco Tubes Cookies N' Creme 18g</c:v>
                </c:pt>
                <c:pt idx="70">
                  <c:v>Reeses Pieces 180g</c:v>
                </c:pt>
                <c:pt idx="71">
                  <c:v>Reeses Mini King Size 71g</c:v>
                </c:pt>
                <c:pt idx="72">
                  <c:v>Hershey's Cookies 'n Creme Creations Salted Caramel 38g</c:v>
                </c:pt>
                <c:pt idx="73">
                  <c:v>Hershey's Cookies 'n Creme Block 90g</c:v>
                </c:pt>
                <c:pt idx="74">
                  <c:v> Reeses Peanut Butter Cup Mini 500G</c:v>
                </c:pt>
                <c:pt idx="75">
                  <c:v>Hersheys Kisses Classic Selection Assorted 600G</c:v>
                </c:pt>
                <c:pt idx="76">
                  <c:v>Hershey's Variety Pack 40Gx3</c:v>
                </c:pt>
                <c:pt idx="77">
                  <c:v>Reeses Fast break 51g</c:v>
                </c:pt>
              </c:strCache>
            </c:strRef>
          </c:cat>
          <c:val>
            <c:numRef>
              <c:f>Sheet1!$B$2:$B$79</c:f>
              <c:numCache>
                <c:formatCode>General</c:formatCode>
                <c:ptCount val="78"/>
                <c:pt idx="0">
                  <c:v>8.7043629382212662E-2</c:v>
                </c:pt>
                <c:pt idx="1">
                  <c:v>5.7448254219214227E-2</c:v>
                </c:pt>
                <c:pt idx="2">
                  <c:v>5.2318988778503661E-2</c:v>
                </c:pt>
                <c:pt idx="3">
                  <c:v>5.2256472326913307E-2</c:v>
                </c:pt>
                <c:pt idx="4">
                  <c:v>4.8584225656166963E-2</c:v>
                </c:pt>
                <c:pt idx="5">
                  <c:v>3.9680743757639463E-2</c:v>
                </c:pt>
                <c:pt idx="6">
                  <c:v>2.9190658329038801E-2</c:v>
                </c:pt>
                <c:pt idx="7">
                  <c:v>2.7681917689682881E-2</c:v>
                </c:pt>
                <c:pt idx="8">
                  <c:v>2.513899586928656E-2</c:v>
                </c:pt>
                <c:pt idx="9">
                  <c:v>2.4890536077445059E-2</c:v>
                </c:pt>
                <c:pt idx="10">
                  <c:v>2.4344382000445201E-2</c:v>
                </c:pt>
                <c:pt idx="11">
                  <c:v>2.4239521796033451E-2</c:v>
                </c:pt>
                <c:pt idx="12">
                  <c:v>2.25895581009995E-2</c:v>
                </c:pt>
                <c:pt idx="13">
                  <c:v>2.2261008252674359E-2</c:v>
                </c:pt>
                <c:pt idx="14">
                  <c:v>2.1303629133662901E-2</c:v>
                </c:pt>
                <c:pt idx="15">
                  <c:v>2.0930028427272349E-2</c:v>
                </c:pt>
                <c:pt idx="16">
                  <c:v>2.0722378953069099E-2</c:v>
                </c:pt>
                <c:pt idx="17">
                  <c:v>1.79402528779639E-2</c:v>
                </c:pt>
                <c:pt idx="18">
                  <c:v>1.6768501477137959E-2</c:v>
                </c:pt>
                <c:pt idx="19">
                  <c:v>1.5907968576700571E-2</c:v>
                </c:pt>
                <c:pt idx="20">
                  <c:v>1.5132426772325959E-2</c:v>
                </c:pt>
                <c:pt idx="21">
                  <c:v>1.457716780008899E-2</c:v>
                </c:pt>
                <c:pt idx="22">
                  <c:v>1.428979902205051E-2</c:v>
                </c:pt>
                <c:pt idx="23">
                  <c:v>1.4260023753352421E-2</c:v>
                </c:pt>
                <c:pt idx="24">
                  <c:v>1.4242653495047679E-2</c:v>
                </c:pt>
                <c:pt idx="25">
                  <c:v>1.4009948484647721E-2</c:v>
                </c:pt>
                <c:pt idx="26">
                  <c:v>1.327189776630075E-2</c:v>
                </c:pt>
                <c:pt idx="27">
                  <c:v>1.277080676064834E-2</c:v>
                </c:pt>
                <c:pt idx="28">
                  <c:v>1.154686376230785E-2</c:v>
                </c:pt>
                <c:pt idx="29">
                  <c:v>1.1356802272850099E-2</c:v>
                </c:pt>
                <c:pt idx="30">
                  <c:v>1.083713462610989E-2</c:v>
                </c:pt>
                <c:pt idx="31">
                  <c:v>1.0457247446923411E-2</c:v>
                </c:pt>
                <c:pt idx="32">
                  <c:v>1.0406169475892761E-2</c:v>
                </c:pt>
                <c:pt idx="33">
                  <c:v>1.019402791157778E-2</c:v>
                </c:pt>
                <c:pt idx="34">
                  <c:v>9.9678416198208646E-3</c:v>
                </c:pt>
                <c:pt idx="35">
                  <c:v>9.6601873747323187E-3</c:v>
                </c:pt>
                <c:pt idx="36">
                  <c:v>9.3903672027461412E-3</c:v>
                </c:pt>
                <c:pt idx="37">
                  <c:v>8.0659148911814693E-3</c:v>
                </c:pt>
                <c:pt idx="38">
                  <c:v>7.5338492821987197E-3</c:v>
                </c:pt>
                <c:pt idx="39">
                  <c:v>7.4340972771401804E-3</c:v>
                </c:pt>
                <c:pt idx="40">
                  <c:v>7.2228964784393666E-3</c:v>
                </c:pt>
                <c:pt idx="41">
                  <c:v>7.1647097013926584E-3</c:v>
                </c:pt>
                <c:pt idx="42">
                  <c:v>6.7417978009267987E-3</c:v>
                </c:pt>
                <c:pt idx="43">
                  <c:v>6.6461212904450192E-3</c:v>
                </c:pt>
                <c:pt idx="44">
                  <c:v>6.5873687630741886E-3</c:v>
                </c:pt>
                <c:pt idx="45">
                  <c:v>6.1105982334485687E-3</c:v>
                </c:pt>
                <c:pt idx="46">
                  <c:v>5.442700859727416E-3</c:v>
                </c:pt>
                <c:pt idx="47">
                  <c:v>5.4377176631436683E-3</c:v>
                </c:pt>
                <c:pt idx="48">
                  <c:v>5.0533333079540556E-3</c:v>
                </c:pt>
                <c:pt idx="49">
                  <c:v>4.8781338061636894E-3</c:v>
                </c:pt>
                <c:pt idx="50">
                  <c:v>4.8118320644420761E-3</c:v>
                </c:pt>
                <c:pt idx="51">
                  <c:v>4.754758877646573E-3</c:v>
                </c:pt>
                <c:pt idx="52">
                  <c:v>4.6018435860742616E-3</c:v>
                </c:pt>
                <c:pt idx="53">
                  <c:v>4.5036988919860462E-3</c:v>
                </c:pt>
                <c:pt idx="54">
                  <c:v>4.3867982266635082E-3</c:v>
                </c:pt>
                <c:pt idx="55">
                  <c:v>4.0218340674676974E-3</c:v>
                </c:pt>
                <c:pt idx="56">
                  <c:v>3.9201710183767091E-3</c:v>
                </c:pt>
                <c:pt idx="57">
                  <c:v>3.7061900184166409E-3</c:v>
                </c:pt>
                <c:pt idx="58">
                  <c:v>3.4958916104209938E-3</c:v>
                </c:pt>
                <c:pt idx="59">
                  <c:v>3.3190896613840659E-3</c:v>
                </c:pt>
                <c:pt idx="60">
                  <c:v>2.6956154020616259E-3</c:v>
                </c:pt>
                <c:pt idx="61">
                  <c:v>2.53527750664386E-3</c:v>
                </c:pt>
                <c:pt idx="62">
                  <c:v>2.4278900283566068E-3</c:v>
                </c:pt>
                <c:pt idx="63">
                  <c:v>2.425599799364974E-3</c:v>
                </c:pt>
                <c:pt idx="64">
                  <c:v>2.1535528869782322E-3</c:v>
                </c:pt>
                <c:pt idx="65">
                  <c:v>1.655361952609545E-3</c:v>
                </c:pt>
                <c:pt idx="66">
                  <c:v>1.5256000407128469E-3</c:v>
                </c:pt>
                <c:pt idx="67">
                  <c:v>7.824108492337985E-4</c:v>
                </c:pt>
                <c:pt idx="68">
                  <c:v>2.7146164527440977E-4</c:v>
                </c:pt>
                <c:pt idx="69">
                  <c:v>7.2865281163403636E-5</c:v>
                </c:pt>
                <c:pt idx="70">
                  <c:v>0</c:v>
                </c:pt>
                <c:pt idx="71">
                  <c:v>0</c:v>
                </c:pt>
                <c:pt idx="72">
                  <c:v>0</c:v>
                </c:pt>
                <c:pt idx="73">
                  <c:v>0</c:v>
                </c:pt>
                <c:pt idx="74">
                  <c:v>0</c:v>
                </c:pt>
                <c:pt idx="75">
                  <c:v>0</c:v>
                </c:pt>
                <c:pt idx="76">
                  <c:v>0</c:v>
                </c:pt>
                <c:pt idx="77">
                  <c:v>0</c:v>
                </c:pt>
              </c:numCache>
            </c:numRef>
          </c:val>
          <c:extLst>
            <c:ext xmlns:c16="http://schemas.microsoft.com/office/drawing/2014/chart" uri="{C3380CC4-5D6E-409C-BE32-E72D297353CC}">
              <c16:uniqueId val="{0000003F-A0D8-4FF8-BF2D-A6DC7B178F5A}"/>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ershey's Cookies 'n Creme Creations Salted Caramel 38g</c:v>
                </c:pt>
              </c:strCache>
            </c:strRef>
          </c:tx>
          <c:spPr>
            <a:solidFill>
              <a:schemeClr val="bg2"/>
            </a:solidFill>
            <a:ln>
              <a:noFill/>
            </a:ln>
            <a:effectLst/>
          </c:spPr>
          <c:invertIfNegative val="0"/>
          <c:dPt>
            <c:idx val="0"/>
            <c:invertIfNegative val="0"/>
            <c:bubble3D val="0"/>
            <c:spPr>
              <a:solidFill>
                <a:srgbClr val="E6E5E5"/>
              </a:solidFill>
              <a:ln>
                <a:noFill/>
              </a:ln>
              <a:effectLst/>
            </c:spPr>
            <c:extLst>
              <c:ext xmlns:c16="http://schemas.microsoft.com/office/drawing/2014/chart" uri="{C3380CC4-5D6E-409C-BE32-E72D297353CC}">
                <c16:uniqueId val="{00000001-902D-4251-AC41-C6D4CBCA5CD6}"/>
              </c:ext>
            </c:extLst>
          </c:dPt>
          <c:dPt>
            <c:idx val="1"/>
            <c:invertIfNegative val="1"/>
            <c:bubble3D val="0"/>
            <c:spPr>
              <a:solidFill>
                <a:srgbClr val="E6E5E5"/>
              </a:solidFill>
            </c:spPr>
            <c:extLst>
              <c:ext xmlns:c16="http://schemas.microsoft.com/office/drawing/2014/chart" uri="{C3380CC4-5D6E-409C-BE32-E72D297353CC}">
                <c16:uniqueId val="{00000003-902D-4251-AC41-C6D4CBCA5CD6}"/>
              </c:ext>
            </c:extLst>
          </c:dPt>
          <c:dPt>
            <c:idx val="2"/>
            <c:invertIfNegative val="1"/>
            <c:bubble3D val="0"/>
            <c:spPr>
              <a:solidFill>
                <a:srgbClr val="E6E5E5"/>
              </a:solidFill>
            </c:spPr>
            <c:extLst>
              <c:ext xmlns:c16="http://schemas.microsoft.com/office/drawing/2014/chart" uri="{C3380CC4-5D6E-409C-BE32-E72D297353CC}">
                <c16:uniqueId val="{00000005-902D-4251-AC41-C6D4CBCA5CD6}"/>
              </c:ext>
            </c:extLst>
          </c:dPt>
          <c:dPt>
            <c:idx val="3"/>
            <c:invertIfNegative val="0"/>
            <c:bubble3D val="0"/>
            <c:spPr>
              <a:solidFill>
                <a:srgbClr val="E6E5E5"/>
              </a:solidFill>
              <a:ln>
                <a:noFill/>
              </a:ln>
              <a:effectLst/>
            </c:spPr>
            <c:extLst>
              <c:ext xmlns:c16="http://schemas.microsoft.com/office/drawing/2014/chart" uri="{C3380CC4-5D6E-409C-BE32-E72D297353CC}">
                <c16:uniqueId val="{00000007-902D-4251-AC41-C6D4CBCA5CD6}"/>
              </c:ext>
            </c:extLst>
          </c:dPt>
          <c:dPt>
            <c:idx val="4"/>
            <c:invertIfNegative val="1"/>
            <c:bubble3D val="0"/>
            <c:spPr>
              <a:solidFill>
                <a:srgbClr val="E6E5E5"/>
              </a:solidFill>
            </c:spPr>
            <c:extLst>
              <c:ext xmlns:c16="http://schemas.microsoft.com/office/drawing/2014/chart" uri="{C3380CC4-5D6E-409C-BE32-E72D297353CC}">
                <c16:uniqueId val="{00000009-902D-4251-AC41-C6D4CBCA5CD6}"/>
              </c:ext>
            </c:extLst>
          </c:dPt>
          <c:dPt>
            <c:idx val="5"/>
            <c:invertIfNegative val="1"/>
            <c:bubble3D val="0"/>
            <c:spPr>
              <a:solidFill>
                <a:srgbClr val="E6E5E5"/>
              </a:solidFill>
            </c:spPr>
            <c:extLst>
              <c:ext xmlns:c16="http://schemas.microsoft.com/office/drawing/2014/chart" uri="{C3380CC4-5D6E-409C-BE32-E72D297353CC}">
                <c16:uniqueId val="{0000000B-902D-4251-AC41-C6D4CBCA5CD6}"/>
              </c:ext>
            </c:extLst>
          </c:dPt>
          <c:dPt>
            <c:idx val="6"/>
            <c:invertIfNegative val="1"/>
            <c:bubble3D val="0"/>
            <c:spPr>
              <a:solidFill>
                <a:srgbClr val="E6E5E5"/>
              </a:solidFill>
            </c:spPr>
            <c:extLst>
              <c:ext xmlns:c16="http://schemas.microsoft.com/office/drawing/2014/chart" uri="{C3380CC4-5D6E-409C-BE32-E72D297353CC}">
                <c16:uniqueId val="{0000000D-902D-4251-AC41-C6D4CBCA5CD6}"/>
              </c:ext>
            </c:extLst>
          </c:dPt>
          <c:dPt>
            <c:idx val="7"/>
            <c:invertIfNegative val="1"/>
            <c:bubble3D val="0"/>
            <c:spPr>
              <a:solidFill>
                <a:srgbClr val="E6E5E5"/>
              </a:solidFill>
            </c:spPr>
            <c:extLst>
              <c:ext xmlns:c16="http://schemas.microsoft.com/office/drawing/2014/chart" uri="{C3380CC4-5D6E-409C-BE32-E72D297353CC}">
                <c16:uniqueId val="{0000000F-902D-4251-AC41-C6D4CBCA5CD6}"/>
              </c:ext>
            </c:extLst>
          </c:dPt>
          <c:dPt>
            <c:idx val="8"/>
            <c:invertIfNegative val="1"/>
            <c:bubble3D val="0"/>
            <c:spPr>
              <a:solidFill>
                <a:srgbClr val="E6E5E5"/>
              </a:solidFill>
            </c:spPr>
            <c:extLst>
              <c:ext xmlns:c16="http://schemas.microsoft.com/office/drawing/2014/chart" uri="{C3380CC4-5D6E-409C-BE32-E72D297353CC}">
                <c16:uniqueId val="{00000011-902D-4251-AC41-C6D4CBCA5CD6}"/>
              </c:ext>
            </c:extLst>
          </c:dPt>
          <c:dPt>
            <c:idx val="9"/>
            <c:invertIfNegative val="1"/>
            <c:bubble3D val="0"/>
            <c:spPr>
              <a:solidFill>
                <a:srgbClr val="E6E5E5"/>
              </a:solidFill>
            </c:spPr>
            <c:extLst>
              <c:ext xmlns:c16="http://schemas.microsoft.com/office/drawing/2014/chart" uri="{C3380CC4-5D6E-409C-BE32-E72D297353CC}">
                <c16:uniqueId val="{00000013-902D-4251-AC41-C6D4CBCA5CD6}"/>
              </c:ext>
            </c:extLst>
          </c:dPt>
          <c:dPt>
            <c:idx val="10"/>
            <c:invertIfNegative val="1"/>
            <c:bubble3D val="0"/>
            <c:spPr>
              <a:solidFill>
                <a:srgbClr val="E6E5E5"/>
              </a:solidFill>
            </c:spPr>
            <c:extLst>
              <c:ext xmlns:c16="http://schemas.microsoft.com/office/drawing/2014/chart" uri="{C3380CC4-5D6E-409C-BE32-E72D297353CC}">
                <c16:uniqueId val="{00000015-902D-4251-AC41-C6D4CBCA5CD6}"/>
              </c:ext>
            </c:extLst>
          </c:dPt>
          <c:dPt>
            <c:idx val="11"/>
            <c:invertIfNegative val="1"/>
            <c:bubble3D val="0"/>
            <c:spPr>
              <a:solidFill>
                <a:srgbClr val="E6E5E5"/>
              </a:solidFill>
            </c:spPr>
            <c:extLst>
              <c:ext xmlns:c16="http://schemas.microsoft.com/office/drawing/2014/chart" uri="{C3380CC4-5D6E-409C-BE32-E72D297353CC}">
                <c16:uniqueId val="{00000017-902D-4251-AC41-C6D4CBCA5CD6}"/>
              </c:ext>
            </c:extLst>
          </c:dPt>
          <c:dPt>
            <c:idx val="12"/>
            <c:invertIfNegative val="1"/>
            <c:bubble3D val="0"/>
            <c:spPr>
              <a:solidFill>
                <a:srgbClr val="E6E5E5"/>
              </a:solidFill>
            </c:spPr>
            <c:extLst>
              <c:ext xmlns:c16="http://schemas.microsoft.com/office/drawing/2014/chart" uri="{C3380CC4-5D6E-409C-BE32-E72D297353CC}">
                <c16:uniqueId val="{00000019-902D-4251-AC41-C6D4CBCA5CD6}"/>
              </c:ext>
            </c:extLst>
          </c:dPt>
          <c:dPt>
            <c:idx val="13"/>
            <c:invertIfNegative val="1"/>
            <c:bubble3D val="0"/>
            <c:spPr>
              <a:solidFill>
                <a:srgbClr val="E6E5E5"/>
              </a:solidFill>
            </c:spPr>
            <c:extLst>
              <c:ext xmlns:c16="http://schemas.microsoft.com/office/drawing/2014/chart" uri="{C3380CC4-5D6E-409C-BE32-E72D297353CC}">
                <c16:uniqueId val="{0000001B-902D-4251-AC41-C6D4CBCA5CD6}"/>
              </c:ext>
            </c:extLst>
          </c:dPt>
          <c:dPt>
            <c:idx val="14"/>
            <c:invertIfNegative val="0"/>
            <c:bubble3D val="0"/>
            <c:spPr>
              <a:solidFill>
                <a:srgbClr val="E6E5E5"/>
              </a:solidFill>
              <a:ln>
                <a:noFill/>
              </a:ln>
              <a:effectLst/>
            </c:spPr>
            <c:extLst>
              <c:ext xmlns:c16="http://schemas.microsoft.com/office/drawing/2014/chart" uri="{C3380CC4-5D6E-409C-BE32-E72D297353CC}">
                <c16:uniqueId val="{0000001D-902D-4251-AC41-C6D4CBCA5CD6}"/>
              </c:ext>
            </c:extLst>
          </c:dPt>
          <c:dPt>
            <c:idx val="15"/>
            <c:invertIfNegative val="1"/>
            <c:bubble3D val="0"/>
            <c:spPr>
              <a:solidFill>
                <a:srgbClr val="E6E5E5"/>
              </a:solidFill>
            </c:spPr>
            <c:extLst>
              <c:ext xmlns:c16="http://schemas.microsoft.com/office/drawing/2014/chart" uri="{C3380CC4-5D6E-409C-BE32-E72D297353CC}">
                <c16:uniqueId val="{0000001F-902D-4251-AC41-C6D4CBCA5CD6}"/>
              </c:ext>
            </c:extLst>
          </c:dPt>
          <c:dPt>
            <c:idx val="16"/>
            <c:invertIfNegative val="1"/>
            <c:bubble3D val="0"/>
            <c:spPr>
              <a:solidFill>
                <a:srgbClr val="E6E5E5"/>
              </a:solidFill>
            </c:spPr>
            <c:extLst>
              <c:ext xmlns:c16="http://schemas.microsoft.com/office/drawing/2014/chart" uri="{C3380CC4-5D6E-409C-BE32-E72D297353CC}">
                <c16:uniqueId val="{00000021-902D-4251-AC41-C6D4CBCA5CD6}"/>
              </c:ext>
            </c:extLst>
          </c:dPt>
          <c:dPt>
            <c:idx val="17"/>
            <c:invertIfNegative val="0"/>
            <c:bubble3D val="0"/>
            <c:spPr>
              <a:solidFill>
                <a:srgbClr val="E6E5E5"/>
              </a:solidFill>
              <a:ln>
                <a:noFill/>
              </a:ln>
              <a:effectLst/>
            </c:spPr>
            <c:extLst>
              <c:ext xmlns:c16="http://schemas.microsoft.com/office/drawing/2014/chart" uri="{C3380CC4-5D6E-409C-BE32-E72D297353CC}">
                <c16:uniqueId val="{00000023-902D-4251-AC41-C6D4CBCA5CD6}"/>
              </c:ext>
            </c:extLst>
          </c:dPt>
          <c:dPt>
            <c:idx val="18"/>
            <c:invertIfNegative val="1"/>
            <c:bubble3D val="0"/>
            <c:spPr>
              <a:solidFill>
                <a:srgbClr val="E6E5E5"/>
              </a:solidFill>
            </c:spPr>
            <c:extLst>
              <c:ext xmlns:c16="http://schemas.microsoft.com/office/drawing/2014/chart" uri="{C3380CC4-5D6E-409C-BE32-E72D297353CC}">
                <c16:uniqueId val="{00000025-902D-4251-AC41-C6D4CBCA5CD6}"/>
              </c:ext>
            </c:extLst>
          </c:dPt>
          <c:dPt>
            <c:idx val="19"/>
            <c:invertIfNegative val="1"/>
            <c:bubble3D val="0"/>
            <c:spPr>
              <a:solidFill>
                <a:srgbClr val="E6E5E5"/>
              </a:solidFill>
            </c:spPr>
            <c:extLst>
              <c:ext xmlns:c16="http://schemas.microsoft.com/office/drawing/2014/chart" uri="{C3380CC4-5D6E-409C-BE32-E72D297353CC}">
                <c16:uniqueId val="{00000027-902D-4251-AC41-C6D4CBCA5CD6}"/>
              </c:ext>
            </c:extLst>
          </c:dPt>
          <c:dPt>
            <c:idx val="20"/>
            <c:invertIfNegative val="1"/>
            <c:bubble3D val="0"/>
            <c:spPr>
              <a:solidFill>
                <a:srgbClr val="E6E5E5"/>
              </a:solidFill>
            </c:spPr>
            <c:extLst>
              <c:ext xmlns:c16="http://schemas.microsoft.com/office/drawing/2014/chart" uri="{C3380CC4-5D6E-409C-BE32-E72D297353CC}">
                <c16:uniqueId val="{00000029-902D-4251-AC41-C6D4CBCA5CD6}"/>
              </c:ext>
            </c:extLst>
          </c:dPt>
          <c:dPt>
            <c:idx val="21"/>
            <c:invertIfNegative val="1"/>
            <c:bubble3D val="0"/>
            <c:spPr>
              <a:solidFill>
                <a:srgbClr val="E6E5E5"/>
              </a:solidFill>
            </c:spPr>
            <c:extLst>
              <c:ext xmlns:c16="http://schemas.microsoft.com/office/drawing/2014/chart" uri="{C3380CC4-5D6E-409C-BE32-E72D297353CC}">
                <c16:uniqueId val="{0000002B-902D-4251-AC41-C6D4CBCA5CD6}"/>
              </c:ext>
            </c:extLst>
          </c:dPt>
          <c:dPt>
            <c:idx val="22"/>
            <c:invertIfNegative val="1"/>
            <c:bubble3D val="0"/>
            <c:spPr>
              <a:solidFill>
                <a:srgbClr val="E6E5E5"/>
              </a:solidFill>
            </c:spPr>
            <c:extLst>
              <c:ext xmlns:c16="http://schemas.microsoft.com/office/drawing/2014/chart" uri="{C3380CC4-5D6E-409C-BE32-E72D297353CC}">
                <c16:uniqueId val="{0000002D-902D-4251-AC41-C6D4CBCA5CD6}"/>
              </c:ext>
            </c:extLst>
          </c:dPt>
          <c:dPt>
            <c:idx val="23"/>
            <c:invertIfNegative val="1"/>
            <c:bubble3D val="0"/>
            <c:spPr>
              <a:solidFill>
                <a:srgbClr val="E6E5E5"/>
              </a:solidFill>
            </c:spPr>
            <c:extLst>
              <c:ext xmlns:c16="http://schemas.microsoft.com/office/drawing/2014/chart" uri="{C3380CC4-5D6E-409C-BE32-E72D297353CC}">
                <c16:uniqueId val="{0000002F-902D-4251-AC41-C6D4CBCA5CD6}"/>
              </c:ext>
            </c:extLst>
          </c:dPt>
          <c:dPt>
            <c:idx val="24"/>
            <c:invertIfNegative val="1"/>
            <c:bubble3D val="0"/>
            <c:spPr>
              <a:solidFill>
                <a:srgbClr val="E6E5E5"/>
              </a:solidFill>
            </c:spPr>
            <c:extLst>
              <c:ext xmlns:c16="http://schemas.microsoft.com/office/drawing/2014/chart" uri="{C3380CC4-5D6E-409C-BE32-E72D297353CC}">
                <c16:uniqueId val="{00000031-902D-4251-AC41-C6D4CBCA5CD6}"/>
              </c:ext>
            </c:extLst>
          </c:dPt>
          <c:dPt>
            <c:idx val="25"/>
            <c:invertIfNegative val="1"/>
            <c:bubble3D val="0"/>
            <c:spPr>
              <a:solidFill>
                <a:srgbClr val="E6E5E5"/>
              </a:solidFill>
            </c:spPr>
            <c:extLst>
              <c:ext xmlns:c16="http://schemas.microsoft.com/office/drawing/2014/chart" uri="{C3380CC4-5D6E-409C-BE32-E72D297353CC}">
                <c16:uniqueId val="{00000033-902D-4251-AC41-C6D4CBCA5CD6}"/>
              </c:ext>
            </c:extLst>
          </c:dPt>
          <c:dPt>
            <c:idx val="26"/>
            <c:invertIfNegative val="1"/>
            <c:bubble3D val="0"/>
            <c:spPr>
              <a:solidFill>
                <a:srgbClr val="E6E5E5"/>
              </a:solidFill>
            </c:spPr>
            <c:extLst>
              <c:ext xmlns:c16="http://schemas.microsoft.com/office/drawing/2014/chart" uri="{C3380CC4-5D6E-409C-BE32-E72D297353CC}">
                <c16:uniqueId val="{00000035-902D-4251-AC41-C6D4CBCA5CD6}"/>
              </c:ext>
            </c:extLst>
          </c:dPt>
          <c:dPt>
            <c:idx val="27"/>
            <c:invertIfNegative val="1"/>
            <c:bubble3D val="0"/>
            <c:spPr>
              <a:solidFill>
                <a:srgbClr val="E6E5E5"/>
              </a:solidFill>
            </c:spPr>
            <c:extLst>
              <c:ext xmlns:c16="http://schemas.microsoft.com/office/drawing/2014/chart" uri="{C3380CC4-5D6E-409C-BE32-E72D297353CC}">
                <c16:uniqueId val="{00000037-902D-4251-AC41-C6D4CBCA5CD6}"/>
              </c:ext>
            </c:extLst>
          </c:dPt>
          <c:dPt>
            <c:idx val="28"/>
            <c:invertIfNegative val="1"/>
            <c:bubble3D val="0"/>
            <c:spPr>
              <a:solidFill>
                <a:srgbClr val="E6E5E5"/>
              </a:solidFill>
            </c:spPr>
            <c:extLst>
              <c:ext xmlns:c16="http://schemas.microsoft.com/office/drawing/2014/chart" uri="{C3380CC4-5D6E-409C-BE32-E72D297353CC}">
                <c16:uniqueId val="{00000039-902D-4251-AC41-C6D4CBCA5CD6}"/>
              </c:ext>
            </c:extLst>
          </c:dPt>
          <c:dPt>
            <c:idx val="29"/>
            <c:invertIfNegative val="1"/>
            <c:bubble3D val="0"/>
            <c:spPr>
              <a:solidFill>
                <a:srgbClr val="E6E5E5"/>
              </a:solidFill>
            </c:spPr>
            <c:extLst>
              <c:ext xmlns:c16="http://schemas.microsoft.com/office/drawing/2014/chart" uri="{C3380CC4-5D6E-409C-BE32-E72D297353CC}">
                <c16:uniqueId val="{0000003B-902D-4251-AC41-C6D4CBCA5CD6}"/>
              </c:ext>
            </c:extLst>
          </c:dPt>
          <c:dPt>
            <c:idx val="30"/>
            <c:invertIfNegative val="1"/>
            <c:bubble3D val="0"/>
            <c:spPr>
              <a:solidFill>
                <a:srgbClr val="E6E5E5"/>
              </a:solidFill>
            </c:spPr>
            <c:extLst>
              <c:ext xmlns:c16="http://schemas.microsoft.com/office/drawing/2014/chart" uri="{C3380CC4-5D6E-409C-BE32-E72D297353CC}">
                <c16:uniqueId val="{0000003D-902D-4251-AC41-C6D4CBCA5CD6}"/>
              </c:ext>
            </c:extLst>
          </c:dPt>
          <c:dPt>
            <c:idx val="31"/>
            <c:invertIfNegative val="1"/>
            <c:bubble3D val="0"/>
            <c:spPr>
              <a:solidFill>
                <a:srgbClr val="E6E5E5"/>
              </a:solidFill>
            </c:spPr>
            <c:extLst>
              <c:ext xmlns:c16="http://schemas.microsoft.com/office/drawing/2014/chart" uri="{C3380CC4-5D6E-409C-BE32-E72D297353CC}">
                <c16:uniqueId val="{0000003F-902D-4251-AC41-C6D4CBCA5CD6}"/>
              </c:ext>
            </c:extLst>
          </c:dPt>
          <c:dPt>
            <c:idx val="32"/>
            <c:invertIfNegative val="0"/>
            <c:bubble3D val="0"/>
            <c:spPr>
              <a:solidFill>
                <a:srgbClr val="E6E5E5"/>
              </a:solidFill>
              <a:ln>
                <a:noFill/>
              </a:ln>
              <a:effectLst/>
            </c:spPr>
            <c:extLst>
              <c:ext xmlns:c16="http://schemas.microsoft.com/office/drawing/2014/chart" uri="{C3380CC4-5D6E-409C-BE32-E72D297353CC}">
                <c16:uniqueId val="{00000041-902D-4251-AC41-C6D4CBCA5CD6}"/>
              </c:ext>
            </c:extLst>
          </c:dPt>
          <c:dPt>
            <c:idx val="33"/>
            <c:invertIfNegative val="1"/>
            <c:bubble3D val="0"/>
            <c:spPr>
              <a:solidFill>
                <a:srgbClr val="E6E5E5"/>
              </a:solidFill>
            </c:spPr>
            <c:extLst>
              <c:ext xmlns:c16="http://schemas.microsoft.com/office/drawing/2014/chart" uri="{C3380CC4-5D6E-409C-BE32-E72D297353CC}">
                <c16:uniqueId val="{00000043-902D-4251-AC41-C6D4CBCA5CD6}"/>
              </c:ext>
            </c:extLst>
          </c:dPt>
          <c:dPt>
            <c:idx val="34"/>
            <c:invertIfNegative val="1"/>
            <c:bubble3D val="0"/>
            <c:spPr>
              <a:solidFill>
                <a:srgbClr val="E6E5E5"/>
              </a:solidFill>
            </c:spPr>
            <c:extLst>
              <c:ext xmlns:c16="http://schemas.microsoft.com/office/drawing/2014/chart" uri="{C3380CC4-5D6E-409C-BE32-E72D297353CC}">
                <c16:uniqueId val="{00000045-902D-4251-AC41-C6D4CBCA5CD6}"/>
              </c:ext>
            </c:extLst>
          </c:dPt>
          <c:dPt>
            <c:idx val="35"/>
            <c:invertIfNegative val="1"/>
            <c:bubble3D val="0"/>
            <c:spPr>
              <a:solidFill>
                <a:srgbClr val="E6E5E5"/>
              </a:solidFill>
            </c:spPr>
            <c:extLst>
              <c:ext xmlns:c16="http://schemas.microsoft.com/office/drawing/2014/chart" uri="{C3380CC4-5D6E-409C-BE32-E72D297353CC}">
                <c16:uniqueId val="{00000047-902D-4251-AC41-C6D4CBCA5CD6}"/>
              </c:ext>
            </c:extLst>
          </c:dPt>
          <c:dPt>
            <c:idx val="36"/>
            <c:invertIfNegative val="1"/>
            <c:bubble3D val="0"/>
            <c:spPr>
              <a:solidFill>
                <a:srgbClr val="E6E5E5"/>
              </a:solidFill>
            </c:spPr>
            <c:extLst>
              <c:ext xmlns:c16="http://schemas.microsoft.com/office/drawing/2014/chart" uri="{C3380CC4-5D6E-409C-BE32-E72D297353CC}">
                <c16:uniqueId val="{00000049-902D-4251-AC41-C6D4CBCA5CD6}"/>
              </c:ext>
            </c:extLst>
          </c:dPt>
          <c:dPt>
            <c:idx val="37"/>
            <c:invertIfNegative val="1"/>
            <c:bubble3D val="0"/>
            <c:spPr>
              <a:solidFill>
                <a:srgbClr val="E6E5E5"/>
              </a:solidFill>
            </c:spPr>
            <c:extLst>
              <c:ext xmlns:c16="http://schemas.microsoft.com/office/drawing/2014/chart" uri="{C3380CC4-5D6E-409C-BE32-E72D297353CC}">
                <c16:uniqueId val="{0000004B-902D-4251-AC41-C6D4CBCA5CD6}"/>
              </c:ext>
            </c:extLst>
          </c:dPt>
          <c:dPt>
            <c:idx val="38"/>
            <c:invertIfNegative val="1"/>
            <c:bubble3D val="0"/>
            <c:spPr>
              <a:solidFill>
                <a:srgbClr val="E6E5E5"/>
              </a:solidFill>
            </c:spPr>
            <c:extLst>
              <c:ext xmlns:c16="http://schemas.microsoft.com/office/drawing/2014/chart" uri="{C3380CC4-5D6E-409C-BE32-E72D297353CC}">
                <c16:uniqueId val="{0000004D-902D-4251-AC41-C6D4CBCA5CD6}"/>
              </c:ext>
            </c:extLst>
          </c:dPt>
          <c:dPt>
            <c:idx val="39"/>
            <c:invertIfNegative val="1"/>
            <c:bubble3D val="0"/>
            <c:spPr>
              <a:solidFill>
                <a:srgbClr val="E6E5E5"/>
              </a:solidFill>
            </c:spPr>
            <c:extLst>
              <c:ext xmlns:c16="http://schemas.microsoft.com/office/drawing/2014/chart" uri="{C3380CC4-5D6E-409C-BE32-E72D297353CC}">
                <c16:uniqueId val="{0000004F-902D-4251-AC41-C6D4CBCA5CD6}"/>
              </c:ext>
            </c:extLst>
          </c:dPt>
          <c:dPt>
            <c:idx val="40"/>
            <c:invertIfNegative val="1"/>
            <c:bubble3D val="0"/>
            <c:spPr>
              <a:solidFill>
                <a:srgbClr val="E6E5E5"/>
              </a:solidFill>
            </c:spPr>
            <c:extLst>
              <c:ext xmlns:c16="http://schemas.microsoft.com/office/drawing/2014/chart" uri="{C3380CC4-5D6E-409C-BE32-E72D297353CC}">
                <c16:uniqueId val="{00000051-902D-4251-AC41-C6D4CBCA5CD6}"/>
              </c:ext>
            </c:extLst>
          </c:dPt>
          <c:dPt>
            <c:idx val="41"/>
            <c:invertIfNegative val="1"/>
            <c:bubble3D val="0"/>
            <c:spPr>
              <a:solidFill>
                <a:srgbClr val="E6E5E5"/>
              </a:solidFill>
            </c:spPr>
            <c:extLst>
              <c:ext xmlns:c16="http://schemas.microsoft.com/office/drawing/2014/chart" uri="{C3380CC4-5D6E-409C-BE32-E72D297353CC}">
                <c16:uniqueId val="{00000053-902D-4251-AC41-C6D4CBCA5CD6}"/>
              </c:ext>
            </c:extLst>
          </c:dPt>
          <c:dPt>
            <c:idx val="42"/>
            <c:invertIfNegative val="1"/>
            <c:bubble3D val="0"/>
            <c:spPr>
              <a:solidFill>
                <a:srgbClr val="E6E5E5"/>
              </a:solidFill>
            </c:spPr>
            <c:extLst>
              <c:ext xmlns:c16="http://schemas.microsoft.com/office/drawing/2014/chart" uri="{C3380CC4-5D6E-409C-BE32-E72D297353CC}">
                <c16:uniqueId val="{00000055-902D-4251-AC41-C6D4CBCA5CD6}"/>
              </c:ext>
            </c:extLst>
          </c:dPt>
          <c:dPt>
            <c:idx val="43"/>
            <c:invertIfNegative val="1"/>
            <c:bubble3D val="0"/>
            <c:spPr>
              <a:solidFill>
                <a:srgbClr val="E6E5E5"/>
              </a:solidFill>
            </c:spPr>
            <c:extLst>
              <c:ext xmlns:c16="http://schemas.microsoft.com/office/drawing/2014/chart" uri="{C3380CC4-5D6E-409C-BE32-E72D297353CC}">
                <c16:uniqueId val="{00000057-902D-4251-AC41-C6D4CBCA5CD6}"/>
              </c:ext>
            </c:extLst>
          </c:dPt>
          <c:dPt>
            <c:idx val="44"/>
            <c:invertIfNegative val="0"/>
            <c:bubble3D val="0"/>
            <c:spPr>
              <a:solidFill>
                <a:srgbClr val="E6E5E5"/>
              </a:solidFill>
              <a:ln>
                <a:noFill/>
              </a:ln>
              <a:effectLst/>
            </c:spPr>
            <c:extLst>
              <c:ext xmlns:c16="http://schemas.microsoft.com/office/drawing/2014/chart" uri="{C3380CC4-5D6E-409C-BE32-E72D297353CC}">
                <c16:uniqueId val="{00000059-902D-4251-AC41-C6D4CBCA5CD6}"/>
              </c:ext>
            </c:extLst>
          </c:dPt>
          <c:dPt>
            <c:idx val="45"/>
            <c:invertIfNegative val="1"/>
            <c:bubble3D val="0"/>
            <c:spPr>
              <a:solidFill>
                <a:srgbClr val="E6E5E5"/>
              </a:solidFill>
            </c:spPr>
            <c:extLst>
              <c:ext xmlns:c16="http://schemas.microsoft.com/office/drawing/2014/chart" uri="{C3380CC4-5D6E-409C-BE32-E72D297353CC}">
                <c16:uniqueId val="{0000005B-902D-4251-AC41-C6D4CBCA5CD6}"/>
              </c:ext>
            </c:extLst>
          </c:dPt>
          <c:dPt>
            <c:idx val="46"/>
            <c:invertIfNegative val="1"/>
            <c:bubble3D val="0"/>
            <c:spPr>
              <a:solidFill>
                <a:srgbClr val="E6E5E5"/>
              </a:solidFill>
            </c:spPr>
            <c:extLst>
              <c:ext xmlns:c16="http://schemas.microsoft.com/office/drawing/2014/chart" uri="{C3380CC4-5D6E-409C-BE32-E72D297353CC}">
                <c16:uniqueId val="{0000005D-902D-4251-AC41-C6D4CBCA5CD6}"/>
              </c:ext>
            </c:extLst>
          </c:dPt>
          <c:dPt>
            <c:idx val="47"/>
            <c:invertIfNegative val="1"/>
            <c:bubble3D val="0"/>
            <c:spPr>
              <a:solidFill>
                <a:srgbClr val="E6E5E5"/>
              </a:solidFill>
            </c:spPr>
            <c:extLst>
              <c:ext xmlns:c16="http://schemas.microsoft.com/office/drawing/2014/chart" uri="{C3380CC4-5D6E-409C-BE32-E72D297353CC}">
                <c16:uniqueId val="{0000005F-902D-4251-AC41-C6D4CBCA5CD6}"/>
              </c:ext>
            </c:extLst>
          </c:dPt>
          <c:dPt>
            <c:idx val="48"/>
            <c:invertIfNegative val="1"/>
            <c:bubble3D val="0"/>
            <c:spPr>
              <a:solidFill>
                <a:srgbClr val="E6E5E5"/>
              </a:solidFill>
            </c:spPr>
            <c:extLst>
              <c:ext xmlns:c16="http://schemas.microsoft.com/office/drawing/2014/chart" uri="{C3380CC4-5D6E-409C-BE32-E72D297353CC}">
                <c16:uniqueId val="{00000061-902D-4251-AC41-C6D4CBCA5CD6}"/>
              </c:ext>
            </c:extLst>
          </c:dPt>
          <c:dPt>
            <c:idx val="49"/>
            <c:invertIfNegative val="0"/>
            <c:bubble3D val="0"/>
            <c:spPr>
              <a:solidFill>
                <a:srgbClr val="E6E5E5"/>
              </a:solidFill>
              <a:ln>
                <a:noFill/>
              </a:ln>
              <a:effectLst/>
            </c:spPr>
            <c:extLst>
              <c:ext xmlns:c16="http://schemas.microsoft.com/office/drawing/2014/chart" uri="{C3380CC4-5D6E-409C-BE32-E72D297353CC}">
                <c16:uniqueId val="{00000063-902D-4251-AC41-C6D4CBCA5CD6}"/>
              </c:ext>
            </c:extLst>
          </c:dPt>
          <c:dPt>
            <c:idx val="50"/>
            <c:invertIfNegative val="0"/>
            <c:bubble3D val="0"/>
            <c:spPr>
              <a:solidFill>
                <a:srgbClr val="E6E5E5"/>
              </a:solidFill>
              <a:ln>
                <a:noFill/>
              </a:ln>
              <a:effectLst/>
            </c:spPr>
            <c:extLst>
              <c:ext xmlns:c16="http://schemas.microsoft.com/office/drawing/2014/chart" uri="{C3380CC4-5D6E-409C-BE32-E72D297353CC}">
                <c16:uniqueId val="{00000065-902D-4251-AC41-C6D4CBCA5CD6}"/>
              </c:ext>
            </c:extLst>
          </c:dPt>
          <c:dPt>
            <c:idx val="51"/>
            <c:invertIfNegative val="1"/>
            <c:bubble3D val="0"/>
            <c:spPr>
              <a:solidFill>
                <a:srgbClr val="E6E5E5"/>
              </a:solidFill>
            </c:spPr>
            <c:extLst>
              <c:ext xmlns:c16="http://schemas.microsoft.com/office/drawing/2014/chart" uri="{C3380CC4-5D6E-409C-BE32-E72D297353CC}">
                <c16:uniqueId val="{00000067-902D-4251-AC41-C6D4CBCA5CD6}"/>
              </c:ext>
            </c:extLst>
          </c:dPt>
          <c:dPt>
            <c:idx val="52"/>
            <c:invertIfNegative val="1"/>
            <c:bubble3D val="0"/>
            <c:spPr>
              <a:solidFill>
                <a:srgbClr val="E6E5E5"/>
              </a:solidFill>
            </c:spPr>
            <c:extLst>
              <c:ext xmlns:c16="http://schemas.microsoft.com/office/drawing/2014/chart" uri="{C3380CC4-5D6E-409C-BE32-E72D297353CC}">
                <c16:uniqueId val="{00000069-902D-4251-AC41-C6D4CBCA5CD6}"/>
              </c:ext>
            </c:extLst>
          </c:dPt>
          <c:dPt>
            <c:idx val="53"/>
            <c:invertIfNegative val="1"/>
            <c:bubble3D val="0"/>
            <c:spPr>
              <a:solidFill>
                <a:srgbClr val="E6E5E5"/>
              </a:solidFill>
            </c:spPr>
            <c:extLst>
              <c:ext xmlns:c16="http://schemas.microsoft.com/office/drawing/2014/chart" uri="{C3380CC4-5D6E-409C-BE32-E72D297353CC}">
                <c16:uniqueId val="{0000006B-B2E8-4080-83D6-EECA18439E6A}"/>
              </c:ext>
            </c:extLst>
          </c:dPt>
          <c:dPt>
            <c:idx val="54"/>
            <c:invertIfNegative val="1"/>
            <c:bubble3D val="0"/>
            <c:spPr>
              <a:solidFill>
                <a:srgbClr val="E6E5E5"/>
              </a:solidFill>
            </c:spPr>
            <c:extLst>
              <c:ext xmlns:c16="http://schemas.microsoft.com/office/drawing/2014/chart" uri="{C3380CC4-5D6E-409C-BE32-E72D297353CC}">
                <c16:uniqueId val="{0000006D-B2E8-4080-83D6-EECA18439E6A}"/>
              </c:ext>
            </c:extLst>
          </c:dPt>
          <c:dPt>
            <c:idx val="55"/>
            <c:invertIfNegative val="1"/>
            <c:bubble3D val="0"/>
            <c:spPr>
              <a:solidFill>
                <a:srgbClr val="E6E5E5"/>
              </a:solidFill>
            </c:spPr>
            <c:extLst>
              <c:ext xmlns:c16="http://schemas.microsoft.com/office/drawing/2014/chart" uri="{C3380CC4-5D6E-409C-BE32-E72D297353CC}">
                <c16:uniqueId val="{0000006F-B2E8-4080-83D6-EECA18439E6A}"/>
              </c:ext>
            </c:extLst>
          </c:dPt>
          <c:dPt>
            <c:idx val="56"/>
            <c:invertIfNegative val="1"/>
            <c:bubble3D val="0"/>
            <c:spPr>
              <a:solidFill>
                <a:srgbClr val="E6E5E5"/>
              </a:solidFill>
            </c:spPr>
            <c:extLst>
              <c:ext xmlns:c16="http://schemas.microsoft.com/office/drawing/2014/chart" uri="{C3380CC4-5D6E-409C-BE32-E72D297353CC}">
                <c16:uniqueId val="{00000071-B2E8-4080-83D6-EECA18439E6A}"/>
              </c:ext>
            </c:extLst>
          </c:dPt>
          <c:dPt>
            <c:idx val="57"/>
            <c:invertIfNegative val="1"/>
            <c:bubble3D val="0"/>
            <c:spPr>
              <a:solidFill>
                <a:srgbClr val="E6E5E5"/>
              </a:solidFill>
            </c:spPr>
            <c:extLst>
              <c:ext xmlns:c16="http://schemas.microsoft.com/office/drawing/2014/chart" uri="{C3380CC4-5D6E-409C-BE32-E72D297353CC}">
                <c16:uniqueId val="{00000073-B2E8-4080-83D6-EECA18439E6A}"/>
              </c:ext>
            </c:extLst>
          </c:dPt>
          <c:dPt>
            <c:idx val="58"/>
            <c:invertIfNegative val="1"/>
            <c:bubble3D val="0"/>
            <c:spPr>
              <a:solidFill>
                <a:srgbClr val="E6E5E5"/>
              </a:solidFill>
            </c:spPr>
            <c:extLst>
              <c:ext xmlns:c16="http://schemas.microsoft.com/office/drawing/2014/chart" uri="{C3380CC4-5D6E-409C-BE32-E72D297353CC}">
                <c16:uniqueId val="{00000075-B2E8-4080-83D6-EECA18439E6A}"/>
              </c:ext>
            </c:extLst>
          </c:dPt>
          <c:dPt>
            <c:idx val="59"/>
            <c:invertIfNegative val="1"/>
            <c:bubble3D val="0"/>
            <c:spPr>
              <a:solidFill>
                <a:srgbClr val="E6E5E5"/>
              </a:solidFill>
            </c:spPr>
            <c:extLst>
              <c:ext xmlns:c16="http://schemas.microsoft.com/office/drawing/2014/chart" uri="{C3380CC4-5D6E-409C-BE32-E72D297353CC}">
                <c16:uniqueId val="{00000077-B2E8-4080-83D6-EECA18439E6A}"/>
              </c:ext>
            </c:extLst>
          </c:dPt>
          <c:dPt>
            <c:idx val="60"/>
            <c:invertIfNegative val="1"/>
            <c:bubble3D val="0"/>
            <c:spPr>
              <a:solidFill>
                <a:srgbClr val="E6E5E5"/>
              </a:solidFill>
            </c:spPr>
            <c:extLst>
              <c:ext xmlns:c16="http://schemas.microsoft.com/office/drawing/2014/chart" uri="{C3380CC4-5D6E-409C-BE32-E72D297353CC}">
                <c16:uniqueId val="{00000079-B2E8-4080-83D6-EECA18439E6A}"/>
              </c:ext>
            </c:extLst>
          </c:dPt>
          <c:dPt>
            <c:idx val="61"/>
            <c:invertIfNegative val="1"/>
            <c:bubble3D val="0"/>
            <c:spPr>
              <a:solidFill>
                <a:srgbClr val="E6E5E5"/>
              </a:solidFill>
            </c:spPr>
            <c:extLst>
              <c:ext xmlns:c16="http://schemas.microsoft.com/office/drawing/2014/chart" uri="{C3380CC4-5D6E-409C-BE32-E72D297353CC}">
                <c16:uniqueId val="{0000007B-B2E8-4080-83D6-EECA18439E6A}"/>
              </c:ext>
            </c:extLst>
          </c:dPt>
          <c:dPt>
            <c:idx val="62"/>
            <c:invertIfNegative val="1"/>
            <c:bubble3D val="0"/>
            <c:spPr>
              <a:solidFill>
                <a:srgbClr val="E6E5E5"/>
              </a:solidFill>
            </c:spPr>
            <c:extLst>
              <c:ext xmlns:c16="http://schemas.microsoft.com/office/drawing/2014/chart" uri="{C3380CC4-5D6E-409C-BE32-E72D297353CC}">
                <c16:uniqueId val="{0000007D-B2E8-4080-83D6-EECA18439E6A}"/>
              </c:ext>
            </c:extLst>
          </c:dPt>
          <c:dPt>
            <c:idx val="63"/>
            <c:invertIfNegative val="1"/>
            <c:bubble3D val="0"/>
            <c:spPr>
              <a:solidFill>
                <a:srgbClr val="E6E5E5"/>
              </a:solidFill>
            </c:spPr>
            <c:extLst>
              <c:ext xmlns:c16="http://schemas.microsoft.com/office/drawing/2014/chart" uri="{C3380CC4-5D6E-409C-BE32-E72D297353CC}">
                <c16:uniqueId val="{0000007F-B2E8-4080-83D6-EECA18439E6A}"/>
              </c:ext>
            </c:extLst>
          </c:dPt>
          <c:dPt>
            <c:idx val="64"/>
            <c:invertIfNegative val="1"/>
            <c:bubble3D val="0"/>
            <c:spPr>
              <a:solidFill>
                <a:srgbClr val="E6E5E5"/>
              </a:solidFill>
            </c:spPr>
            <c:extLst>
              <c:ext xmlns:c16="http://schemas.microsoft.com/office/drawing/2014/chart" uri="{C3380CC4-5D6E-409C-BE32-E72D297353CC}">
                <c16:uniqueId val="{00000081-B2E8-4080-83D6-EECA18439E6A}"/>
              </c:ext>
            </c:extLst>
          </c:dPt>
          <c:dPt>
            <c:idx val="65"/>
            <c:invertIfNegative val="1"/>
            <c:bubble3D val="0"/>
            <c:spPr>
              <a:solidFill>
                <a:srgbClr val="E6E5E5"/>
              </a:solidFill>
            </c:spPr>
            <c:extLst>
              <c:ext xmlns:c16="http://schemas.microsoft.com/office/drawing/2014/chart" uri="{C3380CC4-5D6E-409C-BE32-E72D297353CC}">
                <c16:uniqueId val="{00000083-B2E8-4080-83D6-EECA18439E6A}"/>
              </c:ext>
            </c:extLst>
          </c:dPt>
          <c:dPt>
            <c:idx val="66"/>
            <c:invertIfNegative val="1"/>
            <c:bubble3D val="0"/>
            <c:spPr>
              <a:solidFill>
                <a:srgbClr val="E6E5E5"/>
              </a:solidFill>
            </c:spPr>
            <c:extLst>
              <c:ext xmlns:c16="http://schemas.microsoft.com/office/drawing/2014/chart" uri="{C3380CC4-5D6E-409C-BE32-E72D297353CC}">
                <c16:uniqueId val="{00000085-B2E8-4080-83D6-EECA18439E6A}"/>
              </c:ext>
            </c:extLst>
          </c:dPt>
          <c:dPt>
            <c:idx val="67"/>
            <c:invertIfNegative val="1"/>
            <c:bubble3D val="0"/>
            <c:spPr>
              <a:solidFill>
                <a:srgbClr val="E6E5E5"/>
              </a:solidFill>
            </c:spPr>
            <c:extLst>
              <c:ext xmlns:c16="http://schemas.microsoft.com/office/drawing/2014/chart" uri="{C3380CC4-5D6E-409C-BE32-E72D297353CC}">
                <c16:uniqueId val="{00000087-B2E8-4080-83D6-EECA18439E6A}"/>
              </c:ext>
            </c:extLst>
          </c:dPt>
          <c:dPt>
            <c:idx val="68"/>
            <c:invertIfNegative val="1"/>
            <c:bubble3D val="0"/>
            <c:spPr>
              <a:solidFill>
                <a:srgbClr val="E6E5E5"/>
              </a:solidFill>
            </c:spPr>
            <c:extLst>
              <c:ext xmlns:c16="http://schemas.microsoft.com/office/drawing/2014/chart" uri="{C3380CC4-5D6E-409C-BE32-E72D297353CC}">
                <c16:uniqueId val="{00000089-B2E8-4080-83D6-EECA18439E6A}"/>
              </c:ext>
            </c:extLst>
          </c:dPt>
          <c:dPt>
            <c:idx val="69"/>
            <c:invertIfNegative val="1"/>
            <c:bubble3D val="0"/>
            <c:spPr>
              <a:solidFill>
                <a:srgbClr val="E6E5E5"/>
              </a:solidFill>
            </c:spPr>
            <c:extLst>
              <c:ext xmlns:c16="http://schemas.microsoft.com/office/drawing/2014/chart" uri="{C3380CC4-5D6E-409C-BE32-E72D297353CC}">
                <c16:uniqueId val="{0000008B-B2E8-4080-83D6-EECA18439E6A}"/>
              </c:ext>
            </c:extLst>
          </c:dPt>
          <c:dPt>
            <c:idx val="70"/>
            <c:invertIfNegative val="1"/>
            <c:bubble3D val="0"/>
            <c:spPr>
              <a:solidFill>
                <a:srgbClr val="E6E5E5"/>
              </a:solidFill>
            </c:spPr>
            <c:extLst>
              <c:ext xmlns:c16="http://schemas.microsoft.com/office/drawing/2014/chart" uri="{C3380CC4-5D6E-409C-BE32-E72D297353CC}">
                <c16:uniqueId val="{0000008D-B2E8-4080-83D6-EECA18439E6A}"/>
              </c:ext>
            </c:extLst>
          </c:dPt>
          <c:dPt>
            <c:idx val="71"/>
            <c:invertIfNegative val="1"/>
            <c:bubble3D val="0"/>
            <c:spPr>
              <a:solidFill>
                <a:srgbClr val="E6E5E5"/>
              </a:solidFill>
            </c:spPr>
            <c:extLst>
              <c:ext xmlns:c16="http://schemas.microsoft.com/office/drawing/2014/chart" uri="{C3380CC4-5D6E-409C-BE32-E72D297353CC}">
                <c16:uniqueId val="{0000008F-B2E8-4080-83D6-EECA18439E6A}"/>
              </c:ext>
            </c:extLst>
          </c:dPt>
          <c:dPt>
            <c:idx val="72"/>
            <c:invertIfNegative val="1"/>
            <c:bubble3D val="0"/>
            <c:spPr>
              <a:solidFill>
                <a:srgbClr val="E6E5E5"/>
              </a:solidFill>
            </c:spPr>
            <c:extLst>
              <c:ext xmlns:c16="http://schemas.microsoft.com/office/drawing/2014/chart" uri="{C3380CC4-5D6E-409C-BE32-E72D297353CC}">
                <c16:uniqueId val="{00000091-B2E8-4080-83D6-EECA18439E6A}"/>
              </c:ext>
            </c:extLst>
          </c:dPt>
          <c:dPt>
            <c:idx val="73"/>
            <c:invertIfNegative val="1"/>
            <c:bubble3D val="0"/>
            <c:spPr>
              <a:solidFill>
                <a:srgbClr val="E6E5E5"/>
              </a:solidFill>
            </c:spPr>
            <c:extLst>
              <c:ext xmlns:c16="http://schemas.microsoft.com/office/drawing/2014/chart" uri="{C3380CC4-5D6E-409C-BE32-E72D297353CC}">
                <c16:uniqueId val="{00000093-B2E8-4080-83D6-EECA18439E6A}"/>
              </c:ext>
            </c:extLst>
          </c:dPt>
          <c:dPt>
            <c:idx val="74"/>
            <c:invertIfNegative val="1"/>
            <c:bubble3D val="0"/>
            <c:spPr>
              <a:solidFill>
                <a:srgbClr val="E6E5E5"/>
              </a:solidFill>
            </c:spPr>
            <c:extLst>
              <c:ext xmlns:c16="http://schemas.microsoft.com/office/drawing/2014/chart" uri="{C3380CC4-5D6E-409C-BE32-E72D297353CC}">
                <c16:uniqueId val="{00000095-B2E8-4080-83D6-EECA18439E6A}"/>
              </c:ext>
            </c:extLst>
          </c:dPt>
          <c:dPt>
            <c:idx val="75"/>
            <c:invertIfNegative val="1"/>
            <c:bubble3D val="0"/>
            <c:spPr>
              <a:solidFill>
                <a:srgbClr val="E6E5E5"/>
              </a:solidFill>
            </c:spPr>
            <c:extLst>
              <c:ext xmlns:c16="http://schemas.microsoft.com/office/drawing/2014/chart" uri="{C3380CC4-5D6E-409C-BE32-E72D297353CC}">
                <c16:uniqueId val="{00000097-B2E8-4080-83D6-EECA18439E6A}"/>
              </c:ext>
            </c:extLst>
          </c:dPt>
          <c:dPt>
            <c:idx val="76"/>
            <c:invertIfNegative val="1"/>
            <c:bubble3D val="0"/>
            <c:spPr>
              <a:solidFill>
                <a:srgbClr val="E6E5E5"/>
              </a:solidFill>
            </c:spPr>
            <c:extLst>
              <c:ext xmlns:c16="http://schemas.microsoft.com/office/drawing/2014/chart" uri="{C3380CC4-5D6E-409C-BE32-E72D297353CC}">
                <c16:uniqueId val="{00000099-B2E8-4080-83D6-EECA18439E6A}"/>
              </c:ext>
            </c:extLst>
          </c:dPt>
          <c:dPt>
            <c:idx val="77"/>
            <c:invertIfNegative val="1"/>
            <c:bubble3D val="0"/>
            <c:spPr>
              <a:solidFill>
                <a:srgbClr val="E6E5E5"/>
              </a:solidFill>
            </c:spPr>
            <c:extLst>
              <c:ext xmlns:c16="http://schemas.microsoft.com/office/drawing/2014/chart" uri="{C3380CC4-5D6E-409C-BE32-E72D297353CC}">
                <c16:uniqueId val="{0000009B-B2E8-4080-83D6-EECA18439E6A}"/>
              </c:ext>
            </c:extLst>
          </c:dPt>
          <c:dPt>
            <c:idx val="78"/>
            <c:invertIfNegative val="1"/>
            <c:bubble3D val="0"/>
            <c:spPr>
              <a:solidFill>
                <a:srgbClr val="E6E5E5"/>
              </a:solidFill>
            </c:spPr>
            <c:extLst>
              <c:ext xmlns:c16="http://schemas.microsoft.com/office/drawing/2014/chart" uri="{C3380CC4-5D6E-409C-BE32-E72D297353CC}">
                <c16:uniqueId val="{0000009D-B2E8-4080-83D6-EECA18439E6A}"/>
              </c:ext>
            </c:extLst>
          </c:dPt>
          <c:dPt>
            <c:idx val="79"/>
            <c:invertIfNegative val="1"/>
            <c:bubble3D val="0"/>
            <c:spPr>
              <a:solidFill>
                <a:srgbClr val="E6E5E5"/>
              </a:solidFill>
            </c:spPr>
            <c:extLst>
              <c:ext xmlns:c16="http://schemas.microsoft.com/office/drawing/2014/chart" uri="{C3380CC4-5D6E-409C-BE32-E72D297353CC}">
                <c16:uniqueId val="{0000009F-B2E8-4080-83D6-EECA18439E6A}"/>
              </c:ext>
            </c:extLst>
          </c:dPt>
          <c:dPt>
            <c:idx val="80"/>
            <c:invertIfNegative val="1"/>
            <c:bubble3D val="0"/>
            <c:spPr>
              <a:solidFill>
                <a:srgbClr val="E6E5E5"/>
              </a:solidFill>
            </c:spPr>
            <c:extLst>
              <c:ext xmlns:c16="http://schemas.microsoft.com/office/drawing/2014/chart" uri="{C3380CC4-5D6E-409C-BE32-E72D297353CC}">
                <c16:uniqueId val="{000000A1-B2E8-4080-83D6-EECA18439E6A}"/>
              </c:ext>
            </c:extLst>
          </c:dPt>
          <c:dPt>
            <c:idx val="81"/>
            <c:invertIfNegative val="1"/>
            <c:bubble3D val="0"/>
            <c:spPr>
              <a:solidFill>
                <a:srgbClr val="E6E5E5"/>
              </a:solidFill>
            </c:spPr>
            <c:extLst>
              <c:ext xmlns:c16="http://schemas.microsoft.com/office/drawing/2014/chart" uri="{C3380CC4-5D6E-409C-BE32-E72D297353CC}">
                <c16:uniqueId val="{000000A3-B2E8-4080-83D6-EECA18439E6A}"/>
              </c:ext>
            </c:extLst>
          </c:dPt>
          <c:dPt>
            <c:idx val="82"/>
            <c:invertIfNegative val="1"/>
            <c:bubble3D val="0"/>
            <c:spPr>
              <a:solidFill>
                <a:srgbClr val="E6E5E5"/>
              </a:solidFill>
            </c:spPr>
            <c:extLst>
              <c:ext xmlns:c16="http://schemas.microsoft.com/office/drawing/2014/chart" uri="{C3380CC4-5D6E-409C-BE32-E72D297353CC}">
                <c16:uniqueId val="{000000A5-B2E8-4080-83D6-EECA18439E6A}"/>
              </c:ext>
            </c:extLst>
          </c:dPt>
          <c:dPt>
            <c:idx val="83"/>
            <c:invertIfNegative val="1"/>
            <c:bubble3D val="0"/>
            <c:spPr>
              <a:solidFill>
                <a:srgbClr val="E6E5E5"/>
              </a:solidFill>
            </c:spPr>
            <c:extLst>
              <c:ext xmlns:c16="http://schemas.microsoft.com/office/drawing/2014/chart" uri="{C3380CC4-5D6E-409C-BE32-E72D297353CC}">
                <c16:uniqueId val="{000000A7-B2E8-4080-83D6-EECA18439E6A}"/>
              </c:ext>
            </c:extLst>
          </c:dPt>
          <c:dPt>
            <c:idx val="84"/>
            <c:invertIfNegative val="1"/>
            <c:bubble3D val="0"/>
            <c:spPr>
              <a:solidFill>
                <a:srgbClr val="E6E5E5"/>
              </a:solidFill>
            </c:spPr>
            <c:extLst>
              <c:ext xmlns:c16="http://schemas.microsoft.com/office/drawing/2014/chart" uri="{C3380CC4-5D6E-409C-BE32-E72D297353CC}">
                <c16:uniqueId val="{000000A9-B2E8-4080-83D6-EECA18439E6A}"/>
              </c:ext>
            </c:extLst>
          </c:dPt>
          <c:dPt>
            <c:idx val="85"/>
            <c:invertIfNegative val="1"/>
            <c:bubble3D val="0"/>
            <c:spPr>
              <a:solidFill>
                <a:srgbClr val="E6E5E5"/>
              </a:solidFill>
            </c:spPr>
            <c:extLst>
              <c:ext xmlns:c16="http://schemas.microsoft.com/office/drawing/2014/chart" uri="{C3380CC4-5D6E-409C-BE32-E72D297353CC}">
                <c16:uniqueId val="{000000AB-B2E8-4080-83D6-EECA18439E6A}"/>
              </c:ext>
            </c:extLst>
          </c:dPt>
          <c:dPt>
            <c:idx val="86"/>
            <c:invertIfNegative val="1"/>
            <c:bubble3D val="0"/>
            <c:spPr>
              <a:solidFill>
                <a:srgbClr val="E6E5E5"/>
              </a:solidFill>
            </c:spPr>
            <c:extLst>
              <c:ext xmlns:c16="http://schemas.microsoft.com/office/drawing/2014/chart" uri="{C3380CC4-5D6E-409C-BE32-E72D297353CC}">
                <c16:uniqueId val="{000000AD-B2E8-4080-83D6-EECA18439E6A}"/>
              </c:ext>
            </c:extLst>
          </c:dPt>
          <c:dPt>
            <c:idx val="87"/>
            <c:invertIfNegative val="1"/>
            <c:bubble3D val="0"/>
            <c:spPr>
              <a:solidFill>
                <a:srgbClr val="E6E5E5"/>
              </a:solidFill>
            </c:spPr>
            <c:extLst>
              <c:ext xmlns:c16="http://schemas.microsoft.com/office/drawing/2014/chart" uri="{C3380CC4-5D6E-409C-BE32-E72D297353CC}">
                <c16:uniqueId val="{000000AF-B2E8-4080-83D6-EECA18439E6A}"/>
              </c:ext>
            </c:extLst>
          </c:dPt>
          <c:dPt>
            <c:idx val="88"/>
            <c:invertIfNegative val="1"/>
            <c:bubble3D val="0"/>
            <c:spPr>
              <a:solidFill>
                <a:srgbClr val="E6E5E5"/>
              </a:solidFill>
            </c:spPr>
            <c:extLst>
              <c:ext xmlns:c16="http://schemas.microsoft.com/office/drawing/2014/chart" uri="{C3380CC4-5D6E-409C-BE32-E72D297353CC}">
                <c16:uniqueId val="{000000B1-B2E8-4080-83D6-EECA18439E6A}"/>
              </c:ext>
            </c:extLst>
          </c:dPt>
          <c:dPt>
            <c:idx val="89"/>
            <c:invertIfNegative val="1"/>
            <c:bubble3D val="0"/>
            <c:spPr>
              <a:solidFill>
                <a:srgbClr val="E6E5E5"/>
              </a:solidFill>
            </c:spPr>
            <c:extLst>
              <c:ext xmlns:c16="http://schemas.microsoft.com/office/drawing/2014/chart" uri="{C3380CC4-5D6E-409C-BE32-E72D297353CC}">
                <c16:uniqueId val="{000000B3-B2E8-4080-83D6-EECA18439E6A}"/>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902D-4251-AC41-C6D4CBCA5CD6}"/>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902D-4251-AC41-C6D4CBCA5CD6}"/>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902D-4251-AC41-C6D4CBCA5CD6}"/>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902D-4251-AC41-C6D4CBCA5CD6}"/>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902D-4251-AC41-C6D4CBCA5CD6}"/>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902D-4251-AC41-C6D4CBCA5CD6}"/>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902D-4251-AC41-C6D4CBCA5CD6}"/>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902D-4251-AC41-C6D4CBCA5CD6}"/>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902D-4251-AC41-C6D4CBCA5CD6}"/>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02D-4251-AC41-C6D4CBCA5CD6}"/>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02D-4251-AC41-C6D4CBCA5CD6}"/>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902D-4251-AC41-C6D4CBCA5CD6}"/>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902D-4251-AC41-C6D4CBCA5CD6}"/>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902D-4251-AC41-C6D4CBCA5CD6}"/>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902D-4251-AC41-C6D4CBCA5CD6}"/>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902D-4251-AC41-C6D4CBCA5CD6}"/>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902D-4251-AC41-C6D4CBCA5CD6}"/>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902D-4251-AC41-C6D4CBCA5CD6}"/>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902D-4251-AC41-C6D4CBCA5CD6}"/>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902D-4251-AC41-C6D4CBCA5CD6}"/>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902D-4251-AC41-C6D4CBCA5CD6}"/>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902D-4251-AC41-C6D4CBCA5CD6}"/>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902D-4251-AC41-C6D4CBCA5CD6}"/>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902D-4251-AC41-C6D4CBCA5CD6}"/>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902D-4251-AC41-C6D4CBCA5CD6}"/>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902D-4251-AC41-C6D4CBCA5CD6}"/>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902D-4251-AC41-C6D4CBCA5CD6}"/>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902D-4251-AC41-C6D4CBCA5CD6}"/>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902D-4251-AC41-C6D4CBCA5CD6}"/>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902D-4251-AC41-C6D4CBCA5CD6}"/>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902D-4251-AC41-C6D4CBCA5CD6}"/>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902D-4251-AC41-C6D4CBCA5CD6}"/>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902D-4251-AC41-C6D4CBCA5CD6}"/>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902D-4251-AC41-C6D4CBCA5CD6}"/>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902D-4251-AC41-C6D4CBCA5CD6}"/>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902D-4251-AC41-C6D4CBCA5CD6}"/>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902D-4251-AC41-C6D4CBCA5CD6}"/>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902D-4251-AC41-C6D4CBCA5CD6}"/>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902D-4251-AC41-C6D4CBCA5CD6}"/>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902D-4251-AC41-C6D4CBCA5CD6}"/>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902D-4251-AC41-C6D4CBCA5CD6}"/>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902D-4251-AC41-C6D4CBCA5CD6}"/>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902D-4251-AC41-C6D4CBCA5CD6}"/>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902D-4251-AC41-C6D4CBCA5CD6}"/>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902D-4251-AC41-C6D4CBCA5CD6}"/>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902D-4251-AC41-C6D4CBCA5CD6}"/>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902D-4251-AC41-C6D4CBCA5CD6}"/>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902D-4251-AC41-C6D4CBCA5CD6}"/>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902D-4251-AC41-C6D4CBCA5CD6}"/>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902D-4251-AC41-C6D4CBCA5CD6}"/>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902D-4251-AC41-C6D4CBCA5CD6}"/>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902D-4251-AC41-C6D4CBCA5CD6}"/>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902D-4251-AC41-C6D4CBCA5CD6}"/>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B2E8-4080-83D6-EECA18439E6A}"/>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B2E8-4080-83D6-EECA18439E6A}"/>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B2E8-4080-83D6-EECA18439E6A}"/>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B2E8-4080-83D6-EECA18439E6A}"/>
                </c:ext>
              </c:extLst>
            </c:dLbl>
            <c:dLbl>
              <c:idx val="5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B2E8-4080-83D6-EECA18439E6A}"/>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B2E8-4080-83D6-EECA18439E6A}"/>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B2E8-4080-83D6-EECA18439E6A}"/>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B2E8-4080-83D6-EECA18439E6A}"/>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B2E8-4080-83D6-EECA18439E6A}"/>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B2E8-4080-83D6-EECA18439E6A}"/>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B2E8-4080-83D6-EECA18439E6A}"/>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B2E8-4080-83D6-EECA18439E6A}"/>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B2E8-4080-83D6-EECA18439E6A}"/>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B2E8-4080-83D6-EECA18439E6A}"/>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B2E8-4080-83D6-EECA18439E6A}"/>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B2E8-4080-83D6-EECA18439E6A}"/>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B2E8-4080-83D6-EECA18439E6A}"/>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B2E8-4080-83D6-EECA18439E6A}"/>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B2E8-4080-83D6-EECA18439E6A}"/>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B2E8-4080-83D6-EECA18439E6A}"/>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B2E8-4080-83D6-EECA18439E6A}"/>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B2E8-4080-83D6-EECA18439E6A}"/>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B2E8-4080-83D6-EECA18439E6A}"/>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B2E8-4080-83D6-EECA18439E6A}"/>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B2E8-4080-83D6-EECA18439E6A}"/>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B2E8-4080-83D6-EECA18439E6A}"/>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B2E8-4080-83D6-EECA18439E6A}"/>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B2E8-4080-83D6-EECA18439E6A}"/>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B2E8-4080-83D6-EECA18439E6A}"/>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B2E8-4080-83D6-EECA18439E6A}"/>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B2E8-4080-83D6-EECA18439E6A}"/>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B2E8-4080-83D6-EECA18439E6A}"/>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B2E8-4080-83D6-EECA18439E6A}"/>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B2E8-4080-83D6-EECA18439E6A}"/>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B2E8-4080-83D6-EECA18439E6A}"/>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B2E8-4080-83D6-EECA18439E6A}"/>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9</c:f>
              <c:strCache>
                <c:ptCount val="78"/>
                <c:pt idx="0">
                  <c:v>Galaxy Jewels 1.4kg</c:v>
                </c:pt>
                <c:pt idx="1">
                  <c:v>Ferrero Rocher 300g</c:v>
                </c:pt>
                <c:pt idx="2">
                  <c:v>Galaxy Smooth Milk Chocolate 36g x 24</c:v>
                </c:pt>
                <c:pt idx="3">
                  <c:v>Galaxy Jewels 900g</c:v>
                </c:pt>
                <c:pt idx="4">
                  <c:v>Galaxy Jewels 650g</c:v>
                </c:pt>
                <c:pt idx="5">
                  <c:v>Cadbury Dairy Milk Minis Selection 500g</c:v>
                </c:pt>
                <c:pt idx="6">
                  <c:v>Kit Kat 17.7g x 18</c:v>
                </c:pt>
                <c:pt idx="7">
                  <c:v>Kinder Bueno Milk&amp;Hazelnut 43g</c:v>
                </c:pt>
                <c:pt idx="8">
                  <c:v>Tiffany Break Supa 38gx12</c:v>
                </c:pt>
                <c:pt idx="9">
                  <c:v>Snickers 50gx6</c:v>
                </c:pt>
                <c:pt idx="10">
                  <c:v>Tiffany Break 24x15.5g</c:v>
                </c:pt>
                <c:pt idx="11">
                  <c:v>Tiffany Break Mini Fun 384g</c:v>
                </c:pt>
                <c:pt idx="12">
                  <c:v>Kinder Bueno Milk&amp;Hazelnut 43gx10</c:v>
                </c:pt>
                <c:pt idx="13">
                  <c:v>Mackintosh Quality Street Chocolate 600g</c:v>
                </c:pt>
                <c:pt idx="14">
                  <c:v>Snickers Bar 50g</c:v>
                </c:pt>
                <c:pt idx="15">
                  <c:v>Maltesers Chocolate 175g</c:v>
                </c:pt>
                <c:pt idx="16">
                  <c:v>Tiffany Break 31gx12</c:v>
                </c:pt>
                <c:pt idx="17">
                  <c:v>Tiffany Break Delight 25gx12</c:v>
                </c:pt>
                <c:pt idx="18">
                  <c:v>Snickers Minis Bag 252g</c:v>
                </c:pt>
                <c:pt idx="19">
                  <c:v>Cadbury Miniatures Box 400g</c:v>
                </c:pt>
                <c:pt idx="20">
                  <c:v>Bounty Bar 57g</c:v>
                </c:pt>
                <c:pt idx="21">
                  <c:v>Galaxy Smooth Milk Minis 237.5g</c:v>
                </c:pt>
                <c:pt idx="22">
                  <c:v>Bounty Bar 57g x 5</c:v>
                </c:pt>
                <c:pt idx="23">
                  <c:v>Kinder Maxi Chocolate 21gx11 (10+1)</c:v>
                </c:pt>
                <c:pt idx="24">
                  <c:v>Ferrero Rocher 200g</c:v>
                </c:pt>
                <c:pt idx="25">
                  <c:v>Ferrero Raffaello 150g box </c:v>
                </c:pt>
                <c:pt idx="26">
                  <c:v>Galaxy Hazelnut Minis 237.5g</c:v>
                </c:pt>
                <c:pt idx="27">
                  <c:v>Twix 50gx5</c:v>
                </c:pt>
                <c:pt idx="28">
                  <c:v>Twix Bar 50g</c:v>
                </c:pt>
                <c:pt idx="29">
                  <c:v>Maltesers Chocolate 37g</c:v>
                </c:pt>
                <c:pt idx="30">
                  <c:v>Snickers Miniatures 150g</c:v>
                </c:pt>
                <c:pt idx="31">
                  <c:v>Cadbury Flake Minis Bag 159.5g</c:v>
                </c:pt>
                <c:pt idx="32">
                  <c:v>M&amp;M's Peanut 165g</c:v>
                </c:pt>
                <c:pt idx="33">
                  <c:v>Twix Miniatures 150g</c:v>
                </c:pt>
                <c:pt idx="34">
                  <c:v>Cadbury Timeout Minis Wafer 247.2g</c:v>
                </c:pt>
                <c:pt idx="35">
                  <c:v>Toblerone Milk Chocolate 200g</c:v>
                </c:pt>
                <c:pt idx="36">
                  <c:v>Galaxy Smooth Milk Minis 162.5g</c:v>
                </c:pt>
                <c:pt idx="37">
                  <c:v>Mars 45g x 6</c:v>
                </c:pt>
                <c:pt idx="38">
                  <c:v>Bounty Miniatures 150g</c:v>
                </c:pt>
                <c:pt idx="39">
                  <c:v>Kinder Chocolate Bar 8x12.5g</c:v>
                </c:pt>
                <c:pt idx="40">
                  <c:v>Galaxy Smooth Dark Chocolate 40g</c:v>
                </c:pt>
                <c:pt idx="41">
                  <c:v>Mars Bar 51g </c:v>
                </c:pt>
                <c:pt idx="42">
                  <c:v>Hershey's Kisses Special Selection Assorted 325g</c:v>
                </c:pt>
                <c:pt idx="43">
                  <c:v>Galaxy Hazelnut Chocolate 36g</c:v>
                </c:pt>
                <c:pt idx="44">
                  <c:v>Galaxy Smooth Milk Chocolate 36g</c:v>
                </c:pt>
                <c:pt idx="45">
                  <c:v>Galaxy Caramel Bar 40g</c:v>
                </c:pt>
                <c:pt idx="46">
                  <c:v>Kinder Chocolate Bar 50g</c:v>
                </c:pt>
                <c:pt idx="47">
                  <c:v>Kinder Bueno White 39g</c:v>
                </c:pt>
                <c:pt idx="48">
                  <c:v>Hershey's Kisses Classic Selection Assorted 325g</c:v>
                </c:pt>
                <c:pt idx="49">
                  <c:v>Galaxy Crispy Milk Chocolate 36g</c:v>
                </c:pt>
                <c:pt idx="50">
                  <c:v> Reeses Peanut Butter Cup Mini 340g </c:v>
                </c:pt>
                <c:pt idx="51">
                  <c:v>Kit Kat 17.7g</c:v>
                </c:pt>
                <c:pt idx="52">
                  <c:v> Reeses Peanut Butter Cup 42g x 6</c:v>
                </c:pt>
                <c:pt idx="53">
                  <c:v>Reeses Peanut Butter Cups 46g</c:v>
                </c:pt>
                <c:pt idx="54">
                  <c:v>Reeses Peanut Butter Cup Mini 215g</c:v>
                </c:pt>
                <c:pt idx="55">
                  <c:v>M&amp;M's Milk Chocolate 30.6g</c:v>
                </c:pt>
                <c:pt idx="56">
                  <c:v>Godiva Double Chocolate Bar 35g</c:v>
                </c:pt>
                <c:pt idx="57">
                  <c:v>Galaxy Smooth Milk Chocolate 80g</c:v>
                </c:pt>
                <c:pt idx="58">
                  <c:v>Galaxy Ripple Bar 33g</c:v>
                </c:pt>
                <c:pt idx="59">
                  <c:v>Hershey's Chocobites Cookies 'n Creme 90g</c:v>
                </c:pt>
                <c:pt idx="60">
                  <c:v>Hershey's Kisses Special Selection Assorted 100g</c:v>
                </c:pt>
                <c:pt idx="61">
                  <c:v>Hershey's Chocobites Salted Caramel 81g</c:v>
                </c:pt>
                <c:pt idx="62">
                  <c:v>Hershey's Cookies N' Chocolate 40g</c:v>
                </c:pt>
                <c:pt idx="63">
                  <c:v>Reeses Block 90g</c:v>
                </c:pt>
                <c:pt idx="64">
                  <c:v>Reeses Nut Bar 47g</c:v>
                </c:pt>
                <c:pt idx="65">
                  <c:v>Hershey's Kisses Classic Selection Assorted 100g</c:v>
                </c:pt>
                <c:pt idx="66">
                  <c:v>Hershey's Cookies 'n Creme Creations Salted Caramel 38g</c:v>
                </c:pt>
                <c:pt idx="67">
                  <c:v>Hershey's Cookies N' Crème 12.76g</c:v>
                </c:pt>
                <c:pt idx="68">
                  <c:v> Reeses Wafer Sticks 42g</c:v>
                </c:pt>
                <c:pt idx="69">
                  <c:v>Hershey's Choco Tubes Cookies N' Creme 18g</c:v>
                </c:pt>
                <c:pt idx="70">
                  <c:v> Reeses Peanut Butter Cup Mini 500G</c:v>
                </c:pt>
                <c:pt idx="71">
                  <c:v>Reeses Pieces 180g</c:v>
                </c:pt>
                <c:pt idx="72">
                  <c:v>Reeses Mini King Size 71g</c:v>
                </c:pt>
                <c:pt idx="73">
                  <c:v>Hershey's Cookies 'n Creme Block 90g</c:v>
                </c:pt>
                <c:pt idx="74">
                  <c:v>Hersheys Kisses Classic Selection Assorted 600G</c:v>
                </c:pt>
                <c:pt idx="75">
                  <c:v>Hershey's Cookies 'n Creme 40Gx 4</c:v>
                </c:pt>
                <c:pt idx="76">
                  <c:v>Hershey's Variety Pack 40Gx3</c:v>
                </c:pt>
                <c:pt idx="77">
                  <c:v>Reeses Fast break 51g</c:v>
                </c:pt>
              </c:strCache>
            </c:strRef>
          </c:cat>
          <c:val>
            <c:numRef>
              <c:f>Sheet1!$B$2:$B$79</c:f>
              <c:numCache>
                <c:formatCode>General</c:formatCode>
                <c:ptCount val="78"/>
                <c:pt idx="0">
                  <c:v>8.7534810601232665E-2</c:v>
                </c:pt>
                <c:pt idx="1">
                  <c:v>5.7559500892221442E-2</c:v>
                </c:pt>
                <c:pt idx="2">
                  <c:v>5.2484576460387768E-2</c:v>
                </c:pt>
                <c:pt idx="3">
                  <c:v>5.2431668272041182E-2</c:v>
                </c:pt>
                <c:pt idx="4">
                  <c:v>4.868892335715206E-2</c:v>
                </c:pt>
                <c:pt idx="5">
                  <c:v>3.9883127665807053E-2</c:v>
                </c:pt>
                <c:pt idx="6">
                  <c:v>2.9310751584451511E-2</c:v>
                </c:pt>
                <c:pt idx="7">
                  <c:v>2.7693958481604788E-2</c:v>
                </c:pt>
                <c:pt idx="8">
                  <c:v>2.520913477236672E-2</c:v>
                </c:pt>
                <c:pt idx="9">
                  <c:v>2.4955217813546149E-2</c:v>
                </c:pt>
                <c:pt idx="10">
                  <c:v>2.4411629377003408E-2</c:v>
                </c:pt>
                <c:pt idx="11">
                  <c:v>2.432162347521807E-2</c:v>
                </c:pt>
                <c:pt idx="12">
                  <c:v>2.2631346863859841E-2</c:v>
                </c:pt>
                <c:pt idx="13">
                  <c:v>2.2425372973408079E-2</c:v>
                </c:pt>
                <c:pt idx="14">
                  <c:v>2.1309215636296241E-2</c:v>
                </c:pt>
                <c:pt idx="15">
                  <c:v>2.0959753622360241E-2</c:v>
                </c:pt>
                <c:pt idx="16">
                  <c:v>2.0800319571241239E-2</c:v>
                </c:pt>
                <c:pt idx="17">
                  <c:v>1.7970810967835201E-2</c:v>
                </c:pt>
                <c:pt idx="18">
                  <c:v>1.6850758622753849E-2</c:v>
                </c:pt>
                <c:pt idx="19">
                  <c:v>1.596269816570935E-2</c:v>
                </c:pt>
                <c:pt idx="20">
                  <c:v>1.5112238409568249E-2</c:v>
                </c:pt>
                <c:pt idx="21">
                  <c:v>1.461542990237732E-2</c:v>
                </c:pt>
                <c:pt idx="22">
                  <c:v>1.4334284118613001E-2</c:v>
                </c:pt>
                <c:pt idx="23">
                  <c:v>1.430940527615138E-2</c:v>
                </c:pt>
                <c:pt idx="24">
                  <c:v>1.4289080781313281E-2</c:v>
                </c:pt>
                <c:pt idx="25">
                  <c:v>1.403814668354727E-2</c:v>
                </c:pt>
                <c:pt idx="26">
                  <c:v>1.330105136333818E-2</c:v>
                </c:pt>
                <c:pt idx="27">
                  <c:v>1.279435495102535E-2</c:v>
                </c:pt>
                <c:pt idx="28">
                  <c:v>1.1555834851677259E-2</c:v>
                </c:pt>
                <c:pt idx="29">
                  <c:v>1.1353549481144559E-2</c:v>
                </c:pt>
                <c:pt idx="30">
                  <c:v>1.086773292425431E-2</c:v>
                </c:pt>
                <c:pt idx="31">
                  <c:v>1.0487758880938881E-2</c:v>
                </c:pt>
                <c:pt idx="32">
                  <c:v>1.043360818931305E-2</c:v>
                </c:pt>
                <c:pt idx="33">
                  <c:v>1.021010493667055E-2</c:v>
                </c:pt>
                <c:pt idx="34">
                  <c:v>1.0000357436865779E-2</c:v>
                </c:pt>
                <c:pt idx="35">
                  <c:v>9.6856196504729163E-3</c:v>
                </c:pt>
                <c:pt idx="36">
                  <c:v>9.406623878718887E-3</c:v>
                </c:pt>
                <c:pt idx="37">
                  <c:v>8.1035583272461749E-3</c:v>
                </c:pt>
                <c:pt idx="38">
                  <c:v>7.5495692266556828E-3</c:v>
                </c:pt>
                <c:pt idx="39">
                  <c:v>7.4420449325245048E-3</c:v>
                </c:pt>
                <c:pt idx="40">
                  <c:v>7.2277216112720663E-3</c:v>
                </c:pt>
                <c:pt idx="41">
                  <c:v>7.1673392735173798E-3</c:v>
                </c:pt>
                <c:pt idx="42">
                  <c:v>6.7869153080573506E-3</c:v>
                </c:pt>
                <c:pt idx="43">
                  <c:v>6.6451374901548904E-3</c:v>
                </c:pt>
                <c:pt idx="44">
                  <c:v>6.5885098340167552E-3</c:v>
                </c:pt>
                <c:pt idx="45">
                  <c:v>6.1118889102816784E-3</c:v>
                </c:pt>
                <c:pt idx="46">
                  <c:v>5.4493931229054396E-3</c:v>
                </c:pt>
                <c:pt idx="47">
                  <c:v>5.4360110602241834E-3</c:v>
                </c:pt>
                <c:pt idx="48">
                  <c:v>5.072109933842715E-3</c:v>
                </c:pt>
                <c:pt idx="49">
                  <c:v>4.8778405380791113E-3</c:v>
                </c:pt>
                <c:pt idx="50">
                  <c:v>4.8293537084955207E-3</c:v>
                </c:pt>
                <c:pt idx="51">
                  <c:v>4.756436351299226E-3</c:v>
                </c:pt>
                <c:pt idx="52">
                  <c:v>4.6147312769180401E-3</c:v>
                </c:pt>
                <c:pt idx="53">
                  <c:v>4.5051743706602341E-3</c:v>
                </c:pt>
                <c:pt idx="54">
                  <c:v>4.4076916789279564E-3</c:v>
                </c:pt>
                <c:pt idx="55">
                  <c:v>4.0239190321588224E-3</c:v>
                </c:pt>
                <c:pt idx="56">
                  <c:v>3.9206240800433037E-3</c:v>
                </c:pt>
                <c:pt idx="57">
                  <c:v>3.4990833523240289E-3</c:v>
                </c:pt>
                <c:pt idx="58">
                  <c:v>3.3187734201093398E-3</c:v>
                </c:pt>
                <c:pt idx="59">
                  <c:v>2.7137303220649859E-3</c:v>
                </c:pt>
                <c:pt idx="60">
                  <c:v>2.541702375438945E-3</c:v>
                </c:pt>
                <c:pt idx="61">
                  <c:v>2.4340625382641319E-3</c:v>
                </c:pt>
                <c:pt idx="62">
                  <c:v>2.4219716916852839E-3</c:v>
                </c:pt>
                <c:pt idx="63">
                  <c:v>2.1593638402186001E-3</c:v>
                </c:pt>
                <c:pt idx="64">
                  <c:v>1.6564163558322471E-3</c:v>
                </c:pt>
                <c:pt idx="65">
                  <c:v>1.534050800512053E-3</c:v>
                </c:pt>
                <c:pt idx="66">
                  <c:v>8.8861505707664911E-4</c:v>
                </c:pt>
                <c:pt idx="67">
                  <c:v>7.8139805979037706E-4</c:v>
                </c:pt>
                <c:pt idx="68">
                  <c:v>2.7164883385527279E-4</c:v>
                </c:pt>
                <c:pt idx="69">
                  <c:v>7.2832393059720158E-5</c:v>
                </c:pt>
                <c:pt idx="70">
                  <c:v>0</c:v>
                </c:pt>
                <c:pt idx="71">
                  <c:v>0</c:v>
                </c:pt>
                <c:pt idx="72">
                  <c:v>0</c:v>
                </c:pt>
                <c:pt idx="73">
                  <c:v>0</c:v>
                </c:pt>
                <c:pt idx="74">
                  <c:v>0</c:v>
                </c:pt>
                <c:pt idx="75">
                  <c:v>0</c:v>
                </c:pt>
                <c:pt idx="76">
                  <c:v>0</c:v>
                </c:pt>
                <c:pt idx="77">
                  <c:v>0</c:v>
                </c:pt>
              </c:numCache>
            </c:numRef>
          </c:val>
          <c:extLst>
            <c:ext xmlns:c16="http://schemas.microsoft.com/office/drawing/2014/chart" uri="{C3380CC4-5D6E-409C-BE32-E72D297353CC}">
              <c16:uniqueId val="{0000006A-902D-4251-AC41-C6D4CBCA5CD6}"/>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ershey's Cookies 'n Creme Creations Salted Caramel 38g</c:v>
                </c:pt>
              </c:strCache>
            </c:strRef>
          </c:tx>
          <c:spPr>
            <a:solidFill>
              <a:schemeClr val="bg2"/>
            </a:solidFill>
            <a:ln>
              <a:noFill/>
            </a:ln>
            <a:effectLst/>
          </c:spPr>
          <c:invertIfNegative val="0"/>
          <c:dPt>
            <c:idx val="0"/>
            <c:invertIfNegative val="0"/>
            <c:bubble3D val="0"/>
            <c:spPr>
              <a:solidFill>
                <a:srgbClr val="E6E5E5"/>
              </a:solidFill>
              <a:ln>
                <a:noFill/>
              </a:ln>
              <a:effectLst/>
            </c:spPr>
            <c:extLst>
              <c:ext xmlns:c16="http://schemas.microsoft.com/office/drawing/2014/chart" uri="{C3380CC4-5D6E-409C-BE32-E72D297353CC}">
                <c16:uniqueId val="{00000001-999B-42C0-A7D9-A2057CE05A51}"/>
              </c:ext>
            </c:extLst>
          </c:dPt>
          <c:dPt>
            <c:idx val="1"/>
            <c:invertIfNegative val="1"/>
            <c:bubble3D val="0"/>
            <c:spPr>
              <a:solidFill>
                <a:srgbClr val="E6E5E5"/>
              </a:solidFill>
            </c:spPr>
            <c:extLst>
              <c:ext xmlns:c16="http://schemas.microsoft.com/office/drawing/2014/chart" uri="{C3380CC4-5D6E-409C-BE32-E72D297353CC}">
                <c16:uniqueId val="{00000003-999B-42C0-A7D9-A2057CE05A51}"/>
              </c:ext>
            </c:extLst>
          </c:dPt>
          <c:dPt>
            <c:idx val="2"/>
            <c:invertIfNegative val="1"/>
            <c:bubble3D val="0"/>
            <c:spPr>
              <a:solidFill>
                <a:srgbClr val="E6E5E5"/>
              </a:solidFill>
            </c:spPr>
            <c:extLst>
              <c:ext xmlns:c16="http://schemas.microsoft.com/office/drawing/2014/chart" uri="{C3380CC4-5D6E-409C-BE32-E72D297353CC}">
                <c16:uniqueId val="{00000005-999B-42C0-A7D9-A2057CE05A51}"/>
              </c:ext>
            </c:extLst>
          </c:dPt>
          <c:dPt>
            <c:idx val="3"/>
            <c:invertIfNegative val="0"/>
            <c:bubble3D val="0"/>
            <c:spPr>
              <a:solidFill>
                <a:srgbClr val="E6E5E5"/>
              </a:solidFill>
              <a:ln>
                <a:noFill/>
              </a:ln>
              <a:effectLst/>
            </c:spPr>
            <c:extLst>
              <c:ext xmlns:c16="http://schemas.microsoft.com/office/drawing/2014/chart" uri="{C3380CC4-5D6E-409C-BE32-E72D297353CC}">
                <c16:uniqueId val="{00000007-999B-42C0-A7D9-A2057CE05A51}"/>
              </c:ext>
            </c:extLst>
          </c:dPt>
          <c:dPt>
            <c:idx val="4"/>
            <c:invertIfNegative val="1"/>
            <c:bubble3D val="0"/>
            <c:spPr>
              <a:solidFill>
                <a:srgbClr val="E6E5E5"/>
              </a:solidFill>
            </c:spPr>
            <c:extLst>
              <c:ext xmlns:c16="http://schemas.microsoft.com/office/drawing/2014/chart" uri="{C3380CC4-5D6E-409C-BE32-E72D297353CC}">
                <c16:uniqueId val="{00000009-999B-42C0-A7D9-A2057CE05A51}"/>
              </c:ext>
            </c:extLst>
          </c:dPt>
          <c:dPt>
            <c:idx val="5"/>
            <c:invertIfNegative val="1"/>
            <c:bubble3D val="0"/>
            <c:spPr>
              <a:solidFill>
                <a:srgbClr val="E6E5E5"/>
              </a:solidFill>
            </c:spPr>
            <c:extLst>
              <c:ext xmlns:c16="http://schemas.microsoft.com/office/drawing/2014/chart" uri="{C3380CC4-5D6E-409C-BE32-E72D297353CC}">
                <c16:uniqueId val="{0000000B-999B-42C0-A7D9-A2057CE05A51}"/>
              </c:ext>
            </c:extLst>
          </c:dPt>
          <c:dPt>
            <c:idx val="6"/>
            <c:invertIfNegative val="1"/>
            <c:bubble3D val="0"/>
            <c:spPr>
              <a:solidFill>
                <a:srgbClr val="E6E5E5"/>
              </a:solidFill>
            </c:spPr>
            <c:extLst>
              <c:ext xmlns:c16="http://schemas.microsoft.com/office/drawing/2014/chart" uri="{C3380CC4-5D6E-409C-BE32-E72D297353CC}">
                <c16:uniqueId val="{0000000D-999B-42C0-A7D9-A2057CE05A51}"/>
              </c:ext>
            </c:extLst>
          </c:dPt>
          <c:dPt>
            <c:idx val="7"/>
            <c:invertIfNegative val="1"/>
            <c:bubble3D val="0"/>
            <c:spPr>
              <a:solidFill>
                <a:srgbClr val="E6E5E5"/>
              </a:solidFill>
            </c:spPr>
            <c:extLst>
              <c:ext xmlns:c16="http://schemas.microsoft.com/office/drawing/2014/chart" uri="{C3380CC4-5D6E-409C-BE32-E72D297353CC}">
                <c16:uniqueId val="{0000000F-999B-42C0-A7D9-A2057CE05A51}"/>
              </c:ext>
            </c:extLst>
          </c:dPt>
          <c:dPt>
            <c:idx val="8"/>
            <c:invertIfNegative val="1"/>
            <c:bubble3D val="0"/>
            <c:spPr>
              <a:solidFill>
                <a:srgbClr val="E6E5E5"/>
              </a:solidFill>
            </c:spPr>
            <c:extLst>
              <c:ext xmlns:c16="http://schemas.microsoft.com/office/drawing/2014/chart" uri="{C3380CC4-5D6E-409C-BE32-E72D297353CC}">
                <c16:uniqueId val="{00000011-999B-42C0-A7D9-A2057CE05A51}"/>
              </c:ext>
            </c:extLst>
          </c:dPt>
          <c:dPt>
            <c:idx val="9"/>
            <c:invertIfNegative val="1"/>
            <c:bubble3D val="0"/>
            <c:spPr>
              <a:solidFill>
                <a:srgbClr val="E6E5E5"/>
              </a:solidFill>
            </c:spPr>
            <c:extLst>
              <c:ext xmlns:c16="http://schemas.microsoft.com/office/drawing/2014/chart" uri="{C3380CC4-5D6E-409C-BE32-E72D297353CC}">
                <c16:uniqueId val="{00000013-999B-42C0-A7D9-A2057CE05A51}"/>
              </c:ext>
            </c:extLst>
          </c:dPt>
          <c:dPt>
            <c:idx val="10"/>
            <c:invertIfNegative val="1"/>
            <c:bubble3D val="0"/>
            <c:spPr>
              <a:solidFill>
                <a:srgbClr val="E6E5E5"/>
              </a:solidFill>
            </c:spPr>
            <c:extLst>
              <c:ext xmlns:c16="http://schemas.microsoft.com/office/drawing/2014/chart" uri="{C3380CC4-5D6E-409C-BE32-E72D297353CC}">
                <c16:uniqueId val="{00000015-999B-42C0-A7D9-A2057CE05A51}"/>
              </c:ext>
            </c:extLst>
          </c:dPt>
          <c:dPt>
            <c:idx val="11"/>
            <c:invertIfNegative val="1"/>
            <c:bubble3D val="0"/>
            <c:spPr>
              <a:solidFill>
                <a:srgbClr val="E6E5E5"/>
              </a:solidFill>
            </c:spPr>
            <c:extLst>
              <c:ext xmlns:c16="http://schemas.microsoft.com/office/drawing/2014/chart" uri="{C3380CC4-5D6E-409C-BE32-E72D297353CC}">
                <c16:uniqueId val="{00000017-999B-42C0-A7D9-A2057CE05A51}"/>
              </c:ext>
            </c:extLst>
          </c:dPt>
          <c:dPt>
            <c:idx val="12"/>
            <c:invertIfNegative val="1"/>
            <c:bubble3D val="0"/>
            <c:spPr>
              <a:solidFill>
                <a:srgbClr val="E6E5E5"/>
              </a:solidFill>
            </c:spPr>
            <c:extLst>
              <c:ext xmlns:c16="http://schemas.microsoft.com/office/drawing/2014/chart" uri="{C3380CC4-5D6E-409C-BE32-E72D297353CC}">
                <c16:uniqueId val="{00000019-999B-42C0-A7D9-A2057CE05A51}"/>
              </c:ext>
            </c:extLst>
          </c:dPt>
          <c:dPt>
            <c:idx val="13"/>
            <c:invertIfNegative val="1"/>
            <c:bubble3D val="0"/>
            <c:spPr>
              <a:solidFill>
                <a:srgbClr val="E6E5E5"/>
              </a:solidFill>
            </c:spPr>
            <c:extLst>
              <c:ext xmlns:c16="http://schemas.microsoft.com/office/drawing/2014/chart" uri="{C3380CC4-5D6E-409C-BE32-E72D297353CC}">
                <c16:uniqueId val="{0000001B-999B-42C0-A7D9-A2057CE05A51}"/>
              </c:ext>
            </c:extLst>
          </c:dPt>
          <c:dPt>
            <c:idx val="14"/>
            <c:invertIfNegative val="0"/>
            <c:bubble3D val="0"/>
            <c:spPr>
              <a:solidFill>
                <a:srgbClr val="E6E5E5"/>
              </a:solidFill>
              <a:ln>
                <a:noFill/>
              </a:ln>
              <a:effectLst/>
            </c:spPr>
            <c:extLst>
              <c:ext xmlns:c16="http://schemas.microsoft.com/office/drawing/2014/chart" uri="{C3380CC4-5D6E-409C-BE32-E72D297353CC}">
                <c16:uniqueId val="{0000001D-999B-42C0-A7D9-A2057CE05A51}"/>
              </c:ext>
            </c:extLst>
          </c:dPt>
          <c:dPt>
            <c:idx val="15"/>
            <c:invertIfNegative val="1"/>
            <c:bubble3D val="0"/>
            <c:spPr>
              <a:solidFill>
                <a:srgbClr val="E6E5E5"/>
              </a:solidFill>
            </c:spPr>
            <c:extLst>
              <c:ext xmlns:c16="http://schemas.microsoft.com/office/drawing/2014/chart" uri="{C3380CC4-5D6E-409C-BE32-E72D297353CC}">
                <c16:uniqueId val="{0000001F-999B-42C0-A7D9-A2057CE05A51}"/>
              </c:ext>
            </c:extLst>
          </c:dPt>
          <c:dPt>
            <c:idx val="16"/>
            <c:invertIfNegative val="1"/>
            <c:bubble3D val="0"/>
            <c:spPr>
              <a:solidFill>
                <a:srgbClr val="E6E5E5"/>
              </a:solidFill>
            </c:spPr>
            <c:extLst>
              <c:ext xmlns:c16="http://schemas.microsoft.com/office/drawing/2014/chart" uri="{C3380CC4-5D6E-409C-BE32-E72D297353CC}">
                <c16:uniqueId val="{00000021-999B-42C0-A7D9-A2057CE05A51}"/>
              </c:ext>
            </c:extLst>
          </c:dPt>
          <c:dPt>
            <c:idx val="17"/>
            <c:invertIfNegative val="0"/>
            <c:bubble3D val="0"/>
            <c:spPr>
              <a:solidFill>
                <a:srgbClr val="E6E5E5"/>
              </a:solidFill>
              <a:ln>
                <a:noFill/>
              </a:ln>
              <a:effectLst/>
            </c:spPr>
            <c:extLst>
              <c:ext xmlns:c16="http://schemas.microsoft.com/office/drawing/2014/chart" uri="{C3380CC4-5D6E-409C-BE32-E72D297353CC}">
                <c16:uniqueId val="{00000023-999B-42C0-A7D9-A2057CE05A51}"/>
              </c:ext>
            </c:extLst>
          </c:dPt>
          <c:dPt>
            <c:idx val="18"/>
            <c:invertIfNegative val="1"/>
            <c:bubble3D val="0"/>
            <c:spPr>
              <a:solidFill>
                <a:srgbClr val="E6E5E5"/>
              </a:solidFill>
            </c:spPr>
            <c:extLst>
              <c:ext xmlns:c16="http://schemas.microsoft.com/office/drawing/2014/chart" uri="{C3380CC4-5D6E-409C-BE32-E72D297353CC}">
                <c16:uniqueId val="{00000025-999B-42C0-A7D9-A2057CE05A51}"/>
              </c:ext>
            </c:extLst>
          </c:dPt>
          <c:dPt>
            <c:idx val="19"/>
            <c:invertIfNegative val="1"/>
            <c:bubble3D val="0"/>
            <c:spPr>
              <a:solidFill>
                <a:srgbClr val="E6E5E5"/>
              </a:solidFill>
            </c:spPr>
            <c:extLst>
              <c:ext xmlns:c16="http://schemas.microsoft.com/office/drawing/2014/chart" uri="{C3380CC4-5D6E-409C-BE32-E72D297353CC}">
                <c16:uniqueId val="{00000027-999B-42C0-A7D9-A2057CE05A51}"/>
              </c:ext>
            </c:extLst>
          </c:dPt>
          <c:dPt>
            <c:idx val="20"/>
            <c:invertIfNegative val="1"/>
            <c:bubble3D val="0"/>
            <c:spPr>
              <a:solidFill>
                <a:srgbClr val="E6E5E5"/>
              </a:solidFill>
            </c:spPr>
            <c:extLst>
              <c:ext xmlns:c16="http://schemas.microsoft.com/office/drawing/2014/chart" uri="{C3380CC4-5D6E-409C-BE32-E72D297353CC}">
                <c16:uniqueId val="{00000029-999B-42C0-A7D9-A2057CE05A51}"/>
              </c:ext>
            </c:extLst>
          </c:dPt>
          <c:dPt>
            <c:idx val="21"/>
            <c:invertIfNegative val="1"/>
            <c:bubble3D val="0"/>
            <c:spPr>
              <a:solidFill>
                <a:srgbClr val="E6E5E5"/>
              </a:solidFill>
            </c:spPr>
            <c:extLst>
              <c:ext xmlns:c16="http://schemas.microsoft.com/office/drawing/2014/chart" uri="{C3380CC4-5D6E-409C-BE32-E72D297353CC}">
                <c16:uniqueId val="{0000002B-999B-42C0-A7D9-A2057CE05A51}"/>
              </c:ext>
            </c:extLst>
          </c:dPt>
          <c:dPt>
            <c:idx val="22"/>
            <c:invertIfNegative val="1"/>
            <c:bubble3D val="0"/>
            <c:spPr>
              <a:solidFill>
                <a:srgbClr val="E6E5E5"/>
              </a:solidFill>
            </c:spPr>
            <c:extLst>
              <c:ext xmlns:c16="http://schemas.microsoft.com/office/drawing/2014/chart" uri="{C3380CC4-5D6E-409C-BE32-E72D297353CC}">
                <c16:uniqueId val="{0000002D-999B-42C0-A7D9-A2057CE05A51}"/>
              </c:ext>
            </c:extLst>
          </c:dPt>
          <c:dPt>
            <c:idx val="23"/>
            <c:invertIfNegative val="1"/>
            <c:bubble3D val="0"/>
            <c:spPr>
              <a:solidFill>
                <a:srgbClr val="E6E5E5"/>
              </a:solidFill>
            </c:spPr>
            <c:extLst>
              <c:ext xmlns:c16="http://schemas.microsoft.com/office/drawing/2014/chart" uri="{C3380CC4-5D6E-409C-BE32-E72D297353CC}">
                <c16:uniqueId val="{0000002F-999B-42C0-A7D9-A2057CE05A51}"/>
              </c:ext>
            </c:extLst>
          </c:dPt>
          <c:dPt>
            <c:idx val="24"/>
            <c:invertIfNegative val="1"/>
            <c:bubble3D val="0"/>
            <c:spPr>
              <a:solidFill>
                <a:srgbClr val="E6E5E5"/>
              </a:solidFill>
            </c:spPr>
            <c:extLst>
              <c:ext xmlns:c16="http://schemas.microsoft.com/office/drawing/2014/chart" uri="{C3380CC4-5D6E-409C-BE32-E72D297353CC}">
                <c16:uniqueId val="{00000031-999B-42C0-A7D9-A2057CE05A51}"/>
              </c:ext>
            </c:extLst>
          </c:dPt>
          <c:dPt>
            <c:idx val="25"/>
            <c:invertIfNegative val="1"/>
            <c:bubble3D val="0"/>
            <c:spPr>
              <a:solidFill>
                <a:srgbClr val="E6E5E5"/>
              </a:solidFill>
            </c:spPr>
            <c:extLst>
              <c:ext xmlns:c16="http://schemas.microsoft.com/office/drawing/2014/chart" uri="{C3380CC4-5D6E-409C-BE32-E72D297353CC}">
                <c16:uniqueId val="{00000033-999B-42C0-A7D9-A2057CE05A51}"/>
              </c:ext>
            </c:extLst>
          </c:dPt>
          <c:dPt>
            <c:idx val="26"/>
            <c:invertIfNegative val="1"/>
            <c:bubble3D val="0"/>
            <c:spPr>
              <a:solidFill>
                <a:srgbClr val="E6E5E5"/>
              </a:solidFill>
            </c:spPr>
            <c:extLst>
              <c:ext xmlns:c16="http://schemas.microsoft.com/office/drawing/2014/chart" uri="{C3380CC4-5D6E-409C-BE32-E72D297353CC}">
                <c16:uniqueId val="{00000035-999B-42C0-A7D9-A2057CE05A51}"/>
              </c:ext>
            </c:extLst>
          </c:dPt>
          <c:dPt>
            <c:idx val="27"/>
            <c:invertIfNegative val="1"/>
            <c:bubble3D val="0"/>
            <c:spPr>
              <a:solidFill>
                <a:srgbClr val="E6E5E5"/>
              </a:solidFill>
            </c:spPr>
            <c:extLst>
              <c:ext xmlns:c16="http://schemas.microsoft.com/office/drawing/2014/chart" uri="{C3380CC4-5D6E-409C-BE32-E72D297353CC}">
                <c16:uniqueId val="{00000037-999B-42C0-A7D9-A2057CE05A51}"/>
              </c:ext>
            </c:extLst>
          </c:dPt>
          <c:dPt>
            <c:idx val="28"/>
            <c:invertIfNegative val="1"/>
            <c:bubble3D val="0"/>
            <c:spPr>
              <a:solidFill>
                <a:srgbClr val="E6E5E5"/>
              </a:solidFill>
            </c:spPr>
            <c:extLst>
              <c:ext xmlns:c16="http://schemas.microsoft.com/office/drawing/2014/chart" uri="{C3380CC4-5D6E-409C-BE32-E72D297353CC}">
                <c16:uniqueId val="{00000039-999B-42C0-A7D9-A2057CE05A51}"/>
              </c:ext>
            </c:extLst>
          </c:dPt>
          <c:dPt>
            <c:idx val="29"/>
            <c:invertIfNegative val="1"/>
            <c:bubble3D val="0"/>
            <c:spPr>
              <a:solidFill>
                <a:srgbClr val="E6E5E5"/>
              </a:solidFill>
            </c:spPr>
            <c:extLst>
              <c:ext xmlns:c16="http://schemas.microsoft.com/office/drawing/2014/chart" uri="{C3380CC4-5D6E-409C-BE32-E72D297353CC}">
                <c16:uniqueId val="{0000003B-999B-42C0-A7D9-A2057CE05A51}"/>
              </c:ext>
            </c:extLst>
          </c:dPt>
          <c:dPt>
            <c:idx val="30"/>
            <c:invertIfNegative val="1"/>
            <c:bubble3D val="0"/>
            <c:spPr>
              <a:solidFill>
                <a:srgbClr val="E6E5E5"/>
              </a:solidFill>
            </c:spPr>
            <c:extLst>
              <c:ext xmlns:c16="http://schemas.microsoft.com/office/drawing/2014/chart" uri="{C3380CC4-5D6E-409C-BE32-E72D297353CC}">
                <c16:uniqueId val="{0000003D-999B-42C0-A7D9-A2057CE05A51}"/>
              </c:ext>
            </c:extLst>
          </c:dPt>
          <c:dPt>
            <c:idx val="31"/>
            <c:invertIfNegative val="1"/>
            <c:bubble3D val="0"/>
            <c:spPr>
              <a:solidFill>
                <a:srgbClr val="E6E5E5"/>
              </a:solidFill>
            </c:spPr>
            <c:extLst>
              <c:ext xmlns:c16="http://schemas.microsoft.com/office/drawing/2014/chart" uri="{C3380CC4-5D6E-409C-BE32-E72D297353CC}">
                <c16:uniqueId val="{0000003F-999B-42C0-A7D9-A2057CE05A51}"/>
              </c:ext>
            </c:extLst>
          </c:dPt>
          <c:dPt>
            <c:idx val="32"/>
            <c:invertIfNegative val="0"/>
            <c:bubble3D val="0"/>
            <c:spPr>
              <a:solidFill>
                <a:srgbClr val="E6E5E5"/>
              </a:solidFill>
              <a:ln>
                <a:noFill/>
              </a:ln>
              <a:effectLst/>
            </c:spPr>
            <c:extLst>
              <c:ext xmlns:c16="http://schemas.microsoft.com/office/drawing/2014/chart" uri="{C3380CC4-5D6E-409C-BE32-E72D297353CC}">
                <c16:uniqueId val="{00000041-999B-42C0-A7D9-A2057CE05A51}"/>
              </c:ext>
            </c:extLst>
          </c:dPt>
          <c:dPt>
            <c:idx val="33"/>
            <c:invertIfNegative val="1"/>
            <c:bubble3D val="0"/>
            <c:spPr>
              <a:solidFill>
                <a:srgbClr val="E6E5E5"/>
              </a:solidFill>
            </c:spPr>
            <c:extLst>
              <c:ext xmlns:c16="http://schemas.microsoft.com/office/drawing/2014/chart" uri="{C3380CC4-5D6E-409C-BE32-E72D297353CC}">
                <c16:uniqueId val="{00000043-999B-42C0-A7D9-A2057CE05A51}"/>
              </c:ext>
            </c:extLst>
          </c:dPt>
          <c:dPt>
            <c:idx val="34"/>
            <c:invertIfNegative val="1"/>
            <c:bubble3D val="0"/>
            <c:spPr>
              <a:solidFill>
                <a:srgbClr val="E6E5E5"/>
              </a:solidFill>
            </c:spPr>
            <c:extLst>
              <c:ext xmlns:c16="http://schemas.microsoft.com/office/drawing/2014/chart" uri="{C3380CC4-5D6E-409C-BE32-E72D297353CC}">
                <c16:uniqueId val="{00000045-999B-42C0-A7D9-A2057CE05A51}"/>
              </c:ext>
            </c:extLst>
          </c:dPt>
          <c:dPt>
            <c:idx val="35"/>
            <c:invertIfNegative val="1"/>
            <c:bubble3D val="0"/>
            <c:spPr>
              <a:solidFill>
                <a:srgbClr val="E6E5E5"/>
              </a:solidFill>
            </c:spPr>
            <c:extLst>
              <c:ext xmlns:c16="http://schemas.microsoft.com/office/drawing/2014/chart" uri="{C3380CC4-5D6E-409C-BE32-E72D297353CC}">
                <c16:uniqueId val="{00000047-999B-42C0-A7D9-A2057CE05A51}"/>
              </c:ext>
            </c:extLst>
          </c:dPt>
          <c:dPt>
            <c:idx val="36"/>
            <c:invertIfNegative val="1"/>
            <c:bubble3D val="0"/>
            <c:spPr>
              <a:solidFill>
                <a:srgbClr val="E6E5E5"/>
              </a:solidFill>
            </c:spPr>
            <c:extLst>
              <c:ext xmlns:c16="http://schemas.microsoft.com/office/drawing/2014/chart" uri="{C3380CC4-5D6E-409C-BE32-E72D297353CC}">
                <c16:uniqueId val="{00000049-999B-42C0-A7D9-A2057CE05A51}"/>
              </c:ext>
            </c:extLst>
          </c:dPt>
          <c:dPt>
            <c:idx val="37"/>
            <c:invertIfNegative val="1"/>
            <c:bubble3D val="0"/>
            <c:spPr>
              <a:solidFill>
                <a:srgbClr val="E6E5E5"/>
              </a:solidFill>
            </c:spPr>
            <c:extLst>
              <c:ext xmlns:c16="http://schemas.microsoft.com/office/drawing/2014/chart" uri="{C3380CC4-5D6E-409C-BE32-E72D297353CC}">
                <c16:uniqueId val="{0000004B-999B-42C0-A7D9-A2057CE05A51}"/>
              </c:ext>
            </c:extLst>
          </c:dPt>
          <c:dPt>
            <c:idx val="38"/>
            <c:invertIfNegative val="1"/>
            <c:bubble3D val="0"/>
            <c:spPr>
              <a:solidFill>
                <a:srgbClr val="E6E5E5"/>
              </a:solidFill>
            </c:spPr>
            <c:extLst>
              <c:ext xmlns:c16="http://schemas.microsoft.com/office/drawing/2014/chart" uri="{C3380CC4-5D6E-409C-BE32-E72D297353CC}">
                <c16:uniqueId val="{0000004D-999B-42C0-A7D9-A2057CE05A51}"/>
              </c:ext>
            </c:extLst>
          </c:dPt>
          <c:dPt>
            <c:idx val="39"/>
            <c:invertIfNegative val="1"/>
            <c:bubble3D val="0"/>
            <c:spPr>
              <a:solidFill>
                <a:srgbClr val="E6E5E5"/>
              </a:solidFill>
            </c:spPr>
            <c:extLst>
              <c:ext xmlns:c16="http://schemas.microsoft.com/office/drawing/2014/chart" uri="{C3380CC4-5D6E-409C-BE32-E72D297353CC}">
                <c16:uniqueId val="{0000004F-999B-42C0-A7D9-A2057CE05A51}"/>
              </c:ext>
            </c:extLst>
          </c:dPt>
          <c:dPt>
            <c:idx val="40"/>
            <c:invertIfNegative val="1"/>
            <c:bubble3D val="0"/>
            <c:spPr>
              <a:solidFill>
                <a:srgbClr val="E6E5E5"/>
              </a:solidFill>
            </c:spPr>
            <c:extLst>
              <c:ext xmlns:c16="http://schemas.microsoft.com/office/drawing/2014/chart" uri="{C3380CC4-5D6E-409C-BE32-E72D297353CC}">
                <c16:uniqueId val="{00000051-999B-42C0-A7D9-A2057CE05A51}"/>
              </c:ext>
            </c:extLst>
          </c:dPt>
          <c:dPt>
            <c:idx val="41"/>
            <c:invertIfNegative val="1"/>
            <c:bubble3D val="0"/>
            <c:spPr>
              <a:solidFill>
                <a:srgbClr val="E6E5E5"/>
              </a:solidFill>
            </c:spPr>
            <c:extLst>
              <c:ext xmlns:c16="http://schemas.microsoft.com/office/drawing/2014/chart" uri="{C3380CC4-5D6E-409C-BE32-E72D297353CC}">
                <c16:uniqueId val="{00000053-999B-42C0-A7D9-A2057CE05A51}"/>
              </c:ext>
            </c:extLst>
          </c:dPt>
          <c:dPt>
            <c:idx val="42"/>
            <c:invertIfNegative val="1"/>
            <c:bubble3D val="0"/>
            <c:spPr>
              <a:solidFill>
                <a:srgbClr val="E6E5E5"/>
              </a:solidFill>
            </c:spPr>
            <c:extLst>
              <c:ext xmlns:c16="http://schemas.microsoft.com/office/drawing/2014/chart" uri="{C3380CC4-5D6E-409C-BE32-E72D297353CC}">
                <c16:uniqueId val="{00000055-999B-42C0-A7D9-A2057CE05A51}"/>
              </c:ext>
            </c:extLst>
          </c:dPt>
          <c:dPt>
            <c:idx val="43"/>
            <c:invertIfNegative val="1"/>
            <c:bubble3D val="0"/>
            <c:spPr>
              <a:solidFill>
                <a:srgbClr val="E6E5E5"/>
              </a:solidFill>
            </c:spPr>
            <c:extLst>
              <c:ext xmlns:c16="http://schemas.microsoft.com/office/drawing/2014/chart" uri="{C3380CC4-5D6E-409C-BE32-E72D297353CC}">
                <c16:uniqueId val="{00000057-999B-42C0-A7D9-A2057CE05A51}"/>
              </c:ext>
            </c:extLst>
          </c:dPt>
          <c:dPt>
            <c:idx val="44"/>
            <c:invertIfNegative val="0"/>
            <c:bubble3D val="0"/>
            <c:spPr>
              <a:solidFill>
                <a:srgbClr val="E6E5E5"/>
              </a:solidFill>
              <a:ln>
                <a:noFill/>
              </a:ln>
              <a:effectLst/>
            </c:spPr>
            <c:extLst>
              <c:ext xmlns:c16="http://schemas.microsoft.com/office/drawing/2014/chart" uri="{C3380CC4-5D6E-409C-BE32-E72D297353CC}">
                <c16:uniqueId val="{00000059-999B-42C0-A7D9-A2057CE05A51}"/>
              </c:ext>
            </c:extLst>
          </c:dPt>
          <c:dPt>
            <c:idx val="45"/>
            <c:invertIfNegative val="1"/>
            <c:bubble3D val="0"/>
            <c:spPr>
              <a:solidFill>
                <a:srgbClr val="E6E5E5"/>
              </a:solidFill>
            </c:spPr>
            <c:extLst>
              <c:ext xmlns:c16="http://schemas.microsoft.com/office/drawing/2014/chart" uri="{C3380CC4-5D6E-409C-BE32-E72D297353CC}">
                <c16:uniqueId val="{0000005B-999B-42C0-A7D9-A2057CE05A51}"/>
              </c:ext>
            </c:extLst>
          </c:dPt>
          <c:dPt>
            <c:idx val="46"/>
            <c:invertIfNegative val="1"/>
            <c:bubble3D val="0"/>
            <c:spPr>
              <a:solidFill>
                <a:srgbClr val="E6E5E5"/>
              </a:solidFill>
            </c:spPr>
            <c:extLst>
              <c:ext xmlns:c16="http://schemas.microsoft.com/office/drawing/2014/chart" uri="{C3380CC4-5D6E-409C-BE32-E72D297353CC}">
                <c16:uniqueId val="{0000005D-999B-42C0-A7D9-A2057CE05A51}"/>
              </c:ext>
            </c:extLst>
          </c:dPt>
          <c:dPt>
            <c:idx val="47"/>
            <c:invertIfNegative val="1"/>
            <c:bubble3D val="0"/>
            <c:spPr>
              <a:solidFill>
                <a:srgbClr val="E6E5E5"/>
              </a:solidFill>
            </c:spPr>
            <c:extLst>
              <c:ext xmlns:c16="http://schemas.microsoft.com/office/drawing/2014/chart" uri="{C3380CC4-5D6E-409C-BE32-E72D297353CC}">
                <c16:uniqueId val="{0000005F-999B-42C0-A7D9-A2057CE05A51}"/>
              </c:ext>
            </c:extLst>
          </c:dPt>
          <c:dPt>
            <c:idx val="48"/>
            <c:invertIfNegative val="1"/>
            <c:bubble3D val="0"/>
            <c:spPr>
              <a:solidFill>
                <a:srgbClr val="E6E5E5"/>
              </a:solidFill>
            </c:spPr>
            <c:extLst>
              <c:ext xmlns:c16="http://schemas.microsoft.com/office/drawing/2014/chart" uri="{C3380CC4-5D6E-409C-BE32-E72D297353CC}">
                <c16:uniqueId val="{00000061-999B-42C0-A7D9-A2057CE05A51}"/>
              </c:ext>
            </c:extLst>
          </c:dPt>
          <c:dPt>
            <c:idx val="49"/>
            <c:invertIfNegative val="0"/>
            <c:bubble3D val="0"/>
            <c:spPr>
              <a:solidFill>
                <a:srgbClr val="E6E5E5"/>
              </a:solidFill>
              <a:ln>
                <a:noFill/>
              </a:ln>
              <a:effectLst/>
            </c:spPr>
            <c:extLst>
              <c:ext xmlns:c16="http://schemas.microsoft.com/office/drawing/2014/chart" uri="{C3380CC4-5D6E-409C-BE32-E72D297353CC}">
                <c16:uniqueId val="{00000063-999B-42C0-A7D9-A2057CE05A51}"/>
              </c:ext>
            </c:extLst>
          </c:dPt>
          <c:dPt>
            <c:idx val="50"/>
            <c:invertIfNegative val="0"/>
            <c:bubble3D val="0"/>
            <c:spPr>
              <a:solidFill>
                <a:srgbClr val="E6E5E5"/>
              </a:solidFill>
              <a:ln>
                <a:noFill/>
              </a:ln>
              <a:effectLst/>
            </c:spPr>
            <c:extLst>
              <c:ext xmlns:c16="http://schemas.microsoft.com/office/drawing/2014/chart" uri="{C3380CC4-5D6E-409C-BE32-E72D297353CC}">
                <c16:uniqueId val="{00000065-999B-42C0-A7D9-A2057CE05A51}"/>
              </c:ext>
            </c:extLst>
          </c:dPt>
          <c:dPt>
            <c:idx val="51"/>
            <c:invertIfNegative val="1"/>
            <c:bubble3D val="0"/>
            <c:spPr>
              <a:solidFill>
                <a:srgbClr val="E6E5E5"/>
              </a:solidFill>
            </c:spPr>
            <c:extLst>
              <c:ext xmlns:c16="http://schemas.microsoft.com/office/drawing/2014/chart" uri="{C3380CC4-5D6E-409C-BE32-E72D297353CC}">
                <c16:uniqueId val="{00000067-999B-42C0-A7D9-A2057CE05A51}"/>
              </c:ext>
            </c:extLst>
          </c:dPt>
          <c:dPt>
            <c:idx val="52"/>
            <c:invertIfNegative val="1"/>
            <c:bubble3D val="0"/>
            <c:spPr>
              <a:solidFill>
                <a:srgbClr val="E6E5E5"/>
              </a:solidFill>
            </c:spPr>
            <c:extLst>
              <c:ext xmlns:c16="http://schemas.microsoft.com/office/drawing/2014/chart" uri="{C3380CC4-5D6E-409C-BE32-E72D297353CC}">
                <c16:uniqueId val="{00000069-999B-42C0-A7D9-A2057CE05A51}"/>
              </c:ext>
            </c:extLst>
          </c:dPt>
          <c:dPt>
            <c:idx val="53"/>
            <c:invertIfNegative val="1"/>
            <c:bubble3D val="0"/>
            <c:spPr>
              <a:solidFill>
                <a:srgbClr val="E6E5E5"/>
              </a:solidFill>
            </c:spPr>
            <c:extLst>
              <c:ext xmlns:c16="http://schemas.microsoft.com/office/drawing/2014/chart" uri="{C3380CC4-5D6E-409C-BE32-E72D297353CC}">
                <c16:uniqueId val="{0000006B-999B-42C0-A7D9-A2057CE05A51}"/>
              </c:ext>
            </c:extLst>
          </c:dPt>
          <c:dPt>
            <c:idx val="54"/>
            <c:invertIfNegative val="1"/>
            <c:bubble3D val="0"/>
            <c:spPr>
              <a:solidFill>
                <a:srgbClr val="E6E5E5"/>
              </a:solidFill>
            </c:spPr>
            <c:extLst>
              <c:ext xmlns:c16="http://schemas.microsoft.com/office/drawing/2014/chart" uri="{C3380CC4-5D6E-409C-BE32-E72D297353CC}">
                <c16:uniqueId val="{0000006D-999B-42C0-A7D9-A2057CE05A51}"/>
              </c:ext>
            </c:extLst>
          </c:dPt>
          <c:dPt>
            <c:idx val="55"/>
            <c:invertIfNegative val="1"/>
            <c:bubble3D val="0"/>
            <c:spPr>
              <a:solidFill>
                <a:srgbClr val="E6E5E5"/>
              </a:solidFill>
            </c:spPr>
            <c:extLst>
              <c:ext xmlns:c16="http://schemas.microsoft.com/office/drawing/2014/chart" uri="{C3380CC4-5D6E-409C-BE32-E72D297353CC}">
                <c16:uniqueId val="{0000006F-999B-42C0-A7D9-A2057CE05A51}"/>
              </c:ext>
            </c:extLst>
          </c:dPt>
          <c:dPt>
            <c:idx val="56"/>
            <c:invertIfNegative val="1"/>
            <c:bubble3D val="0"/>
            <c:spPr>
              <a:solidFill>
                <a:srgbClr val="E6E5E5"/>
              </a:solidFill>
            </c:spPr>
            <c:extLst>
              <c:ext xmlns:c16="http://schemas.microsoft.com/office/drawing/2014/chart" uri="{C3380CC4-5D6E-409C-BE32-E72D297353CC}">
                <c16:uniqueId val="{00000071-999B-42C0-A7D9-A2057CE05A51}"/>
              </c:ext>
            </c:extLst>
          </c:dPt>
          <c:dPt>
            <c:idx val="57"/>
            <c:invertIfNegative val="1"/>
            <c:bubble3D val="0"/>
            <c:spPr>
              <a:solidFill>
                <a:srgbClr val="E6E5E5"/>
              </a:solidFill>
            </c:spPr>
            <c:extLst>
              <c:ext xmlns:c16="http://schemas.microsoft.com/office/drawing/2014/chart" uri="{C3380CC4-5D6E-409C-BE32-E72D297353CC}">
                <c16:uniqueId val="{00000073-999B-42C0-A7D9-A2057CE05A51}"/>
              </c:ext>
            </c:extLst>
          </c:dPt>
          <c:dPt>
            <c:idx val="58"/>
            <c:invertIfNegative val="1"/>
            <c:bubble3D val="0"/>
            <c:spPr>
              <a:solidFill>
                <a:srgbClr val="E6E5E5"/>
              </a:solidFill>
            </c:spPr>
            <c:extLst>
              <c:ext xmlns:c16="http://schemas.microsoft.com/office/drawing/2014/chart" uri="{C3380CC4-5D6E-409C-BE32-E72D297353CC}">
                <c16:uniqueId val="{00000075-999B-42C0-A7D9-A2057CE05A51}"/>
              </c:ext>
            </c:extLst>
          </c:dPt>
          <c:dPt>
            <c:idx val="59"/>
            <c:invertIfNegative val="1"/>
            <c:bubble3D val="0"/>
            <c:spPr>
              <a:solidFill>
                <a:srgbClr val="E6E5E5"/>
              </a:solidFill>
            </c:spPr>
            <c:extLst>
              <c:ext xmlns:c16="http://schemas.microsoft.com/office/drawing/2014/chart" uri="{C3380CC4-5D6E-409C-BE32-E72D297353CC}">
                <c16:uniqueId val="{00000077-999B-42C0-A7D9-A2057CE05A51}"/>
              </c:ext>
            </c:extLst>
          </c:dPt>
          <c:dPt>
            <c:idx val="60"/>
            <c:invertIfNegative val="1"/>
            <c:bubble3D val="0"/>
            <c:spPr>
              <a:solidFill>
                <a:srgbClr val="E6E5E5"/>
              </a:solidFill>
            </c:spPr>
            <c:extLst>
              <c:ext xmlns:c16="http://schemas.microsoft.com/office/drawing/2014/chart" uri="{C3380CC4-5D6E-409C-BE32-E72D297353CC}">
                <c16:uniqueId val="{00000079-999B-42C0-A7D9-A2057CE05A51}"/>
              </c:ext>
            </c:extLst>
          </c:dPt>
          <c:dPt>
            <c:idx val="61"/>
            <c:invertIfNegative val="1"/>
            <c:bubble3D val="0"/>
            <c:spPr>
              <a:solidFill>
                <a:srgbClr val="E6E5E5"/>
              </a:solidFill>
            </c:spPr>
            <c:extLst>
              <c:ext xmlns:c16="http://schemas.microsoft.com/office/drawing/2014/chart" uri="{C3380CC4-5D6E-409C-BE32-E72D297353CC}">
                <c16:uniqueId val="{0000007B-999B-42C0-A7D9-A2057CE05A51}"/>
              </c:ext>
            </c:extLst>
          </c:dPt>
          <c:dPt>
            <c:idx val="62"/>
            <c:invertIfNegative val="1"/>
            <c:bubble3D val="0"/>
            <c:spPr>
              <a:solidFill>
                <a:srgbClr val="E6E5E5"/>
              </a:solidFill>
            </c:spPr>
            <c:extLst>
              <c:ext xmlns:c16="http://schemas.microsoft.com/office/drawing/2014/chart" uri="{C3380CC4-5D6E-409C-BE32-E72D297353CC}">
                <c16:uniqueId val="{0000007D-999B-42C0-A7D9-A2057CE05A51}"/>
              </c:ext>
            </c:extLst>
          </c:dPt>
          <c:dPt>
            <c:idx val="63"/>
            <c:invertIfNegative val="1"/>
            <c:bubble3D val="0"/>
            <c:spPr>
              <a:solidFill>
                <a:srgbClr val="E6E5E5"/>
              </a:solidFill>
            </c:spPr>
            <c:extLst>
              <c:ext xmlns:c16="http://schemas.microsoft.com/office/drawing/2014/chart" uri="{C3380CC4-5D6E-409C-BE32-E72D297353CC}">
                <c16:uniqueId val="{0000007F-999B-42C0-A7D9-A2057CE05A51}"/>
              </c:ext>
            </c:extLst>
          </c:dPt>
          <c:dPt>
            <c:idx val="64"/>
            <c:invertIfNegative val="1"/>
            <c:bubble3D val="0"/>
            <c:spPr>
              <a:solidFill>
                <a:srgbClr val="E6E5E5"/>
              </a:solidFill>
            </c:spPr>
            <c:extLst>
              <c:ext xmlns:c16="http://schemas.microsoft.com/office/drawing/2014/chart" uri="{C3380CC4-5D6E-409C-BE32-E72D297353CC}">
                <c16:uniqueId val="{00000081-999B-42C0-A7D9-A2057CE05A51}"/>
              </c:ext>
            </c:extLst>
          </c:dPt>
          <c:dPt>
            <c:idx val="65"/>
            <c:invertIfNegative val="1"/>
            <c:bubble3D val="0"/>
            <c:spPr>
              <a:solidFill>
                <a:srgbClr val="E6E5E5"/>
              </a:solidFill>
            </c:spPr>
            <c:extLst>
              <c:ext xmlns:c16="http://schemas.microsoft.com/office/drawing/2014/chart" uri="{C3380CC4-5D6E-409C-BE32-E72D297353CC}">
                <c16:uniqueId val="{00000083-999B-42C0-A7D9-A2057CE05A51}"/>
              </c:ext>
            </c:extLst>
          </c:dPt>
          <c:dPt>
            <c:idx val="66"/>
            <c:invertIfNegative val="1"/>
            <c:bubble3D val="0"/>
            <c:spPr>
              <a:solidFill>
                <a:srgbClr val="E6E5E5"/>
              </a:solidFill>
            </c:spPr>
            <c:extLst>
              <c:ext xmlns:c16="http://schemas.microsoft.com/office/drawing/2014/chart" uri="{C3380CC4-5D6E-409C-BE32-E72D297353CC}">
                <c16:uniqueId val="{00000085-999B-42C0-A7D9-A2057CE05A51}"/>
              </c:ext>
            </c:extLst>
          </c:dPt>
          <c:dPt>
            <c:idx val="67"/>
            <c:invertIfNegative val="1"/>
            <c:bubble3D val="0"/>
            <c:spPr>
              <a:solidFill>
                <a:srgbClr val="E6E5E5"/>
              </a:solidFill>
            </c:spPr>
            <c:extLst>
              <c:ext xmlns:c16="http://schemas.microsoft.com/office/drawing/2014/chart" uri="{C3380CC4-5D6E-409C-BE32-E72D297353CC}">
                <c16:uniqueId val="{00000087-999B-42C0-A7D9-A2057CE05A51}"/>
              </c:ext>
            </c:extLst>
          </c:dPt>
          <c:dPt>
            <c:idx val="68"/>
            <c:invertIfNegative val="1"/>
            <c:bubble3D val="0"/>
            <c:spPr>
              <a:solidFill>
                <a:srgbClr val="E6E5E5"/>
              </a:solidFill>
            </c:spPr>
            <c:extLst>
              <c:ext xmlns:c16="http://schemas.microsoft.com/office/drawing/2014/chart" uri="{C3380CC4-5D6E-409C-BE32-E72D297353CC}">
                <c16:uniqueId val="{00000089-999B-42C0-A7D9-A2057CE05A51}"/>
              </c:ext>
            </c:extLst>
          </c:dPt>
          <c:dPt>
            <c:idx val="69"/>
            <c:invertIfNegative val="1"/>
            <c:bubble3D val="0"/>
            <c:spPr>
              <a:solidFill>
                <a:srgbClr val="E6E5E5"/>
              </a:solidFill>
            </c:spPr>
            <c:extLst>
              <c:ext xmlns:c16="http://schemas.microsoft.com/office/drawing/2014/chart" uri="{C3380CC4-5D6E-409C-BE32-E72D297353CC}">
                <c16:uniqueId val="{0000008B-999B-42C0-A7D9-A2057CE05A51}"/>
              </c:ext>
            </c:extLst>
          </c:dPt>
          <c:dPt>
            <c:idx val="70"/>
            <c:invertIfNegative val="1"/>
            <c:bubble3D val="0"/>
            <c:spPr>
              <a:solidFill>
                <a:srgbClr val="E6E5E5"/>
              </a:solidFill>
            </c:spPr>
            <c:extLst>
              <c:ext xmlns:c16="http://schemas.microsoft.com/office/drawing/2014/chart" uri="{C3380CC4-5D6E-409C-BE32-E72D297353CC}">
                <c16:uniqueId val="{0000008D-999B-42C0-A7D9-A2057CE05A51}"/>
              </c:ext>
            </c:extLst>
          </c:dPt>
          <c:dPt>
            <c:idx val="71"/>
            <c:invertIfNegative val="1"/>
            <c:bubble3D val="0"/>
            <c:spPr>
              <a:solidFill>
                <a:srgbClr val="E6E5E5"/>
              </a:solidFill>
            </c:spPr>
            <c:extLst>
              <c:ext xmlns:c16="http://schemas.microsoft.com/office/drawing/2014/chart" uri="{C3380CC4-5D6E-409C-BE32-E72D297353CC}">
                <c16:uniqueId val="{0000008F-999B-42C0-A7D9-A2057CE05A51}"/>
              </c:ext>
            </c:extLst>
          </c:dPt>
          <c:dPt>
            <c:idx val="72"/>
            <c:invertIfNegative val="1"/>
            <c:bubble3D val="0"/>
            <c:spPr>
              <a:solidFill>
                <a:srgbClr val="E6E5E5"/>
              </a:solidFill>
            </c:spPr>
            <c:extLst>
              <c:ext xmlns:c16="http://schemas.microsoft.com/office/drawing/2014/chart" uri="{C3380CC4-5D6E-409C-BE32-E72D297353CC}">
                <c16:uniqueId val="{00000091-999B-42C0-A7D9-A2057CE05A51}"/>
              </c:ext>
            </c:extLst>
          </c:dPt>
          <c:dPt>
            <c:idx val="73"/>
            <c:invertIfNegative val="1"/>
            <c:bubble3D val="0"/>
            <c:spPr>
              <a:solidFill>
                <a:srgbClr val="E6E5E5"/>
              </a:solidFill>
            </c:spPr>
            <c:extLst>
              <c:ext xmlns:c16="http://schemas.microsoft.com/office/drawing/2014/chart" uri="{C3380CC4-5D6E-409C-BE32-E72D297353CC}">
                <c16:uniqueId val="{00000093-999B-42C0-A7D9-A2057CE05A51}"/>
              </c:ext>
            </c:extLst>
          </c:dPt>
          <c:dPt>
            <c:idx val="74"/>
            <c:invertIfNegative val="1"/>
            <c:bubble3D val="0"/>
            <c:spPr>
              <a:solidFill>
                <a:srgbClr val="E6E5E5"/>
              </a:solidFill>
            </c:spPr>
            <c:extLst>
              <c:ext xmlns:c16="http://schemas.microsoft.com/office/drawing/2014/chart" uri="{C3380CC4-5D6E-409C-BE32-E72D297353CC}">
                <c16:uniqueId val="{00000095-999B-42C0-A7D9-A2057CE05A51}"/>
              </c:ext>
            </c:extLst>
          </c:dPt>
          <c:dPt>
            <c:idx val="75"/>
            <c:invertIfNegative val="1"/>
            <c:bubble3D val="0"/>
            <c:spPr>
              <a:solidFill>
                <a:srgbClr val="E6E5E5"/>
              </a:solidFill>
            </c:spPr>
            <c:extLst>
              <c:ext xmlns:c16="http://schemas.microsoft.com/office/drawing/2014/chart" uri="{C3380CC4-5D6E-409C-BE32-E72D297353CC}">
                <c16:uniqueId val="{00000097-999B-42C0-A7D9-A2057CE05A51}"/>
              </c:ext>
            </c:extLst>
          </c:dPt>
          <c:dPt>
            <c:idx val="76"/>
            <c:invertIfNegative val="1"/>
            <c:bubble3D val="0"/>
            <c:spPr>
              <a:solidFill>
                <a:srgbClr val="E6E5E5"/>
              </a:solidFill>
            </c:spPr>
            <c:extLst>
              <c:ext xmlns:c16="http://schemas.microsoft.com/office/drawing/2014/chart" uri="{C3380CC4-5D6E-409C-BE32-E72D297353CC}">
                <c16:uniqueId val="{00000099-999B-42C0-A7D9-A2057CE05A51}"/>
              </c:ext>
            </c:extLst>
          </c:dPt>
          <c:dPt>
            <c:idx val="77"/>
            <c:invertIfNegative val="1"/>
            <c:bubble3D val="0"/>
            <c:spPr>
              <a:solidFill>
                <a:srgbClr val="E6E5E5"/>
              </a:solidFill>
            </c:spPr>
            <c:extLst>
              <c:ext xmlns:c16="http://schemas.microsoft.com/office/drawing/2014/chart" uri="{C3380CC4-5D6E-409C-BE32-E72D297353CC}">
                <c16:uniqueId val="{0000009B-999B-42C0-A7D9-A2057CE05A51}"/>
              </c:ext>
            </c:extLst>
          </c:dPt>
          <c:dPt>
            <c:idx val="78"/>
            <c:invertIfNegative val="1"/>
            <c:bubble3D val="0"/>
            <c:spPr>
              <a:solidFill>
                <a:srgbClr val="E6E5E5"/>
              </a:solidFill>
            </c:spPr>
            <c:extLst>
              <c:ext xmlns:c16="http://schemas.microsoft.com/office/drawing/2014/chart" uri="{C3380CC4-5D6E-409C-BE32-E72D297353CC}">
                <c16:uniqueId val="{0000009D-999B-42C0-A7D9-A2057CE05A51}"/>
              </c:ext>
            </c:extLst>
          </c:dPt>
          <c:dPt>
            <c:idx val="79"/>
            <c:invertIfNegative val="1"/>
            <c:bubble3D val="0"/>
            <c:spPr>
              <a:solidFill>
                <a:srgbClr val="E6E5E5"/>
              </a:solidFill>
            </c:spPr>
            <c:extLst>
              <c:ext xmlns:c16="http://schemas.microsoft.com/office/drawing/2014/chart" uri="{C3380CC4-5D6E-409C-BE32-E72D297353CC}">
                <c16:uniqueId val="{0000009F-999B-42C0-A7D9-A2057CE05A51}"/>
              </c:ext>
            </c:extLst>
          </c:dPt>
          <c:dPt>
            <c:idx val="80"/>
            <c:invertIfNegative val="1"/>
            <c:bubble3D val="0"/>
            <c:spPr>
              <a:solidFill>
                <a:srgbClr val="E6E5E5"/>
              </a:solidFill>
            </c:spPr>
            <c:extLst>
              <c:ext xmlns:c16="http://schemas.microsoft.com/office/drawing/2014/chart" uri="{C3380CC4-5D6E-409C-BE32-E72D297353CC}">
                <c16:uniqueId val="{000000A1-999B-42C0-A7D9-A2057CE05A51}"/>
              </c:ext>
            </c:extLst>
          </c:dPt>
          <c:dPt>
            <c:idx val="81"/>
            <c:invertIfNegative val="1"/>
            <c:bubble3D val="0"/>
            <c:spPr>
              <a:solidFill>
                <a:srgbClr val="E6E5E5"/>
              </a:solidFill>
            </c:spPr>
            <c:extLst>
              <c:ext xmlns:c16="http://schemas.microsoft.com/office/drawing/2014/chart" uri="{C3380CC4-5D6E-409C-BE32-E72D297353CC}">
                <c16:uniqueId val="{000000A3-999B-42C0-A7D9-A2057CE05A51}"/>
              </c:ext>
            </c:extLst>
          </c:dPt>
          <c:dPt>
            <c:idx val="82"/>
            <c:invertIfNegative val="1"/>
            <c:bubble3D val="0"/>
            <c:spPr>
              <a:solidFill>
                <a:srgbClr val="E6E5E5"/>
              </a:solidFill>
            </c:spPr>
            <c:extLst>
              <c:ext xmlns:c16="http://schemas.microsoft.com/office/drawing/2014/chart" uri="{C3380CC4-5D6E-409C-BE32-E72D297353CC}">
                <c16:uniqueId val="{000000A5-999B-42C0-A7D9-A2057CE05A51}"/>
              </c:ext>
            </c:extLst>
          </c:dPt>
          <c:dPt>
            <c:idx val="83"/>
            <c:invertIfNegative val="1"/>
            <c:bubble3D val="0"/>
            <c:spPr>
              <a:solidFill>
                <a:srgbClr val="E6E5E5"/>
              </a:solidFill>
            </c:spPr>
            <c:extLst>
              <c:ext xmlns:c16="http://schemas.microsoft.com/office/drawing/2014/chart" uri="{C3380CC4-5D6E-409C-BE32-E72D297353CC}">
                <c16:uniqueId val="{000000A7-999B-42C0-A7D9-A2057CE05A51}"/>
              </c:ext>
            </c:extLst>
          </c:dPt>
          <c:dPt>
            <c:idx val="84"/>
            <c:invertIfNegative val="1"/>
            <c:bubble3D val="0"/>
            <c:spPr>
              <a:solidFill>
                <a:srgbClr val="E6E5E5"/>
              </a:solidFill>
            </c:spPr>
            <c:extLst>
              <c:ext xmlns:c16="http://schemas.microsoft.com/office/drawing/2014/chart" uri="{C3380CC4-5D6E-409C-BE32-E72D297353CC}">
                <c16:uniqueId val="{000000A9-999B-42C0-A7D9-A2057CE05A51}"/>
              </c:ext>
            </c:extLst>
          </c:dPt>
          <c:dPt>
            <c:idx val="85"/>
            <c:invertIfNegative val="1"/>
            <c:bubble3D val="0"/>
            <c:spPr>
              <a:solidFill>
                <a:srgbClr val="E6E5E5"/>
              </a:solidFill>
            </c:spPr>
            <c:extLst>
              <c:ext xmlns:c16="http://schemas.microsoft.com/office/drawing/2014/chart" uri="{C3380CC4-5D6E-409C-BE32-E72D297353CC}">
                <c16:uniqueId val="{000000AB-999B-42C0-A7D9-A2057CE05A51}"/>
              </c:ext>
            </c:extLst>
          </c:dPt>
          <c:dPt>
            <c:idx val="86"/>
            <c:invertIfNegative val="1"/>
            <c:bubble3D val="0"/>
            <c:spPr>
              <a:solidFill>
                <a:srgbClr val="E6E5E5"/>
              </a:solidFill>
            </c:spPr>
            <c:extLst>
              <c:ext xmlns:c16="http://schemas.microsoft.com/office/drawing/2014/chart" uri="{C3380CC4-5D6E-409C-BE32-E72D297353CC}">
                <c16:uniqueId val="{000000AD-999B-42C0-A7D9-A2057CE05A51}"/>
              </c:ext>
            </c:extLst>
          </c:dPt>
          <c:dPt>
            <c:idx val="87"/>
            <c:invertIfNegative val="1"/>
            <c:bubble3D val="0"/>
            <c:spPr>
              <a:solidFill>
                <a:srgbClr val="E6E5E5"/>
              </a:solidFill>
            </c:spPr>
            <c:extLst>
              <c:ext xmlns:c16="http://schemas.microsoft.com/office/drawing/2014/chart" uri="{C3380CC4-5D6E-409C-BE32-E72D297353CC}">
                <c16:uniqueId val="{000000AF-999B-42C0-A7D9-A2057CE05A51}"/>
              </c:ext>
            </c:extLst>
          </c:dPt>
          <c:dPt>
            <c:idx val="88"/>
            <c:invertIfNegative val="1"/>
            <c:bubble3D val="0"/>
            <c:spPr>
              <a:solidFill>
                <a:srgbClr val="E6E5E5"/>
              </a:solidFill>
            </c:spPr>
            <c:extLst>
              <c:ext xmlns:c16="http://schemas.microsoft.com/office/drawing/2014/chart" uri="{C3380CC4-5D6E-409C-BE32-E72D297353CC}">
                <c16:uniqueId val="{000000B1-999B-42C0-A7D9-A2057CE05A51}"/>
              </c:ext>
            </c:extLst>
          </c:dPt>
          <c:dPt>
            <c:idx val="89"/>
            <c:invertIfNegative val="1"/>
            <c:bubble3D val="0"/>
            <c:spPr>
              <a:solidFill>
                <a:srgbClr val="E6E5E5"/>
              </a:solidFill>
            </c:spPr>
            <c:extLst>
              <c:ext xmlns:c16="http://schemas.microsoft.com/office/drawing/2014/chart" uri="{C3380CC4-5D6E-409C-BE32-E72D297353CC}">
                <c16:uniqueId val="{000000B3-999B-42C0-A7D9-A2057CE05A51}"/>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999B-42C0-A7D9-A2057CE05A51}"/>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999B-42C0-A7D9-A2057CE05A51}"/>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999B-42C0-A7D9-A2057CE05A51}"/>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999B-42C0-A7D9-A2057CE05A51}"/>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999B-42C0-A7D9-A2057CE05A51}"/>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999B-42C0-A7D9-A2057CE05A51}"/>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999B-42C0-A7D9-A2057CE05A51}"/>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999B-42C0-A7D9-A2057CE05A51}"/>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999B-42C0-A7D9-A2057CE05A51}"/>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99B-42C0-A7D9-A2057CE05A51}"/>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99B-42C0-A7D9-A2057CE05A51}"/>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999B-42C0-A7D9-A2057CE05A51}"/>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999B-42C0-A7D9-A2057CE05A51}"/>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999B-42C0-A7D9-A2057CE05A51}"/>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999B-42C0-A7D9-A2057CE05A51}"/>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999B-42C0-A7D9-A2057CE05A51}"/>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999B-42C0-A7D9-A2057CE05A51}"/>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999B-42C0-A7D9-A2057CE05A51}"/>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999B-42C0-A7D9-A2057CE05A51}"/>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999B-42C0-A7D9-A2057CE05A51}"/>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999B-42C0-A7D9-A2057CE05A51}"/>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999B-42C0-A7D9-A2057CE05A51}"/>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999B-42C0-A7D9-A2057CE05A51}"/>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999B-42C0-A7D9-A2057CE05A51}"/>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999B-42C0-A7D9-A2057CE05A51}"/>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999B-42C0-A7D9-A2057CE05A51}"/>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999B-42C0-A7D9-A2057CE05A51}"/>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999B-42C0-A7D9-A2057CE05A51}"/>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999B-42C0-A7D9-A2057CE05A51}"/>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999B-42C0-A7D9-A2057CE05A51}"/>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999B-42C0-A7D9-A2057CE05A51}"/>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999B-42C0-A7D9-A2057CE05A51}"/>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999B-42C0-A7D9-A2057CE05A51}"/>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999B-42C0-A7D9-A2057CE05A51}"/>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999B-42C0-A7D9-A2057CE05A51}"/>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999B-42C0-A7D9-A2057CE05A51}"/>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999B-42C0-A7D9-A2057CE05A51}"/>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999B-42C0-A7D9-A2057CE05A51}"/>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999B-42C0-A7D9-A2057CE05A51}"/>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999B-42C0-A7D9-A2057CE05A51}"/>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999B-42C0-A7D9-A2057CE05A51}"/>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999B-42C0-A7D9-A2057CE05A51}"/>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999B-42C0-A7D9-A2057CE05A51}"/>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999B-42C0-A7D9-A2057CE05A51}"/>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999B-42C0-A7D9-A2057CE05A51}"/>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999B-42C0-A7D9-A2057CE05A51}"/>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999B-42C0-A7D9-A2057CE05A51}"/>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999B-42C0-A7D9-A2057CE05A51}"/>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999B-42C0-A7D9-A2057CE05A51}"/>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999B-42C0-A7D9-A2057CE05A51}"/>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999B-42C0-A7D9-A2057CE05A51}"/>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999B-42C0-A7D9-A2057CE05A51}"/>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999B-42C0-A7D9-A2057CE05A51}"/>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999B-42C0-A7D9-A2057CE05A51}"/>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999B-42C0-A7D9-A2057CE05A51}"/>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999B-42C0-A7D9-A2057CE05A51}"/>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999B-42C0-A7D9-A2057CE05A51}"/>
                </c:ext>
              </c:extLst>
            </c:dLbl>
            <c:dLbl>
              <c:idx val="5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999B-42C0-A7D9-A2057CE05A51}"/>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999B-42C0-A7D9-A2057CE05A51}"/>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999B-42C0-A7D9-A2057CE05A51}"/>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999B-42C0-A7D9-A2057CE05A51}"/>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999B-42C0-A7D9-A2057CE05A51}"/>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999B-42C0-A7D9-A2057CE05A51}"/>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999B-42C0-A7D9-A2057CE05A51}"/>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999B-42C0-A7D9-A2057CE05A51}"/>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999B-42C0-A7D9-A2057CE05A51}"/>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999B-42C0-A7D9-A2057CE05A51}"/>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999B-42C0-A7D9-A2057CE05A51}"/>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999B-42C0-A7D9-A2057CE05A51}"/>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999B-42C0-A7D9-A2057CE05A51}"/>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999B-42C0-A7D9-A2057CE05A51}"/>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999B-42C0-A7D9-A2057CE05A51}"/>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999B-42C0-A7D9-A2057CE05A51}"/>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999B-42C0-A7D9-A2057CE05A51}"/>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999B-42C0-A7D9-A2057CE05A51}"/>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999B-42C0-A7D9-A2057CE05A51}"/>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999B-42C0-A7D9-A2057CE05A51}"/>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999B-42C0-A7D9-A2057CE05A51}"/>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999B-42C0-A7D9-A2057CE05A51}"/>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999B-42C0-A7D9-A2057CE05A51}"/>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999B-42C0-A7D9-A2057CE05A51}"/>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999B-42C0-A7D9-A2057CE05A51}"/>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999B-42C0-A7D9-A2057CE05A51}"/>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999B-42C0-A7D9-A2057CE05A51}"/>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999B-42C0-A7D9-A2057CE05A51}"/>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999B-42C0-A7D9-A2057CE05A51}"/>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999B-42C0-A7D9-A2057CE05A51}"/>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999B-42C0-A7D9-A2057CE05A51}"/>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999B-42C0-A7D9-A2057CE05A51}"/>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9</c:f>
              <c:strCache>
                <c:ptCount val="78"/>
                <c:pt idx="0">
                  <c:v>Galaxy Jewels 1.4kg</c:v>
                </c:pt>
                <c:pt idx="1">
                  <c:v>Ferrero Rocher 300g</c:v>
                </c:pt>
                <c:pt idx="2">
                  <c:v>Galaxy Smooth Milk Chocolate 36g x 24</c:v>
                </c:pt>
                <c:pt idx="3">
                  <c:v>Galaxy Jewels 900g</c:v>
                </c:pt>
                <c:pt idx="4">
                  <c:v>Galaxy Jewels 650g</c:v>
                </c:pt>
                <c:pt idx="5">
                  <c:v>Cadbury Dairy Milk Minis Selection 500g</c:v>
                </c:pt>
                <c:pt idx="6">
                  <c:v>Kit Kat 17.7g x 18</c:v>
                </c:pt>
                <c:pt idx="7">
                  <c:v>Kinder Bueno Milk&amp;Hazelnut 43g</c:v>
                </c:pt>
                <c:pt idx="8">
                  <c:v>Tiffany Break Supa 38gx12</c:v>
                </c:pt>
                <c:pt idx="9">
                  <c:v>Snickers 50gx6</c:v>
                </c:pt>
                <c:pt idx="10">
                  <c:v>Tiffany Break 24x15.5g</c:v>
                </c:pt>
                <c:pt idx="11">
                  <c:v>Tiffany Break Mini Fun 384g</c:v>
                </c:pt>
                <c:pt idx="12">
                  <c:v>Kinder Bueno Milk&amp;Hazelnut 43gx10</c:v>
                </c:pt>
                <c:pt idx="13">
                  <c:v>Mackintosh Quality Street Chocolate 600g</c:v>
                </c:pt>
                <c:pt idx="14">
                  <c:v>Snickers Bar 50g</c:v>
                </c:pt>
                <c:pt idx="15">
                  <c:v>Maltesers Chocolate 175g</c:v>
                </c:pt>
                <c:pt idx="16">
                  <c:v>Tiffany Break 31gx12</c:v>
                </c:pt>
                <c:pt idx="17">
                  <c:v>Tiffany Break Delight 25gx12</c:v>
                </c:pt>
                <c:pt idx="18">
                  <c:v>Snickers Minis Bag 252g</c:v>
                </c:pt>
                <c:pt idx="19">
                  <c:v>Cadbury Miniatures Box 400g</c:v>
                </c:pt>
                <c:pt idx="20">
                  <c:v>Bounty Bar 57g</c:v>
                </c:pt>
                <c:pt idx="21">
                  <c:v>Galaxy Smooth Milk Minis 237.5g</c:v>
                </c:pt>
                <c:pt idx="22">
                  <c:v>Bounty Bar 57g x 5</c:v>
                </c:pt>
                <c:pt idx="23">
                  <c:v>Kinder Maxi Chocolate 21gx11 (10+1)</c:v>
                </c:pt>
                <c:pt idx="24">
                  <c:v>Ferrero Rocher 200g</c:v>
                </c:pt>
                <c:pt idx="25">
                  <c:v>Ferrero Raffaello 150g box </c:v>
                </c:pt>
                <c:pt idx="26">
                  <c:v>Galaxy Hazelnut Minis 237.5g</c:v>
                </c:pt>
                <c:pt idx="27">
                  <c:v>Twix 50gx5</c:v>
                </c:pt>
                <c:pt idx="28">
                  <c:v>Twix Bar 50g</c:v>
                </c:pt>
                <c:pt idx="29">
                  <c:v>Maltesers Chocolate 37g</c:v>
                </c:pt>
                <c:pt idx="30">
                  <c:v>Snickers Miniatures 150g</c:v>
                </c:pt>
                <c:pt idx="31">
                  <c:v>Cadbury Flake Minis Bag 159.5g</c:v>
                </c:pt>
                <c:pt idx="32">
                  <c:v>M&amp;M's Peanut 165g</c:v>
                </c:pt>
                <c:pt idx="33">
                  <c:v>Twix Miniatures 150g</c:v>
                </c:pt>
                <c:pt idx="34">
                  <c:v>Cadbury Timeout Minis Wafer 247.2g</c:v>
                </c:pt>
                <c:pt idx="35">
                  <c:v>Toblerone Milk Chocolate 200g</c:v>
                </c:pt>
                <c:pt idx="36">
                  <c:v>Galaxy Smooth Milk Minis 162.5g</c:v>
                </c:pt>
                <c:pt idx="37">
                  <c:v>Mars 45g x 6</c:v>
                </c:pt>
                <c:pt idx="38">
                  <c:v>Bounty Miniatures 150g</c:v>
                </c:pt>
                <c:pt idx="39">
                  <c:v>Kinder Chocolate Bar 8x12.5g</c:v>
                </c:pt>
                <c:pt idx="40">
                  <c:v>Galaxy Smooth Dark Chocolate 40g</c:v>
                </c:pt>
                <c:pt idx="41">
                  <c:v>Mars Bar 51g </c:v>
                </c:pt>
                <c:pt idx="42">
                  <c:v>Hershey's Kisses Special Selection Assorted 325g</c:v>
                </c:pt>
                <c:pt idx="43">
                  <c:v>Galaxy Hazelnut Chocolate 36g</c:v>
                </c:pt>
                <c:pt idx="44">
                  <c:v>Galaxy Smooth Milk Chocolate 36g</c:v>
                </c:pt>
                <c:pt idx="45">
                  <c:v>Galaxy Caramel Bar 40g</c:v>
                </c:pt>
                <c:pt idx="46">
                  <c:v>Kinder Chocolate Bar 50g</c:v>
                </c:pt>
                <c:pt idx="47">
                  <c:v>Kinder Bueno White 39g</c:v>
                </c:pt>
                <c:pt idx="48">
                  <c:v>Hershey's Kisses Classic Selection Assorted 325g</c:v>
                </c:pt>
                <c:pt idx="49">
                  <c:v>Galaxy Crispy Milk Chocolate 36g</c:v>
                </c:pt>
                <c:pt idx="50">
                  <c:v> Reeses Peanut Butter Cup Mini 340g </c:v>
                </c:pt>
                <c:pt idx="51">
                  <c:v>Kit Kat 17.7g</c:v>
                </c:pt>
                <c:pt idx="52">
                  <c:v> Reeses Peanut Butter Cup 42g x 6</c:v>
                </c:pt>
                <c:pt idx="53">
                  <c:v>Reeses Peanut Butter Cups 46g</c:v>
                </c:pt>
                <c:pt idx="54">
                  <c:v>Reeses Peanut Butter Cup Mini 215g</c:v>
                </c:pt>
                <c:pt idx="55">
                  <c:v>M&amp;M's Milk Chocolate 30.6g</c:v>
                </c:pt>
                <c:pt idx="56">
                  <c:v>Godiva Double Chocolate Bar 35g</c:v>
                </c:pt>
                <c:pt idx="57">
                  <c:v>Galaxy Smooth Milk Chocolate 80g</c:v>
                </c:pt>
                <c:pt idx="58">
                  <c:v>Galaxy Ripple Bar 33g</c:v>
                </c:pt>
                <c:pt idx="59">
                  <c:v>Hershey's Chocobites Cookies 'n Creme 90g</c:v>
                </c:pt>
                <c:pt idx="60">
                  <c:v>Hershey's Kisses Special Selection Assorted 100g</c:v>
                </c:pt>
                <c:pt idx="61">
                  <c:v>Hershey's Chocobites Salted Caramel 81g</c:v>
                </c:pt>
                <c:pt idx="62">
                  <c:v>Hershey's Cookies N' Chocolate 40g</c:v>
                </c:pt>
                <c:pt idx="63">
                  <c:v>Reeses Block 90g</c:v>
                </c:pt>
                <c:pt idx="64">
                  <c:v>Reeses Nut Bar 47g</c:v>
                </c:pt>
                <c:pt idx="65">
                  <c:v>Hershey's Kisses Classic Selection Assorted 100g</c:v>
                </c:pt>
                <c:pt idx="66">
                  <c:v>Hershey's Cookies 'n Creme Creations Salted Caramel 38g</c:v>
                </c:pt>
                <c:pt idx="67">
                  <c:v>Hershey's Cookies N' Crème 12.76g</c:v>
                </c:pt>
                <c:pt idx="68">
                  <c:v> Reeses Wafer Sticks 42g</c:v>
                </c:pt>
                <c:pt idx="69">
                  <c:v>Hershey's Choco Tubes Cookies N' Creme 18g</c:v>
                </c:pt>
                <c:pt idx="70">
                  <c:v> Reeses Peanut Butter Cup Mini 500G</c:v>
                </c:pt>
                <c:pt idx="71">
                  <c:v>Reeses Pieces 180g</c:v>
                </c:pt>
                <c:pt idx="72">
                  <c:v>Reeses Mini King Size 71g</c:v>
                </c:pt>
                <c:pt idx="73">
                  <c:v>Hershey's Cookies 'n Creme Block 90g</c:v>
                </c:pt>
                <c:pt idx="74">
                  <c:v>Hersheys Kisses Classic Selection Assorted 600G</c:v>
                </c:pt>
                <c:pt idx="75">
                  <c:v>Hershey's Cookies 'n Creme 40Gx 4</c:v>
                </c:pt>
                <c:pt idx="76">
                  <c:v>Hershey's Variety Pack 40Gx3</c:v>
                </c:pt>
                <c:pt idx="77">
                  <c:v>Reeses Fast break 51g</c:v>
                </c:pt>
              </c:strCache>
            </c:strRef>
          </c:cat>
          <c:val>
            <c:numRef>
              <c:f>Sheet1!$B$2:$B$79</c:f>
              <c:numCache>
                <c:formatCode>General</c:formatCode>
                <c:ptCount val="78"/>
                <c:pt idx="0">
                  <c:v>8.7534810601232665E-2</c:v>
                </c:pt>
                <c:pt idx="1">
                  <c:v>5.7559500892221442E-2</c:v>
                </c:pt>
                <c:pt idx="2">
                  <c:v>5.2484576460387768E-2</c:v>
                </c:pt>
                <c:pt idx="3">
                  <c:v>5.2431668272041182E-2</c:v>
                </c:pt>
                <c:pt idx="4">
                  <c:v>4.868892335715206E-2</c:v>
                </c:pt>
                <c:pt idx="5">
                  <c:v>3.9883127665807053E-2</c:v>
                </c:pt>
                <c:pt idx="6">
                  <c:v>2.9310751584451511E-2</c:v>
                </c:pt>
                <c:pt idx="7">
                  <c:v>2.7693958481604788E-2</c:v>
                </c:pt>
                <c:pt idx="8">
                  <c:v>2.520913477236672E-2</c:v>
                </c:pt>
                <c:pt idx="9">
                  <c:v>2.4955217813546149E-2</c:v>
                </c:pt>
                <c:pt idx="10">
                  <c:v>2.4411629377003408E-2</c:v>
                </c:pt>
                <c:pt idx="11">
                  <c:v>2.432162347521807E-2</c:v>
                </c:pt>
                <c:pt idx="12">
                  <c:v>2.2631346863859841E-2</c:v>
                </c:pt>
                <c:pt idx="13">
                  <c:v>2.2425372973408079E-2</c:v>
                </c:pt>
                <c:pt idx="14">
                  <c:v>2.1309215636296241E-2</c:v>
                </c:pt>
                <c:pt idx="15">
                  <c:v>2.0959753622360241E-2</c:v>
                </c:pt>
                <c:pt idx="16">
                  <c:v>2.0800319571241239E-2</c:v>
                </c:pt>
                <c:pt idx="17">
                  <c:v>1.7970810967835201E-2</c:v>
                </c:pt>
                <c:pt idx="18">
                  <c:v>1.6850758622753849E-2</c:v>
                </c:pt>
                <c:pt idx="19">
                  <c:v>1.596269816570935E-2</c:v>
                </c:pt>
                <c:pt idx="20">
                  <c:v>1.5112238409568249E-2</c:v>
                </c:pt>
                <c:pt idx="21">
                  <c:v>1.461542990237732E-2</c:v>
                </c:pt>
                <c:pt idx="22">
                  <c:v>1.4334284118613001E-2</c:v>
                </c:pt>
                <c:pt idx="23">
                  <c:v>1.430940527615138E-2</c:v>
                </c:pt>
                <c:pt idx="24">
                  <c:v>1.4289080781313281E-2</c:v>
                </c:pt>
                <c:pt idx="25">
                  <c:v>1.403814668354727E-2</c:v>
                </c:pt>
                <c:pt idx="26">
                  <c:v>1.330105136333818E-2</c:v>
                </c:pt>
                <c:pt idx="27">
                  <c:v>1.279435495102535E-2</c:v>
                </c:pt>
                <c:pt idx="28">
                  <c:v>1.1555834851677259E-2</c:v>
                </c:pt>
                <c:pt idx="29">
                  <c:v>1.1353549481144559E-2</c:v>
                </c:pt>
                <c:pt idx="30">
                  <c:v>1.086773292425431E-2</c:v>
                </c:pt>
                <c:pt idx="31">
                  <c:v>1.0487758880938881E-2</c:v>
                </c:pt>
                <c:pt idx="32">
                  <c:v>1.043360818931305E-2</c:v>
                </c:pt>
                <c:pt idx="33">
                  <c:v>1.021010493667055E-2</c:v>
                </c:pt>
                <c:pt idx="34">
                  <c:v>1.0000357436865779E-2</c:v>
                </c:pt>
                <c:pt idx="35">
                  <c:v>9.6856196504729163E-3</c:v>
                </c:pt>
                <c:pt idx="36">
                  <c:v>9.406623878718887E-3</c:v>
                </c:pt>
                <c:pt idx="37">
                  <c:v>8.1035583272461749E-3</c:v>
                </c:pt>
                <c:pt idx="38">
                  <c:v>7.5495692266556828E-3</c:v>
                </c:pt>
                <c:pt idx="39">
                  <c:v>7.4420449325245048E-3</c:v>
                </c:pt>
                <c:pt idx="40">
                  <c:v>7.2277216112720663E-3</c:v>
                </c:pt>
                <c:pt idx="41">
                  <c:v>7.1673392735173798E-3</c:v>
                </c:pt>
                <c:pt idx="42">
                  <c:v>6.7869153080573506E-3</c:v>
                </c:pt>
                <c:pt idx="43">
                  <c:v>6.6451374901548904E-3</c:v>
                </c:pt>
                <c:pt idx="44">
                  <c:v>6.5885098340167552E-3</c:v>
                </c:pt>
                <c:pt idx="45">
                  <c:v>6.1118889102816784E-3</c:v>
                </c:pt>
                <c:pt idx="46">
                  <c:v>5.4493931229054396E-3</c:v>
                </c:pt>
                <c:pt idx="47">
                  <c:v>5.4360110602241834E-3</c:v>
                </c:pt>
                <c:pt idx="48">
                  <c:v>5.072109933842715E-3</c:v>
                </c:pt>
                <c:pt idx="49">
                  <c:v>4.8778405380791113E-3</c:v>
                </c:pt>
                <c:pt idx="50">
                  <c:v>4.8293537084955207E-3</c:v>
                </c:pt>
                <c:pt idx="51">
                  <c:v>4.756436351299226E-3</c:v>
                </c:pt>
                <c:pt idx="52">
                  <c:v>4.6147312769180401E-3</c:v>
                </c:pt>
                <c:pt idx="53">
                  <c:v>4.5051743706602341E-3</c:v>
                </c:pt>
                <c:pt idx="54">
                  <c:v>4.4076916789279564E-3</c:v>
                </c:pt>
                <c:pt idx="55">
                  <c:v>4.0239190321588224E-3</c:v>
                </c:pt>
                <c:pt idx="56">
                  <c:v>3.9206240800433037E-3</c:v>
                </c:pt>
                <c:pt idx="57">
                  <c:v>3.4990833523240289E-3</c:v>
                </c:pt>
                <c:pt idx="58">
                  <c:v>3.3187734201093398E-3</c:v>
                </c:pt>
                <c:pt idx="59">
                  <c:v>2.7137303220649859E-3</c:v>
                </c:pt>
                <c:pt idx="60">
                  <c:v>2.541702375438945E-3</c:v>
                </c:pt>
                <c:pt idx="61">
                  <c:v>2.4340625382641319E-3</c:v>
                </c:pt>
                <c:pt idx="62">
                  <c:v>2.4219716916852839E-3</c:v>
                </c:pt>
                <c:pt idx="63">
                  <c:v>2.1593638402186001E-3</c:v>
                </c:pt>
                <c:pt idx="64">
                  <c:v>1.6564163558322471E-3</c:v>
                </c:pt>
                <c:pt idx="65">
                  <c:v>1.534050800512053E-3</c:v>
                </c:pt>
                <c:pt idx="66">
                  <c:v>8.8861505707664911E-4</c:v>
                </c:pt>
                <c:pt idx="67">
                  <c:v>7.8139805979037706E-4</c:v>
                </c:pt>
                <c:pt idx="68">
                  <c:v>2.7164883385527279E-4</c:v>
                </c:pt>
                <c:pt idx="69">
                  <c:v>7.2832393059720158E-5</c:v>
                </c:pt>
                <c:pt idx="70">
                  <c:v>0</c:v>
                </c:pt>
                <c:pt idx="71">
                  <c:v>0</c:v>
                </c:pt>
                <c:pt idx="72">
                  <c:v>0</c:v>
                </c:pt>
                <c:pt idx="73">
                  <c:v>0</c:v>
                </c:pt>
                <c:pt idx="74">
                  <c:v>0</c:v>
                </c:pt>
                <c:pt idx="75">
                  <c:v>0</c:v>
                </c:pt>
                <c:pt idx="76">
                  <c:v>0</c:v>
                </c:pt>
                <c:pt idx="77">
                  <c:v>0</c:v>
                </c:pt>
              </c:numCache>
            </c:numRef>
          </c:val>
          <c:extLst>
            <c:ext xmlns:c16="http://schemas.microsoft.com/office/drawing/2014/chart" uri="{C3380CC4-5D6E-409C-BE32-E72D297353CC}">
              <c16:uniqueId val="{000000B4-999B-42C0-A7D9-A2057CE05A51}"/>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ershey's Cookies 'n Creme Creations Salted Caramel 38g</c:v>
                </c:pt>
              </c:strCache>
            </c:strRef>
          </c:tx>
          <c:spPr>
            <a:solidFill>
              <a:schemeClr val="bg2"/>
            </a:solidFill>
            <a:ln>
              <a:noFill/>
            </a:ln>
            <a:effectLst/>
          </c:spPr>
          <c:invertIfNegative val="0"/>
          <c:dPt>
            <c:idx val="0"/>
            <c:invertIfNegative val="0"/>
            <c:bubble3D val="0"/>
            <c:spPr>
              <a:solidFill>
                <a:srgbClr val="E6E5E5"/>
              </a:solidFill>
              <a:ln>
                <a:noFill/>
              </a:ln>
              <a:effectLst/>
            </c:spPr>
            <c:extLst>
              <c:ext xmlns:c16="http://schemas.microsoft.com/office/drawing/2014/chart" uri="{C3380CC4-5D6E-409C-BE32-E72D297353CC}">
                <c16:uniqueId val="{00000001-83E0-4716-877A-8084D4846F88}"/>
              </c:ext>
            </c:extLst>
          </c:dPt>
          <c:dPt>
            <c:idx val="1"/>
            <c:invertIfNegative val="1"/>
            <c:bubble3D val="0"/>
            <c:spPr>
              <a:solidFill>
                <a:srgbClr val="E6E5E5"/>
              </a:solidFill>
            </c:spPr>
            <c:extLst>
              <c:ext xmlns:c16="http://schemas.microsoft.com/office/drawing/2014/chart" uri="{C3380CC4-5D6E-409C-BE32-E72D297353CC}">
                <c16:uniqueId val="{00000003-83E0-4716-877A-8084D4846F88}"/>
              </c:ext>
            </c:extLst>
          </c:dPt>
          <c:dPt>
            <c:idx val="2"/>
            <c:invertIfNegative val="1"/>
            <c:bubble3D val="0"/>
            <c:spPr>
              <a:solidFill>
                <a:srgbClr val="E6E5E5"/>
              </a:solidFill>
            </c:spPr>
            <c:extLst>
              <c:ext xmlns:c16="http://schemas.microsoft.com/office/drawing/2014/chart" uri="{C3380CC4-5D6E-409C-BE32-E72D297353CC}">
                <c16:uniqueId val="{00000005-83E0-4716-877A-8084D4846F88}"/>
              </c:ext>
            </c:extLst>
          </c:dPt>
          <c:dPt>
            <c:idx val="3"/>
            <c:invertIfNegative val="0"/>
            <c:bubble3D val="0"/>
            <c:spPr>
              <a:solidFill>
                <a:srgbClr val="E6E5E5"/>
              </a:solidFill>
              <a:ln>
                <a:noFill/>
              </a:ln>
              <a:effectLst/>
            </c:spPr>
            <c:extLst>
              <c:ext xmlns:c16="http://schemas.microsoft.com/office/drawing/2014/chart" uri="{C3380CC4-5D6E-409C-BE32-E72D297353CC}">
                <c16:uniqueId val="{00000007-83E0-4716-877A-8084D4846F88}"/>
              </c:ext>
            </c:extLst>
          </c:dPt>
          <c:dPt>
            <c:idx val="4"/>
            <c:invertIfNegative val="1"/>
            <c:bubble3D val="0"/>
            <c:spPr>
              <a:solidFill>
                <a:srgbClr val="E6E5E5"/>
              </a:solidFill>
            </c:spPr>
            <c:extLst>
              <c:ext xmlns:c16="http://schemas.microsoft.com/office/drawing/2014/chart" uri="{C3380CC4-5D6E-409C-BE32-E72D297353CC}">
                <c16:uniqueId val="{00000009-83E0-4716-877A-8084D4846F88}"/>
              </c:ext>
            </c:extLst>
          </c:dPt>
          <c:dPt>
            <c:idx val="5"/>
            <c:invertIfNegative val="1"/>
            <c:bubble3D val="0"/>
            <c:spPr>
              <a:solidFill>
                <a:srgbClr val="E6E5E5"/>
              </a:solidFill>
            </c:spPr>
            <c:extLst>
              <c:ext xmlns:c16="http://schemas.microsoft.com/office/drawing/2014/chart" uri="{C3380CC4-5D6E-409C-BE32-E72D297353CC}">
                <c16:uniqueId val="{0000000B-83E0-4716-877A-8084D4846F88}"/>
              </c:ext>
            </c:extLst>
          </c:dPt>
          <c:dPt>
            <c:idx val="6"/>
            <c:invertIfNegative val="1"/>
            <c:bubble3D val="0"/>
            <c:spPr>
              <a:solidFill>
                <a:srgbClr val="E6E5E5"/>
              </a:solidFill>
            </c:spPr>
            <c:extLst>
              <c:ext xmlns:c16="http://schemas.microsoft.com/office/drawing/2014/chart" uri="{C3380CC4-5D6E-409C-BE32-E72D297353CC}">
                <c16:uniqueId val="{0000000D-83E0-4716-877A-8084D4846F88}"/>
              </c:ext>
            </c:extLst>
          </c:dPt>
          <c:dPt>
            <c:idx val="7"/>
            <c:invertIfNegative val="1"/>
            <c:bubble3D val="0"/>
            <c:spPr>
              <a:solidFill>
                <a:srgbClr val="E6E5E5"/>
              </a:solidFill>
            </c:spPr>
            <c:extLst>
              <c:ext xmlns:c16="http://schemas.microsoft.com/office/drawing/2014/chart" uri="{C3380CC4-5D6E-409C-BE32-E72D297353CC}">
                <c16:uniqueId val="{0000000F-83E0-4716-877A-8084D4846F88}"/>
              </c:ext>
            </c:extLst>
          </c:dPt>
          <c:dPt>
            <c:idx val="8"/>
            <c:invertIfNegative val="1"/>
            <c:bubble3D val="0"/>
            <c:spPr>
              <a:solidFill>
                <a:srgbClr val="E6E5E5"/>
              </a:solidFill>
            </c:spPr>
            <c:extLst>
              <c:ext xmlns:c16="http://schemas.microsoft.com/office/drawing/2014/chart" uri="{C3380CC4-5D6E-409C-BE32-E72D297353CC}">
                <c16:uniqueId val="{00000011-83E0-4716-877A-8084D4846F88}"/>
              </c:ext>
            </c:extLst>
          </c:dPt>
          <c:dPt>
            <c:idx val="9"/>
            <c:invertIfNegative val="1"/>
            <c:bubble3D val="0"/>
            <c:spPr>
              <a:solidFill>
                <a:srgbClr val="E6E5E5"/>
              </a:solidFill>
            </c:spPr>
            <c:extLst>
              <c:ext xmlns:c16="http://schemas.microsoft.com/office/drawing/2014/chart" uri="{C3380CC4-5D6E-409C-BE32-E72D297353CC}">
                <c16:uniqueId val="{00000013-83E0-4716-877A-8084D4846F88}"/>
              </c:ext>
            </c:extLst>
          </c:dPt>
          <c:dPt>
            <c:idx val="10"/>
            <c:invertIfNegative val="1"/>
            <c:bubble3D val="0"/>
            <c:spPr>
              <a:solidFill>
                <a:srgbClr val="E6E5E5"/>
              </a:solidFill>
            </c:spPr>
            <c:extLst>
              <c:ext xmlns:c16="http://schemas.microsoft.com/office/drawing/2014/chart" uri="{C3380CC4-5D6E-409C-BE32-E72D297353CC}">
                <c16:uniqueId val="{00000015-83E0-4716-877A-8084D4846F88}"/>
              </c:ext>
            </c:extLst>
          </c:dPt>
          <c:dPt>
            <c:idx val="11"/>
            <c:invertIfNegative val="1"/>
            <c:bubble3D val="0"/>
            <c:spPr>
              <a:solidFill>
                <a:srgbClr val="E6E5E5"/>
              </a:solidFill>
            </c:spPr>
            <c:extLst>
              <c:ext xmlns:c16="http://schemas.microsoft.com/office/drawing/2014/chart" uri="{C3380CC4-5D6E-409C-BE32-E72D297353CC}">
                <c16:uniqueId val="{00000017-83E0-4716-877A-8084D4846F88}"/>
              </c:ext>
            </c:extLst>
          </c:dPt>
          <c:dPt>
            <c:idx val="12"/>
            <c:invertIfNegative val="1"/>
            <c:bubble3D val="0"/>
            <c:spPr>
              <a:solidFill>
                <a:srgbClr val="E6E5E5"/>
              </a:solidFill>
            </c:spPr>
            <c:extLst>
              <c:ext xmlns:c16="http://schemas.microsoft.com/office/drawing/2014/chart" uri="{C3380CC4-5D6E-409C-BE32-E72D297353CC}">
                <c16:uniqueId val="{00000019-83E0-4716-877A-8084D4846F88}"/>
              </c:ext>
            </c:extLst>
          </c:dPt>
          <c:dPt>
            <c:idx val="13"/>
            <c:invertIfNegative val="1"/>
            <c:bubble3D val="0"/>
            <c:spPr>
              <a:solidFill>
                <a:srgbClr val="E6E5E5"/>
              </a:solidFill>
            </c:spPr>
            <c:extLst>
              <c:ext xmlns:c16="http://schemas.microsoft.com/office/drawing/2014/chart" uri="{C3380CC4-5D6E-409C-BE32-E72D297353CC}">
                <c16:uniqueId val="{0000001B-83E0-4716-877A-8084D4846F88}"/>
              </c:ext>
            </c:extLst>
          </c:dPt>
          <c:dPt>
            <c:idx val="14"/>
            <c:invertIfNegative val="0"/>
            <c:bubble3D val="0"/>
            <c:spPr>
              <a:solidFill>
                <a:srgbClr val="E6E5E5"/>
              </a:solidFill>
              <a:ln>
                <a:noFill/>
              </a:ln>
              <a:effectLst/>
            </c:spPr>
            <c:extLst>
              <c:ext xmlns:c16="http://schemas.microsoft.com/office/drawing/2014/chart" uri="{C3380CC4-5D6E-409C-BE32-E72D297353CC}">
                <c16:uniqueId val="{0000001D-83E0-4716-877A-8084D4846F88}"/>
              </c:ext>
            </c:extLst>
          </c:dPt>
          <c:dPt>
            <c:idx val="15"/>
            <c:invertIfNegative val="1"/>
            <c:bubble3D val="0"/>
            <c:spPr>
              <a:solidFill>
                <a:srgbClr val="E6E5E5"/>
              </a:solidFill>
            </c:spPr>
            <c:extLst>
              <c:ext xmlns:c16="http://schemas.microsoft.com/office/drawing/2014/chart" uri="{C3380CC4-5D6E-409C-BE32-E72D297353CC}">
                <c16:uniqueId val="{0000001F-83E0-4716-877A-8084D4846F88}"/>
              </c:ext>
            </c:extLst>
          </c:dPt>
          <c:dPt>
            <c:idx val="16"/>
            <c:invertIfNegative val="1"/>
            <c:bubble3D val="0"/>
            <c:spPr>
              <a:solidFill>
                <a:srgbClr val="E6E5E5"/>
              </a:solidFill>
            </c:spPr>
            <c:extLst>
              <c:ext xmlns:c16="http://schemas.microsoft.com/office/drawing/2014/chart" uri="{C3380CC4-5D6E-409C-BE32-E72D297353CC}">
                <c16:uniqueId val="{00000021-83E0-4716-877A-8084D4846F88}"/>
              </c:ext>
            </c:extLst>
          </c:dPt>
          <c:dPt>
            <c:idx val="17"/>
            <c:invertIfNegative val="0"/>
            <c:bubble3D val="0"/>
            <c:spPr>
              <a:solidFill>
                <a:srgbClr val="E6E5E5"/>
              </a:solidFill>
              <a:ln>
                <a:noFill/>
              </a:ln>
              <a:effectLst/>
            </c:spPr>
            <c:extLst>
              <c:ext xmlns:c16="http://schemas.microsoft.com/office/drawing/2014/chart" uri="{C3380CC4-5D6E-409C-BE32-E72D297353CC}">
                <c16:uniqueId val="{00000023-83E0-4716-877A-8084D4846F88}"/>
              </c:ext>
            </c:extLst>
          </c:dPt>
          <c:dPt>
            <c:idx val="18"/>
            <c:invertIfNegative val="1"/>
            <c:bubble3D val="0"/>
            <c:spPr>
              <a:solidFill>
                <a:srgbClr val="E6E5E5"/>
              </a:solidFill>
            </c:spPr>
            <c:extLst>
              <c:ext xmlns:c16="http://schemas.microsoft.com/office/drawing/2014/chart" uri="{C3380CC4-5D6E-409C-BE32-E72D297353CC}">
                <c16:uniqueId val="{00000025-83E0-4716-877A-8084D4846F88}"/>
              </c:ext>
            </c:extLst>
          </c:dPt>
          <c:dPt>
            <c:idx val="19"/>
            <c:invertIfNegative val="1"/>
            <c:bubble3D val="0"/>
            <c:spPr>
              <a:solidFill>
                <a:srgbClr val="E6E5E5"/>
              </a:solidFill>
            </c:spPr>
            <c:extLst>
              <c:ext xmlns:c16="http://schemas.microsoft.com/office/drawing/2014/chart" uri="{C3380CC4-5D6E-409C-BE32-E72D297353CC}">
                <c16:uniqueId val="{00000027-83E0-4716-877A-8084D4846F88}"/>
              </c:ext>
            </c:extLst>
          </c:dPt>
          <c:dPt>
            <c:idx val="20"/>
            <c:invertIfNegative val="1"/>
            <c:bubble3D val="0"/>
            <c:spPr>
              <a:solidFill>
                <a:srgbClr val="E6E5E5"/>
              </a:solidFill>
            </c:spPr>
            <c:extLst>
              <c:ext xmlns:c16="http://schemas.microsoft.com/office/drawing/2014/chart" uri="{C3380CC4-5D6E-409C-BE32-E72D297353CC}">
                <c16:uniqueId val="{00000029-83E0-4716-877A-8084D4846F88}"/>
              </c:ext>
            </c:extLst>
          </c:dPt>
          <c:dPt>
            <c:idx val="21"/>
            <c:invertIfNegative val="1"/>
            <c:bubble3D val="0"/>
            <c:spPr>
              <a:solidFill>
                <a:srgbClr val="E6E5E5"/>
              </a:solidFill>
            </c:spPr>
            <c:extLst>
              <c:ext xmlns:c16="http://schemas.microsoft.com/office/drawing/2014/chart" uri="{C3380CC4-5D6E-409C-BE32-E72D297353CC}">
                <c16:uniqueId val="{0000002B-83E0-4716-877A-8084D4846F88}"/>
              </c:ext>
            </c:extLst>
          </c:dPt>
          <c:dPt>
            <c:idx val="22"/>
            <c:invertIfNegative val="1"/>
            <c:bubble3D val="0"/>
            <c:spPr>
              <a:solidFill>
                <a:srgbClr val="E6E5E5"/>
              </a:solidFill>
            </c:spPr>
            <c:extLst>
              <c:ext xmlns:c16="http://schemas.microsoft.com/office/drawing/2014/chart" uri="{C3380CC4-5D6E-409C-BE32-E72D297353CC}">
                <c16:uniqueId val="{0000002D-83E0-4716-877A-8084D4846F88}"/>
              </c:ext>
            </c:extLst>
          </c:dPt>
          <c:dPt>
            <c:idx val="23"/>
            <c:invertIfNegative val="1"/>
            <c:bubble3D val="0"/>
            <c:spPr>
              <a:solidFill>
                <a:srgbClr val="E6E5E5"/>
              </a:solidFill>
            </c:spPr>
            <c:extLst>
              <c:ext xmlns:c16="http://schemas.microsoft.com/office/drawing/2014/chart" uri="{C3380CC4-5D6E-409C-BE32-E72D297353CC}">
                <c16:uniqueId val="{0000002F-83E0-4716-877A-8084D4846F88}"/>
              </c:ext>
            </c:extLst>
          </c:dPt>
          <c:dPt>
            <c:idx val="24"/>
            <c:invertIfNegative val="1"/>
            <c:bubble3D val="0"/>
            <c:spPr>
              <a:solidFill>
                <a:srgbClr val="E6E5E5"/>
              </a:solidFill>
            </c:spPr>
            <c:extLst>
              <c:ext xmlns:c16="http://schemas.microsoft.com/office/drawing/2014/chart" uri="{C3380CC4-5D6E-409C-BE32-E72D297353CC}">
                <c16:uniqueId val="{00000031-83E0-4716-877A-8084D4846F88}"/>
              </c:ext>
            </c:extLst>
          </c:dPt>
          <c:dPt>
            <c:idx val="25"/>
            <c:invertIfNegative val="1"/>
            <c:bubble3D val="0"/>
            <c:spPr>
              <a:solidFill>
                <a:srgbClr val="E6E5E5"/>
              </a:solidFill>
            </c:spPr>
            <c:extLst>
              <c:ext xmlns:c16="http://schemas.microsoft.com/office/drawing/2014/chart" uri="{C3380CC4-5D6E-409C-BE32-E72D297353CC}">
                <c16:uniqueId val="{00000033-83E0-4716-877A-8084D4846F88}"/>
              </c:ext>
            </c:extLst>
          </c:dPt>
          <c:dPt>
            <c:idx val="26"/>
            <c:invertIfNegative val="1"/>
            <c:bubble3D val="0"/>
            <c:spPr>
              <a:solidFill>
                <a:srgbClr val="E6E5E5"/>
              </a:solidFill>
            </c:spPr>
            <c:extLst>
              <c:ext xmlns:c16="http://schemas.microsoft.com/office/drawing/2014/chart" uri="{C3380CC4-5D6E-409C-BE32-E72D297353CC}">
                <c16:uniqueId val="{00000035-83E0-4716-877A-8084D4846F88}"/>
              </c:ext>
            </c:extLst>
          </c:dPt>
          <c:dPt>
            <c:idx val="27"/>
            <c:invertIfNegative val="1"/>
            <c:bubble3D val="0"/>
            <c:spPr>
              <a:solidFill>
                <a:srgbClr val="E6E5E5"/>
              </a:solidFill>
            </c:spPr>
            <c:extLst>
              <c:ext xmlns:c16="http://schemas.microsoft.com/office/drawing/2014/chart" uri="{C3380CC4-5D6E-409C-BE32-E72D297353CC}">
                <c16:uniqueId val="{00000037-83E0-4716-877A-8084D4846F88}"/>
              </c:ext>
            </c:extLst>
          </c:dPt>
          <c:dPt>
            <c:idx val="28"/>
            <c:invertIfNegative val="1"/>
            <c:bubble3D val="0"/>
            <c:spPr>
              <a:solidFill>
                <a:srgbClr val="E6E5E5"/>
              </a:solidFill>
            </c:spPr>
            <c:extLst>
              <c:ext xmlns:c16="http://schemas.microsoft.com/office/drawing/2014/chart" uri="{C3380CC4-5D6E-409C-BE32-E72D297353CC}">
                <c16:uniqueId val="{00000039-83E0-4716-877A-8084D4846F88}"/>
              </c:ext>
            </c:extLst>
          </c:dPt>
          <c:dPt>
            <c:idx val="29"/>
            <c:invertIfNegative val="1"/>
            <c:bubble3D val="0"/>
            <c:spPr>
              <a:solidFill>
                <a:srgbClr val="E6E5E5"/>
              </a:solidFill>
            </c:spPr>
            <c:extLst>
              <c:ext xmlns:c16="http://schemas.microsoft.com/office/drawing/2014/chart" uri="{C3380CC4-5D6E-409C-BE32-E72D297353CC}">
                <c16:uniqueId val="{0000003B-83E0-4716-877A-8084D4846F88}"/>
              </c:ext>
            </c:extLst>
          </c:dPt>
          <c:dPt>
            <c:idx val="30"/>
            <c:invertIfNegative val="1"/>
            <c:bubble3D val="0"/>
            <c:spPr>
              <a:solidFill>
                <a:srgbClr val="E6E5E5"/>
              </a:solidFill>
            </c:spPr>
            <c:extLst>
              <c:ext xmlns:c16="http://schemas.microsoft.com/office/drawing/2014/chart" uri="{C3380CC4-5D6E-409C-BE32-E72D297353CC}">
                <c16:uniqueId val="{0000003D-83E0-4716-877A-8084D4846F88}"/>
              </c:ext>
            </c:extLst>
          </c:dPt>
          <c:dPt>
            <c:idx val="31"/>
            <c:invertIfNegative val="1"/>
            <c:bubble3D val="0"/>
            <c:spPr>
              <a:solidFill>
                <a:srgbClr val="E6E5E5"/>
              </a:solidFill>
            </c:spPr>
            <c:extLst>
              <c:ext xmlns:c16="http://schemas.microsoft.com/office/drawing/2014/chart" uri="{C3380CC4-5D6E-409C-BE32-E72D297353CC}">
                <c16:uniqueId val="{0000003F-83E0-4716-877A-8084D4846F88}"/>
              </c:ext>
            </c:extLst>
          </c:dPt>
          <c:dPt>
            <c:idx val="32"/>
            <c:invertIfNegative val="0"/>
            <c:bubble3D val="0"/>
            <c:spPr>
              <a:solidFill>
                <a:srgbClr val="E6E5E5"/>
              </a:solidFill>
              <a:ln>
                <a:noFill/>
              </a:ln>
              <a:effectLst/>
            </c:spPr>
            <c:extLst>
              <c:ext xmlns:c16="http://schemas.microsoft.com/office/drawing/2014/chart" uri="{C3380CC4-5D6E-409C-BE32-E72D297353CC}">
                <c16:uniqueId val="{00000041-83E0-4716-877A-8084D4846F88}"/>
              </c:ext>
            </c:extLst>
          </c:dPt>
          <c:dPt>
            <c:idx val="33"/>
            <c:invertIfNegative val="1"/>
            <c:bubble3D val="0"/>
            <c:spPr>
              <a:solidFill>
                <a:srgbClr val="E6E5E5"/>
              </a:solidFill>
            </c:spPr>
            <c:extLst>
              <c:ext xmlns:c16="http://schemas.microsoft.com/office/drawing/2014/chart" uri="{C3380CC4-5D6E-409C-BE32-E72D297353CC}">
                <c16:uniqueId val="{00000043-83E0-4716-877A-8084D4846F88}"/>
              </c:ext>
            </c:extLst>
          </c:dPt>
          <c:dPt>
            <c:idx val="34"/>
            <c:invertIfNegative val="1"/>
            <c:bubble3D val="0"/>
            <c:spPr>
              <a:solidFill>
                <a:srgbClr val="E6E5E5"/>
              </a:solidFill>
            </c:spPr>
            <c:extLst>
              <c:ext xmlns:c16="http://schemas.microsoft.com/office/drawing/2014/chart" uri="{C3380CC4-5D6E-409C-BE32-E72D297353CC}">
                <c16:uniqueId val="{00000045-83E0-4716-877A-8084D4846F88}"/>
              </c:ext>
            </c:extLst>
          </c:dPt>
          <c:dPt>
            <c:idx val="35"/>
            <c:invertIfNegative val="1"/>
            <c:bubble3D val="0"/>
            <c:spPr>
              <a:solidFill>
                <a:srgbClr val="E6E5E5"/>
              </a:solidFill>
            </c:spPr>
            <c:extLst>
              <c:ext xmlns:c16="http://schemas.microsoft.com/office/drawing/2014/chart" uri="{C3380CC4-5D6E-409C-BE32-E72D297353CC}">
                <c16:uniqueId val="{00000047-83E0-4716-877A-8084D4846F88}"/>
              </c:ext>
            </c:extLst>
          </c:dPt>
          <c:dPt>
            <c:idx val="36"/>
            <c:invertIfNegative val="1"/>
            <c:bubble3D val="0"/>
            <c:spPr>
              <a:solidFill>
                <a:srgbClr val="E6E5E5"/>
              </a:solidFill>
            </c:spPr>
            <c:extLst>
              <c:ext xmlns:c16="http://schemas.microsoft.com/office/drawing/2014/chart" uri="{C3380CC4-5D6E-409C-BE32-E72D297353CC}">
                <c16:uniqueId val="{00000049-83E0-4716-877A-8084D4846F88}"/>
              </c:ext>
            </c:extLst>
          </c:dPt>
          <c:dPt>
            <c:idx val="37"/>
            <c:invertIfNegative val="1"/>
            <c:bubble3D val="0"/>
            <c:spPr>
              <a:solidFill>
                <a:srgbClr val="E6E5E5"/>
              </a:solidFill>
            </c:spPr>
            <c:extLst>
              <c:ext xmlns:c16="http://schemas.microsoft.com/office/drawing/2014/chart" uri="{C3380CC4-5D6E-409C-BE32-E72D297353CC}">
                <c16:uniqueId val="{0000004B-83E0-4716-877A-8084D4846F88}"/>
              </c:ext>
            </c:extLst>
          </c:dPt>
          <c:dPt>
            <c:idx val="38"/>
            <c:invertIfNegative val="1"/>
            <c:bubble3D val="0"/>
            <c:spPr>
              <a:solidFill>
                <a:srgbClr val="E6E5E5"/>
              </a:solidFill>
            </c:spPr>
            <c:extLst>
              <c:ext xmlns:c16="http://schemas.microsoft.com/office/drawing/2014/chart" uri="{C3380CC4-5D6E-409C-BE32-E72D297353CC}">
                <c16:uniqueId val="{0000004D-83E0-4716-877A-8084D4846F88}"/>
              </c:ext>
            </c:extLst>
          </c:dPt>
          <c:dPt>
            <c:idx val="39"/>
            <c:invertIfNegative val="1"/>
            <c:bubble3D val="0"/>
            <c:spPr>
              <a:solidFill>
                <a:srgbClr val="E6E5E5"/>
              </a:solidFill>
            </c:spPr>
            <c:extLst>
              <c:ext xmlns:c16="http://schemas.microsoft.com/office/drawing/2014/chart" uri="{C3380CC4-5D6E-409C-BE32-E72D297353CC}">
                <c16:uniqueId val="{0000004F-83E0-4716-877A-8084D4846F88}"/>
              </c:ext>
            </c:extLst>
          </c:dPt>
          <c:dPt>
            <c:idx val="40"/>
            <c:invertIfNegative val="1"/>
            <c:bubble3D val="0"/>
            <c:spPr>
              <a:solidFill>
                <a:srgbClr val="E6E5E5"/>
              </a:solidFill>
            </c:spPr>
            <c:extLst>
              <c:ext xmlns:c16="http://schemas.microsoft.com/office/drawing/2014/chart" uri="{C3380CC4-5D6E-409C-BE32-E72D297353CC}">
                <c16:uniqueId val="{00000051-83E0-4716-877A-8084D4846F88}"/>
              </c:ext>
            </c:extLst>
          </c:dPt>
          <c:dPt>
            <c:idx val="41"/>
            <c:invertIfNegative val="1"/>
            <c:bubble3D val="0"/>
            <c:spPr>
              <a:solidFill>
                <a:srgbClr val="E6E5E5"/>
              </a:solidFill>
            </c:spPr>
            <c:extLst>
              <c:ext xmlns:c16="http://schemas.microsoft.com/office/drawing/2014/chart" uri="{C3380CC4-5D6E-409C-BE32-E72D297353CC}">
                <c16:uniqueId val="{00000053-83E0-4716-877A-8084D4846F88}"/>
              </c:ext>
            </c:extLst>
          </c:dPt>
          <c:dPt>
            <c:idx val="42"/>
            <c:invertIfNegative val="1"/>
            <c:bubble3D val="0"/>
            <c:spPr>
              <a:solidFill>
                <a:srgbClr val="E6E5E5"/>
              </a:solidFill>
            </c:spPr>
            <c:extLst>
              <c:ext xmlns:c16="http://schemas.microsoft.com/office/drawing/2014/chart" uri="{C3380CC4-5D6E-409C-BE32-E72D297353CC}">
                <c16:uniqueId val="{00000055-83E0-4716-877A-8084D4846F88}"/>
              </c:ext>
            </c:extLst>
          </c:dPt>
          <c:dPt>
            <c:idx val="43"/>
            <c:invertIfNegative val="1"/>
            <c:bubble3D val="0"/>
            <c:spPr>
              <a:solidFill>
                <a:srgbClr val="E6E5E5"/>
              </a:solidFill>
            </c:spPr>
            <c:extLst>
              <c:ext xmlns:c16="http://schemas.microsoft.com/office/drawing/2014/chart" uri="{C3380CC4-5D6E-409C-BE32-E72D297353CC}">
                <c16:uniqueId val="{00000057-83E0-4716-877A-8084D4846F88}"/>
              </c:ext>
            </c:extLst>
          </c:dPt>
          <c:dPt>
            <c:idx val="44"/>
            <c:invertIfNegative val="0"/>
            <c:bubble3D val="0"/>
            <c:spPr>
              <a:solidFill>
                <a:srgbClr val="E6E5E5"/>
              </a:solidFill>
              <a:ln>
                <a:noFill/>
              </a:ln>
              <a:effectLst/>
            </c:spPr>
            <c:extLst>
              <c:ext xmlns:c16="http://schemas.microsoft.com/office/drawing/2014/chart" uri="{C3380CC4-5D6E-409C-BE32-E72D297353CC}">
                <c16:uniqueId val="{00000059-83E0-4716-877A-8084D4846F88}"/>
              </c:ext>
            </c:extLst>
          </c:dPt>
          <c:dPt>
            <c:idx val="45"/>
            <c:invertIfNegative val="1"/>
            <c:bubble3D val="0"/>
            <c:spPr>
              <a:solidFill>
                <a:srgbClr val="E6E5E5"/>
              </a:solidFill>
            </c:spPr>
            <c:extLst>
              <c:ext xmlns:c16="http://schemas.microsoft.com/office/drawing/2014/chart" uri="{C3380CC4-5D6E-409C-BE32-E72D297353CC}">
                <c16:uniqueId val="{0000005B-83E0-4716-877A-8084D4846F88}"/>
              </c:ext>
            </c:extLst>
          </c:dPt>
          <c:dPt>
            <c:idx val="46"/>
            <c:invertIfNegative val="1"/>
            <c:bubble3D val="0"/>
            <c:spPr>
              <a:solidFill>
                <a:srgbClr val="E6E5E5"/>
              </a:solidFill>
            </c:spPr>
            <c:extLst>
              <c:ext xmlns:c16="http://schemas.microsoft.com/office/drawing/2014/chart" uri="{C3380CC4-5D6E-409C-BE32-E72D297353CC}">
                <c16:uniqueId val="{0000005D-83E0-4716-877A-8084D4846F88}"/>
              </c:ext>
            </c:extLst>
          </c:dPt>
          <c:dPt>
            <c:idx val="47"/>
            <c:invertIfNegative val="1"/>
            <c:bubble3D val="0"/>
            <c:spPr>
              <a:solidFill>
                <a:srgbClr val="E6E5E5"/>
              </a:solidFill>
            </c:spPr>
            <c:extLst>
              <c:ext xmlns:c16="http://schemas.microsoft.com/office/drawing/2014/chart" uri="{C3380CC4-5D6E-409C-BE32-E72D297353CC}">
                <c16:uniqueId val="{0000005F-83E0-4716-877A-8084D4846F88}"/>
              </c:ext>
            </c:extLst>
          </c:dPt>
          <c:dPt>
            <c:idx val="48"/>
            <c:invertIfNegative val="1"/>
            <c:bubble3D val="0"/>
            <c:spPr>
              <a:solidFill>
                <a:srgbClr val="E6E5E5"/>
              </a:solidFill>
            </c:spPr>
            <c:extLst>
              <c:ext xmlns:c16="http://schemas.microsoft.com/office/drawing/2014/chart" uri="{C3380CC4-5D6E-409C-BE32-E72D297353CC}">
                <c16:uniqueId val="{00000061-83E0-4716-877A-8084D4846F88}"/>
              </c:ext>
            </c:extLst>
          </c:dPt>
          <c:dPt>
            <c:idx val="49"/>
            <c:invertIfNegative val="0"/>
            <c:bubble3D val="0"/>
            <c:spPr>
              <a:solidFill>
                <a:srgbClr val="E6E5E5"/>
              </a:solidFill>
              <a:ln>
                <a:noFill/>
              </a:ln>
              <a:effectLst/>
            </c:spPr>
            <c:extLst>
              <c:ext xmlns:c16="http://schemas.microsoft.com/office/drawing/2014/chart" uri="{C3380CC4-5D6E-409C-BE32-E72D297353CC}">
                <c16:uniqueId val="{00000063-83E0-4716-877A-8084D4846F88}"/>
              </c:ext>
            </c:extLst>
          </c:dPt>
          <c:dPt>
            <c:idx val="50"/>
            <c:invertIfNegative val="0"/>
            <c:bubble3D val="0"/>
            <c:spPr>
              <a:solidFill>
                <a:srgbClr val="E6E5E5"/>
              </a:solidFill>
              <a:ln>
                <a:noFill/>
              </a:ln>
              <a:effectLst/>
            </c:spPr>
            <c:extLst>
              <c:ext xmlns:c16="http://schemas.microsoft.com/office/drawing/2014/chart" uri="{C3380CC4-5D6E-409C-BE32-E72D297353CC}">
                <c16:uniqueId val="{00000065-83E0-4716-877A-8084D4846F88}"/>
              </c:ext>
            </c:extLst>
          </c:dPt>
          <c:dPt>
            <c:idx val="51"/>
            <c:invertIfNegative val="1"/>
            <c:bubble3D val="0"/>
            <c:spPr>
              <a:solidFill>
                <a:srgbClr val="E6E5E5"/>
              </a:solidFill>
            </c:spPr>
            <c:extLst>
              <c:ext xmlns:c16="http://schemas.microsoft.com/office/drawing/2014/chart" uri="{C3380CC4-5D6E-409C-BE32-E72D297353CC}">
                <c16:uniqueId val="{00000067-83E0-4716-877A-8084D4846F88}"/>
              </c:ext>
            </c:extLst>
          </c:dPt>
          <c:dPt>
            <c:idx val="52"/>
            <c:invertIfNegative val="1"/>
            <c:bubble3D val="0"/>
            <c:spPr>
              <a:solidFill>
                <a:srgbClr val="E6E5E5"/>
              </a:solidFill>
            </c:spPr>
            <c:extLst>
              <c:ext xmlns:c16="http://schemas.microsoft.com/office/drawing/2014/chart" uri="{C3380CC4-5D6E-409C-BE32-E72D297353CC}">
                <c16:uniqueId val="{00000069-83E0-4716-877A-8084D4846F88}"/>
              </c:ext>
            </c:extLst>
          </c:dPt>
          <c:dPt>
            <c:idx val="53"/>
            <c:invertIfNegative val="1"/>
            <c:bubble3D val="0"/>
            <c:spPr>
              <a:solidFill>
                <a:srgbClr val="E6E5E5"/>
              </a:solidFill>
            </c:spPr>
            <c:extLst>
              <c:ext xmlns:c16="http://schemas.microsoft.com/office/drawing/2014/chart" uri="{C3380CC4-5D6E-409C-BE32-E72D297353CC}">
                <c16:uniqueId val="{0000006B-83E0-4716-877A-8084D4846F88}"/>
              </c:ext>
            </c:extLst>
          </c:dPt>
          <c:dPt>
            <c:idx val="54"/>
            <c:invertIfNegative val="1"/>
            <c:bubble3D val="0"/>
            <c:spPr>
              <a:solidFill>
                <a:srgbClr val="E6E5E5"/>
              </a:solidFill>
            </c:spPr>
            <c:extLst>
              <c:ext xmlns:c16="http://schemas.microsoft.com/office/drawing/2014/chart" uri="{C3380CC4-5D6E-409C-BE32-E72D297353CC}">
                <c16:uniqueId val="{0000006D-83E0-4716-877A-8084D4846F88}"/>
              </c:ext>
            </c:extLst>
          </c:dPt>
          <c:dPt>
            <c:idx val="55"/>
            <c:invertIfNegative val="1"/>
            <c:bubble3D val="0"/>
            <c:spPr>
              <a:solidFill>
                <a:srgbClr val="E6E5E5"/>
              </a:solidFill>
            </c:spPr>
            <c:extLst>
              <c:ext xmlns:c16="http://schemas.microsoft.com/office/drawing/2014/chart" uri="{C3380CC4-5D6E-409C-BE32-E72D297353CC}">
                <c16:uniqueId val="{0000006F-83E0-4716-877A-8084D4846F88}"/>
              </c:ext>
            </c:extLst>
          </c:dPt>
          <c:dPt>
            <c:idx val="56"/>
            <c:invertIfNegative val="1"/>
            <c:bubble3D val="0"/>
            <c:spPr>
              <a:solidFill>
                <a:srgbClr val="E6E5E5"/>
              </a:solidFill>
            </c:spPr>
            <c:extLst>
              <c:ext xmlns:c16="http://schemas.microsoft.com/office/drawing/2014/chart" uri="{C3380CC4-5D6E-409C-BE32-E72D297353CC}">
                <c16:uniqueId val="{00000071-83E0-4716-877A-8084D4846F88}"/>
              </c:ext>
            </c:extLst>
          </c:dPt>
          <c:dPt>
            <c:idx val="57"/>
            <c:invertIfNegative val="1"/>
            <c:bubble3D val="0"/>
            <c:spPr>
              <a:solidFill>
                <a:srgbClr val="E6E5E5"/>
              </a:solidFill>
            </c:spPr>
            <c:extLst>
              <c:ext xmlns:c16="http://schemas.microsoft.com/office/drawing/2014/chart" uri="{C3380CC4-5D6E-409C-BE32-E72D297353CC}">
                <c16:uniqueId val="{00000073-83E0-4716-877A-8084D4846F88}"/>
              </c:ext>
            </c:extLst>
          </c:dPt>
          <c:dPt>
            <c:idx val="58"/>
            <c:invertIfNegative val="1"/>
            <c:bubble3D val="0"/>
            <c:spPr>
              <a:solidFill>
                <a:srgbClr val="E6E5E5"/>
              </a:solidFill>
            </c:spPr>
            <c:extLst>
              <c:ext xmlns:c16="http://schemas.microsoft.com/office/drawing/2014/chart" uri="{C3380CC4-5D6E-409C-BE32-E72D297353CC}">
                <c16:uniqueId val="{00000075-83E0-4716-877A-8084D4846F88}"/>
              </c:ext>
            </c:extLst>
          </c:dPt>
          <c:dPt>
            <c:idx val="59"/>
            <c:invertIfNegative val="1"/>
            <c:bubble3D val="0"/>
            <c:spPr>
              <a:solidFill>
                <a:srgbClr val="E6E5E5"/>
              </a:solidFill>
            </c:spPr>
            <c:extLst>
              <c:ext xmlns:c16="http://schemas.microsoft.com/office/drawing/2014/chart" uri="{C3380CC4-5D6E-409C-BE32-E72D297353CC}">
                <c16:uniqueId val="{00000077-83E0-4716-877A-8084D4846F88}"/>
              </c:ext>
            </c:extLst>
          </c:dPt>
          <c:dPt>
            <c:idx val="60"/>
            <c:invertIfNegative val="1"/>
            <c:bubble3D val="0"/>
            <c:spPr>
              <a:solidFill>
                <a:srgbClr val="E6E5E5"/>
              </a:solidFill>
            </c:spPr>
            <c:extLst>
              <c:ext xmlns:c16="http://schemas.microsoft.com/office/drawing/2014/chart" uri="{C3380CC4-5D6E-409C-BE32-E72D297353CC}">
                <c16:uniqueId val="{00000079-83E0-4716-877A-8084D4846F88}"/>
              </c:ext>
            </c:extLst>
          </c:dPt>
          <c:dPt>
            <c:idx val="61"/>
            <c:invertIfNegative val="1"/>
            <c:bubble3D val="0"/>
            <c:spPr>
              <a:solidFill>
                <a:srgbClr val="E6E5E5"/>
              </a:solidFill>
            </c:spPr>
            <c:extLst>
              <c:ext xmlns:c16="http://schemas.microsoft.com/office/drawing/2014/chart" uri="{C3380CC4-5D6E-409C-BE32-E72D297353CC}">
                <c16:uniqueId val="{0000007B-83E0-4716-877A-8084D4846F88}"/>
              </c:ext>
            </c:extLst>
          </c:dPt>
          <c:dPt>
            <c:idx val="62"/>
            <c:invertIfNegative val="1"/>
            <c:bubble3D val="0"/>
            <c:spPr>
              <a:solidFill>
                <a:srgbClr val="E6E5E5"/>
              </a:solidFill>
            </c:spPr>
            <c:extLst>
              <c:ext xmlns:c16="http://schemas.microsoft.com/office/drawing/2014/chart" uri="{C3380CC4-5D6E-409C-BE32-E72D297353CC}">
                <c16:uniqueId val="{0000007D-83E0-4716-877A-8084D4846F88}"/>
              </c:ext>
            </c:extLst>
          </c:dPt>
          <c:dPt>
            <c:idx val="63"/>
            <c:invertIfNegative val="1"/>
            <c:bubble3D val="0"/>
            <c:spPr>
              <a:solidFill>
                <a:srgbClr val="E6E5E5"/>
              </a:solidFill>
            </c:spPr>
            <c:extLst>
              <c:ext xmlns:c16="http://schemas.microsoft.com/office/drawing/2014/chart" uri="{C3380CC4-5D6E-409C-BE32-E72D297353CC}">
                <c16:uniqueId val="{0000007F-83E0-4716-877A-8084D4846F88}"/>
              </c:ext>
            </c:extLst>
          </c:dPt>
          <c:dPt>
            <c:idx val="64"/>
            <c:invertIfNegative val="1"/>
            <c:bubble3D val="0"/>
            <c:spPr>
              <a:solidFill>
                <a:srgbClr val="E6E5E5"/>
              </a:solidFill>
            </c:spPr>
            <c:extLst>
              <c:ext xmlns:c16="http://schemas.microsoft.com/office/drawing/2014/chart" uri="{C3380CC4-5D6E-409C-BE32-E72D297353CC}">
                <c16:uniqueId val="{00000081-83E0-4716-877A-8084D4846F88}"/>
              </c:ext>
            </c:extLst>
          </c:dPt>
          <c:dPt>
            <c:idx val="65"/>
            <c:invertIfNegative val="1"/>
            <c:bubble3D val="0"/>
            <c:spPr>
              <a:solidFill>
                <a:srgbClr val="E6E5E5"/>
              </a:solidFill>
            </c:spPr>
            <c:extLst>
              <c:ext xmlns:c16="http://schemas.microsoft.com/office/drawing/2014/chart" uri="{C3380CC4-5D6E-409C-BE32-E72D297353CC}">
                <c16:uniqueId val="{00000083-83E0-4716-877A-8084D4846F88}"/>
              </c:ext>
            </c:extLst>
          </c:dPt>
          <c:dPt>
            <c:idx val="66"/>
            <c:invertIfNegative val="1"/>
            <c:bubble3D val="0"/>
            <c:spPr>
              <a:solidFill>
                <a:srgbClr val="C00000"/>
              </a:solidFill>
            </c:spPr>
            <c:extLst>
              <c:ext xmlns:c16="http://schemas.microsoft.com/office/drawing/2014/chart" uri="{C3380CC4-5D6E-409C-BE32-E72D297353CC}">
                <c16:uniqueId val="{00000085-83E0-4716-877A-8084D4846F88}"/>
              </c:ext>
            </c:extLst>
          </c:dPt>
          <c:dPt>
            <c:idx val="67"/>
            <c:invertIfNegative val="1"/>
            <c:bubble3D val="0"/>
            <c:spPr>
              <a:solidFill>
                <a:srgbClr val="E6E5E5"/>
              </a:solidFill>
            </c:spPr>
            <c:extLst>
              <c:ext xmlns:c16="http://schemas.microsoft.com/office/drawing/2014/chart" uri="{C3380CC4-5D6E-409C-BE32-E72D297353CC}">
                <c16:uniqueId val="{00000087-83E0-4716-877A-8084D4846F88}"/>
              </c:ext>
            </c:extLst>
          </c:dPt>
          <c:dPt>
            <c:idx val="68"/>
            <c:invertIfNegative val="1"/>
            <c:bubble3D val="0"/>
            <c:spPr>
              <a:solidFill>
                <a:srgbClr val="E6E5E5"/>
              </a:solidFill>
            </c:spPr>
            <c:extLst>
              <c:ext xmlns:c16="http://schemas.microsoft.com/office/drawing/2014/chart" uri="{C3380CC4-5D6E-409C-BE32-E72D297353CC}">
                <c16:uniqueId val="{00000089-83E0-4716-877A-8084D4846F88}"/>
              </c:ext>
            </c:extLst>
          </c:dPt>
          <c:dPt>
            <c:idx val="69"/>
            <c:invertIfNegative val="1"/>
            <c:bubble3D val="0"/>
            <c:spPr>
              <a:solidFill>
                <a:srgbClr val="E6E5E5"/>
              </a:solidFill>
            </c:spPr>
            <c:extLst>
              <c:ext xmlns:c16="http://schemas.microsoft.com/office/drawing/2014/chart" uri="{C3380CC4-5D6E-409C-BE32-E72D297353CC}">
                <c16:uniqueId val="{0000008B-83E0-4716-877A-8084D4846F88}"/>
              </c:ext>
            </c:extLst>
          </c:dPt>
          <c:dPt>
            <c:idx val="70"/>
            <c:invertIfNegative val="1"/>
            <c:bubble3D val="0"/>
            <c:spPr>
              <a:solidFill>
                <a:srgbClr val="E6E5E5"/>
              </a:solidFill>
            </c:spPr>
            <c:extLst>
              <c:ext xmlns:c16="http://schemas.microsoft.com/office/drawing/2014/chart" uri="{C3380CC4-5D6E-409C-BE32-E72D297353CC}">
                <c16:uniqueId val="{0000008D-83E0-4716-877A-8084D4846F88}"/>
              </c:ext>
            </c:extLst>
          </c:dPt>
          <c:dPt>
            <c:idx val="71"/>
            <c:invertIfNegative val="1"/>
            <c:bubble3D val="0"/>
            <c:spPr>
              <a:solidFill>
                <a:srgbClr val="E6E5E5"/>
              </a:solidFill>
            </c:spPr>
            <c:extLst>
              <c:ext xmlns:c16="http://schemas.microsoft.com/office/drawing/2014/chart" uri="{C3380CC4-5D6E-409C-BE32-E72D297353CC}">
                <c16:uniqueId val="{0000008F-83E0-4716-877A-8084D4846F88}"/>
              </c:ext>
            </c:extLst>
          </c:dPt>
          <c:dPt>
            <c:idx val="72"/>
            <c:invertIfNegative val="1"/>
            <c:bubble3D val="0"/>
            <c:spPr>
              <a:solidFill>
                <a:srgbClr val="E6E5E5"/>
              </a:solidFill>
            </c:spPr>
            <c:extLst>
              <c:ext xmlns:c16="http://schemas.microsoft.com/office/drawing/2014/chart" uri="{C3380CC4-5D6E-409C-BE32-E72D297353CC}">
                <c16:uniqueId val="{00000091-83E0-4716-877A-8084D4846F88}"/>
              </c:ext>
            </c:extLst>
          </c:dPt>
          <c:dPt>
            <c:idx val="73"/>
            <c:invertIfNegative val="1"/>
            <c:bubble3D val="0"/>
            <c:spPr>
              <a:solidFill>
                <a:srgbClr val="E6E5E5"/>
              </a:solidFill>
            </c:spPr>
            <c:extLst>
              <c:ext xmlns:c16="http://schemas.microsoft.com/office/drawing/2014/chart" uri="{C3380CC4-5D6E-409C-BE32-E72D297353CC}">
                <c16:uniqueId val="{00000093-83E0-4716-877A-8084D4846F88}"/>
              </c:ext>
            </c:extLst>
          </c:dPt>
          <c:dPt>
            <c:idx val="74"/>
            <c:invertIfNegative val="1"/>
            <c:bubble3D val="0"/>
            <c:spPr>
              <a:solidFill>
                <a:srgbClr val="E6E5E5"/>
              </a:solidFill>
            </c:spPr>
            <c:extLst>
              <c:ext xmlns:c16="http://schemas.microsoft.com/office/drawing/2014/chart" uri="{C3380CC4-5D6E-409C-BE32-E72D297353CC}">
                <c16:uniqueId val="{00000095-83E0-4716-877A-8084D4846F88}"/>
              </c:ext>
            </c:extLst>
          </c:dPt>
          <c:dPt>
            <c:idx val="75"/>
            <c:invertIfNegative val="1"/>
            <c:bubble3D val="0"/>
            <c:spPr>
              <a:solidFill>
                <a:srgbClr val="E6E5E5"/>
              </a:solidFill>
            </c:spPr>
            <c:extLst>
              <c:ext xmlns:c16="http://schemas.microsoft.com/office/drawing/2014/chart" uri="{C3380CC4-5D6E-409C-BE32-E72D297353CC}">
                <c16:uniqueId val="{00000097-83E0-4716-877A-8084D4846F88}"/>
              </c:ext>
            </c:extLst>
          </c:dPt>
          <c:dPt>
            <c:idx val="76"/>
            <c:invertIfNegative val="1"/>
            <c:bubble3D val="0"/>
            <c:spPr>
              <a:solidFill>
                <a:srgbClr val="E6E5E5"/>
              </a:solidFill>
            </c:spPr>
            <c:extLst>
              <c:ext xmlns:c16="http://schemas.microsoft.com/office/drawing/2014/chart" uri="{C3380CC4-5D6E-409C-BE32-E72D297353CC}">
                <c16:uniqueId val="{00000099-83E0-4716-877A-8084D4846F88}"/>
              </c:ext>
            </c:extLst>
          </c:dPt>
          <c:dPt>
            <c:idx val="77"/>
            <c:invertIfNegative val="1"/>
            <c:bubble3D val="0"/>
            <c:spPr>
              <a:solidFill>
                <a:srgbClr val="E6E5E5"/>
              </a:solidFill>
            </c:spPr>
            <c:extLst>
              <c:ext xmlns:c16="http://schemas.microsoft.com/office/drawing/2014/chart" uri="{C3380CC4-5D6E-409C-BE32-E72D297353CC}">
                <c16:uniqueId val="{0000009B-83E0-4716-877A-8084D4846F88}"/>
              </c:ext>
            </c:extLst>
          </c:dPt>
          <c:dPt>
            <c:idx val="78"/>
            <c:invertIfNegative val="1"/>
            <c:bubble3D val="0"/>
            <c:spPr>
              <a:solidFill>
                <a:srgbClr val="E6E5E5"/>
              </a:solidFill>
            </c:spPr>
            <c:extLst>
              <c:ext xmlns:c16="http://schemas.microsoft.com/office/drawing/2014/chart" uri="{C3380CC4-5D6E-409C-BE32-E72D297353CC}">
                <c16:uniqueId val="{0000009D-83E0-4716-877A-8084D4846F88}"/>
              </c:ext>
            </c:extLst>
          </c:dPt>
          <c:dPt>
            <c:idx val="79"/>
            <c:invertIfNegative val="1"/>
            <c:bubble3D val="0"/>
            <c:spPr>
              <a:solidFill>
                <a:srgbClr val="E6E5E5"/>
              </a:solidFill>
            </c:spPr>
            <c:extLst>
              <c:ext xmlns:c16="http://schemas.microsoft.com/office/drawing/2014/chart" uri="{C3380CC4-5D6E-409C-BE32-E72D297353CC}">
                <c16:uniqueId val="{0000009F-83E0-4716-877A-8084D4846F88}"/>
              </c:ext>
            </c:extLst>
          </c:dPt>
          <c:dPt>
            <c:idx val="80"/>
            <c:invertIfNegative val="1"/>
            <c:bubble3D val="0"/>
            <c:spPr>
              <a:solidFill>
                <a:srgbClr val="E6E5E5"/>
              </a:solidFill>
            </c:spPr>
            <c:extLst>
              <c:ext xmlns:c16="http://schemas.microsoft.com/office/drawing/2014/chart" uri="{C3380CC4-5D6E-409C-BE32-E72D297353CC}">
                <c16:uniqueId val="{000000A1-83E0-4716-877A-8084D4846F88}"/>
              </c:ext>
            </c:extLst>
          </c:dPt>
          <c:dPt>
            <c:idx val="81"/>
            <c:invertIfNegative val="1"/>
            <c:bubble3D val="0"/>
            <c:spPr>
              <a:solidFill>
                <a:srgbClr val="E6E5E5"/>
              </a:solidFill>
            </c:spPr>
            <c:extLst>
              <c:ext xmlns:c16="http://schemas.microsoft.com/office/drawing/2014/chart" uri="{C3380CC4-5D6E-409C-BE32-E72D297353CC}">
                <c16:uniqueId val="{000000A3-83E0-4716-877A-8084D4846F88}"/>
              </c:ext>
            </c:extLst>
          </c:dPt>
          <c:dPt>
            <c:idx val="82"/>
            <c:invertIfNegative val="1"/>
            <c:bubble3D val="0"/>
            <c:spPr>
              <a:solidFill>
                <a:srgbClr val="E6E5E5"/>
              </a:solidFill>
            </c:spPr>
            <c:extLst>
              <c:ext xmlns:c16="http://schemas.microsoft.com/office/drawing/2014/chart" uri="{C3380CC4-5D6E-409C-BE32-E72D297353CC}">
                <c16:uniqueId val="{000000A5-83E0-4716-877A-8084D4846F88}"/>
              </c:ext>
            </c:extLst>
          </c:dPt>
          <c:dPt>
            <c:idx val="83"/>
            <c:invertIfNegative val="1"/>
            <c:bubble3D val="0"/>
            <c:spPr>
              <a:solidFill>
                <a:srgbClr val="E6E5E5"/>
              </a:solidFill>
            </c:spPr>
            <c:extLst>
              <c:ext xmlns:c16="http://schemas.microsoft.com/office/drawing/2014/chart" uri="{C3380CC4-5D6E-409C-BE32-E72D297353CC}">
                <c16:uniqueId val="{000000A7-83E0-4716-877A-8084D4846F88}"/>
              </c:ext>
            </c:extLst>
          </c:dPt>
          <c:dPt>
            <c:idx val="84"/>
            <c:invertIfNegative val="1"/>
            <c:bubble3D val="0"/>
            <c:spPr>
              <a:solidFill>
                <a:srgbClr val="E6E5E5"/>
              </a:solidFill>
            </c:spPr>
            <c:extLst>
              <c:ext xmlns:c16="http://schemas.microsoft.com/office/drawing/2014/chart" uri="{C3380CC4-5D6E-409C-BE32-E72D297353CC}">
                <c16:uniqueId val="{000000A9-83E0-4716-877A-8084D4846F88}"/>
              </c:ext>
            </c:extLst>
          </c:dPt>
          <c:dPt>
            <c:idx val="85"/>
            <c:invertIfNegative val="1"/>
            <c:bubble3D val="0"/>
            <c:spPr>
              <a:solidFill>
                <a:srgbClr val="E6E5E5"/>
              </a:solidFill>
            </c:spPr>
            <c:extLst>
              <c:ext xmlns:c16="http://schemas.microsoft.com/office/drawing/2014/chart" uri="{C3380CC4-5D6E-409C-BE32-E72D297353CC}">
                <c16:uniqueId val="{000000AB-83E0-4716-877A-8084D4846F88}"/>
              </c:ext>
            </c:extLst>
          </c:dPt>
          <c:dPt>
            <c:idx val="86"/>
            <c:invertIfNegative val="1"/>
            <c:bubble3D val="0"/>
            <c:spPr>
              <a:solidFill>
                <a:srgbClr val="E6E5E5"/>
              </a:solidFill>
            </c:spPr>
            <c:extLst>
              <c:ext xmlns:c16="http://schemas.microsoft.com/office/drawing/2014/chart" uri="{C3380CC4-5D6E-409C-BE32-E72D297353CC}">
                <c16:uniqueId val="{000000AD-83E0-4716-877A-8084D4846F88}"/>
              </c:ext>
            </c:extLst>
          </c:dPt>
          <c:dPt>
            <c:idx val="87"/>
            <c:invertIfNegative val="1"/>
            <c:bubble3D val="0"/>
            <c:spPr>
              <a:solidFill>
                <a:srgbClr val="E6E5E5"/>
              </a:solidFill>
            </c:spPr>
            <c:extLst>
              <c:ext xmlns:c16="http://schemas.microsoft.com/office/drawing/2014/chart" uri="{C3380CC4-5D6E-409C-BE32-E72D297353CC}">
                <c16:uniqueId val="{000000AF-83E0-4716-877A-8084D4846F88}"/>
              </c:ext>
            </c:extLst>
          </c:dPt>
          <c:dPt>
            <c:idx val="88"/>
            <c:invertIfNegative val="1"/>
            <c:bubble3D val="0"/>
            <c:spPr>
              <a:solidFill>
                <a:srgbClr val="E6E5E5"/>
              </a:solidFill>
            </c:spPr>
            <c:extLst>
              <c:ext xmlns:c16="http://schemas.microsoft.com/office/drawing/2014/chart" uri="{C3380CC4-5D6E-409C-BE32-E72D297353CC}">
                <c16:uniqueId val="{000000B1-83E0-4716-877A-8084D4846F88}"/>
              </c:ext>
            </c:extLst>
          </c:dPt>
          <c:dPt>
            <c:idx val="89"/>
            <c:invertIfNegative val="1"/>
            <c:bubble3D val="0"/>
            <c:spPr>
              <a:solidFill>
                <a:srgbClr val="E6E5E5"/>
              </a:solidFill>
            </c:spPr>
            <c:extLst>
              <c:ext xmlns:c16="http://schemas.microsoft.com/office/drawing/2014/chart" uri="{C3380CC4-5D6E-409C-BE32-E72D297353CC}">
                <c16:uniqueId val="{000000B3-83E0-4716-877A-8084D4846F88}"/>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83E0-4716-877A-8084D4846F88}"/>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83E0-4716-877A-8084D4846F88}"/>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83E0-4716-877A-8084D4846F88}"/>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83E0-4716-877A-8084D4846F88}"/>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83E0-4716-877A-8084D4846F88}"/>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83E0-4716-877A-8084D4846F88}"/>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83E0-4716-877A-8084D4846F88}"/>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83E0-4716-877A-8084D4846F88}"/>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83E0-4716-877A-8084D4846F88}"/>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83E0-4716-877A-8084D4846F88}"/>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83E0-4716-877A-8084D4846F88}"/>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83E0-4716-877A-8084D4846F88}"/>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83E0-4716-877A-8084D4846F88}"/>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83E0-4716-877A-8084D4846F88}"/>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83E0-4716-877A-8084D4846F88}"/>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83E0-4716-877A-8084D4846F88}"/>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83E0-4716-877A-8084D4846F88}"/>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83E0-4716-877A-8084D4846F88}"/>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83E0-4716-877A-8084D4846F88}"/>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83E0-4716-877A-8084D4846F88}"/>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83E0-4716-877A-8084D4846F88}"/>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83E0-4716-877A-8084D4846F88}"/>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83E0-4716-877A-8084D4846F88}"/>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83E0-4716-877A-8084D4846F88}"/>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83E0-4716-877A-8084D4846F88}"/>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83E0-4716-877A-8084D4846F88}"/>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83E0-4716-877A-8084D4846F88}"/>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83E0-4716-877A-8084D4846F88}"/>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83E0-4716-877A-8084D4846F88}"/>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83E0-4716-877A-8084D4846F88}"/>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83E0-4716-877A-8084D4846F88}"/>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83E0-4716-877A-8084D4846F88}"/>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83E0-4716-877A-8084D4846F88}"/>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83E0-4716-877A-8084D4846F88}"/>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83E0-4716-877A-8084D4846F88}"/>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83E0-4716-877A-8084D4846F88}"/>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83E0-4716-877A-8084D4846F88}"/>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83E0-4716-877A-8084D4846F88}"/>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83E0-4716-877A-8084D4846F88}"/>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83E0-4716-877A-8084D4846F88}"/>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83E0-4716-877A-8084D4846F88}"/>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83E0-4716-877A-8084D4846F88}"/>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83E0-4716-877A-8084D4846F88}"/>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83E0-4716-877A-8084D4846F88}"/>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83E0-4716-877A-8084D4846F88}"/>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83E0-4716-877A-8084D4846F88}"/>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83E0-4716-877A-8084D4846F88}"/>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83E0-4716-877A-8084D4846F88}"/>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83E0-4716-877A-8084D4846F88}"/>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83E0-4716-877A-8084D4846F88}"/>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83E0-4716-877A-8084D4846F88}"/>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83E0-4716-877A-8084D4846F88}"/>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83E0-4716-877A-8084D4846F88}"/>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83E0-4716-877A-8084D4846F88}"/>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83E0-4716-877A-8084D4846F88}"/>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83E0-4716-877A-8084D4846F88}"/>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83E0-4716-877A-8084D4846F88}"/>
                </c:ext>
              </c:extLst>
            </c:dLbl>
            <c:dLbl>
              <c:idx val="5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83E0-4716-877A-8084D4846F88}"/>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83E0-4716-877A-8084D4846F88}"/>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83E0-4716-877A-8084D4846F88}"/>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83E0-4716-877A-8084D4846F88}"/>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83E0-4716-877A-8084D4846F88}"/>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83E0-4716-877A-8084D4846F88}"/>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83E0-4716-877A-8084D4846F88}"/>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83E0-4716-877A-8084D4846F88}"/>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83E0-4716-877A-8084D4846F88}"/>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83E0-4716-877A-8084D4846F88}"/>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83E0-4716-877A-8084D4846F88}"/>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83E0-4716-877A-8084D4846F88}"/>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83E0-4716-877A-8084D4846F88}"/>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83E0-4716-877A-8084D4846F88}"/>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83E0-4716-877A-8084D4846F88}"/>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83E0-4716-877A-8084D4846F88}"/>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83E0-4716-877A-8084D4846F88}"/>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83E0-4716-877A-8084D4846F88}"/>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83E0-4716-877A-8084D4846F88}"/>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83E0-4716-877A-8084D4846F88}"/>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83E0-4716-877A-8084D4846F88}"/>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83E0-4716-877A-8084D4846F88}"/>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83E0-4716-877A-8084D4846F88}"/>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83E0-4716-877A-8084D4846F88}"/>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83E0-4716-877A-8084D4846F88}"/>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83E0-4716-877A-8084D4846F88}"/>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83E0-4716-877A-8084D4846F88}"/>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83E0-4716-877A-8084D4846F88}"/>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83E0-4716-877A-8084D4846F88}"/>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83E0-4716-877A-8084D4846F88}"/>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83E0-4716-877A-8084D4846F88}"/>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83E0-4716-877A-8084D4846F88}"/>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9</c:f>
              <c:strCache>
                <c:ptCount val="78"/>
                <c:pt idx="0">
                  <c:v>Galaxy Jewels 1.4kg</c:v>
                </c:pt>
                <c:pt idx="1">
                  <c:v>Ferrero Rocher 300g</c:v>
                </c:pt>
                <c:pt idx="2">
                  <c:v>Galaxy Smooth Milk Chocolate 36g x 24</c:v>
                </c:pt>
                <c:pt idx="3">
                  <c:v>Galaxy Jewels 900g</c:v>
                </c:pt>
                <c:pt idx="4">
                  <c:v>Galaxy Jewels 650g</c:v>
                </c:pt>
                <c:pt idx="5">
                  <c:v>Cadbury Dairy Milk Minis Selection 500g</c:v>
                </c:pt>
                <c:pt idx="6">
                  <c:v>Kit Kat 17.7g x 18</c:v>
                </c:pt>
                <c:pt idx="7">
                  <c:v>Kinder Bueno Milk&amp;Hazelnut 43g</c:v>
                </c:pt>
                <c:pt idx="8">
                  <c:v>Tiffany Break Supa 38gx12</c:v>
                </c:pt>
                <c:pt idx="9">
                  <c:v>Snickers 50gx6</c:v>
                </c:pt>
                <c:pt idx="10">
                  <c:v>Tiffany Break 24x15.5g</c:v>
                </c:pt>
                <c:pt idx="11">
                  <c:v>Tiffany Break Mini Fun 384g</c:v>
                </c:pt>
                <c:pt idx="12">
                  <c:v>Kinder Bueno Milk&amp;Hazelnut 43gx10</c:v>
                </c:pt>
                <c:pt idx="13">
                  <c:v>Mackintosh Quality Street Chocolate 600g</c:v>
                </c:pt>
                <c:pt idx="14">
                  <c:v>Snickers Bar 50g</c:v>
                </c:pt>
                <c:pt idx="15">
                  <c:v>Maltesers Chocolate 175g</c:v>
                </c:pt>
                <c:pt idx="16">
                  <c:v>Tiffany Break 31gx12</c:v>
                </c:pt>
                <c:pt idx="17">
                  <c:v>Tiffany Break Delight 25gx12</c:v>
                </c:pt>
                <c:pt idx="18">
                  <c:v>Snickers Minis Bag 252g</c:v>
                </c:pt>
                <c:pt idx="19">
                  <c:v>Cadbury Miniatures Box 400g</c:v>
                </c:pt>
                <c:pt idx="20">
                  <c:v>Bounty Bar 57g</c:v>
                </c:pt>
                <c:pt idx="21">
                  <c:v>Galaxy Smooth Milk Minis 237.5g</c:v>
                </c:pt>
                <c:pt idx="22">
                  <c:v>Bounty Bar 57g x 5</c:v>
                </c:pt>
                <c:pt idx="23">
                  <c:v>Kinder Maxi Chocolate 21gx11 (10+1)</c:v>
                </c:pt>
                <c:pt idx="24">
                  <c:v>Ferrero Rocher 200g</c:v>
                </c:pt>
                <c:pt idx="25">
                  <c:v>Ferrero Raffaello 150g box </c:v>
                </c:pt>
                <c:pt idx="26">
                  <c:v>Galaxy Hazelnut Minis 237.5g</c:v>
                </c:pt>
                <c:pt idx="27">
                  <c:v>Twix 50gx5</c:v>
                </c:pt>
                <c:pt idx="28">
                  <c:v>Twix Bar 50g</c:v>
                </c:pt>
                <c:pt idx="29">
                  <c:v>Maltesers Chocolate 37g</c:v>
                </c:pt>
                <c:pt idx="30">
                  <c:v>Snickers Miniatures 150g</c:v>
                </c:pt>
                <c:pt idx="31">
                  <c:v>Cadbury Flake Minis Bag 159.5g</c:v>
                </c:pt>
                <c:pt idx="32">
                  <c:v>M&amp;M's Peanut 165g</c:v>
                </c:pt>
                <c:pt idx="33">
                  <c:v>Twix Miniatures 150g</c:v>
                </c:pt>
                <c:pt idx="34">
                  <c:v>Cadbury Timeout Minis Wafer 247.2g</c:v>
                </c:pt>
                <c:pt idx="35">
                  <c:v>Toblerone Milk Chocolate 200g</c:v>
                </c:pt>
                <c:pt idx="36">
                  <c:v>Galaxy Smooth Milk Minis 162.5g</c:v>
                </c:pt>
                <c:pt idx="37">
                  <c:v>Mars 45g x 6</c:v>
                </c:pt>
                <c:pt idx="38">
                  <c:v>Bounty Miniatures 150g</c:v>
                </c:pt>
                <c:pt idx="39">
                  <c:v>Kinder Chocolate Bar 8x12.5g</c:v>
                </c:pt>
                <c:pt idx="40">
                  <c:v>Galaxy Smooth Dark Chocolate 40g</c:v>
                </c:pt>
                <c:pt idx="41">
                  <c:v>Mars Bar 51g </c:v>
                </c:pt>
                <c:pt idx="42">
                  <c:v>Hershey's Kisses Special Selection Assorted 325g</c:v>
                </c:pt>
                <c:pt idx="43">
                  <c:v>Galaxy Hazelnut Chocolate 36g</c:v>
                </c:pt>
                <c:pt idx="44">
                  <c:v>Galaxy Smooth Milk Chocolate 36g</c:v>
                </c:pt>
                <c:pt idx="45">
                  <c:v>Galaxy Caramel Bar 40g</c:v>
                </c:pt>
                <c:pt idx="46">
                  <c:v>Kinder Chocolate Bar 50g</c:v>
                </c:pt>
                <c:pt idx="47">
                  <c:v>Kinder Bueno White 39g</c:v>
                </c:pt>
                <c:pt idx="48">
                  <c:v>Hershey's Kisses Classic Selection Assorted 325g</c:v>
                </c:pt>
                <c:pt idx="49">
                  <c:v>Galaxy Crispy Milk Chocolate 36g</c:v>
                </c:pt>
                <c:pt idx="50">
                  <c:v> Reeses Peanut Butter Cup Mini 340g </c:v>
                </c:pt>
                <c:pt idx="51">
                  <c:v>Kit Kat 17.7g</c:v>
                </c:pt>
                <c:pt idx="52">
                  <c:v> Reeses Peanut Butter Cup 42g x 6</c:v>
                </c:pt>
                <c:pt idx="53">
                  <c:v>Reeses Peanut Butter Cups 46g</c:v>
                </c:pt>
                <c:pt idx="54">
                  <c:v>Reeses Peanut Butter Cup Mini 215g</c:v>
                </c:pt>
                <c:pt idx="55">
                  <c:v>M&amp;M's Milk Chocolate 30.6g</c:v>
                </c:pt>
                <c:pt idx="56">
                  <c:v>Godiva Double Chocolate Bar 35g</c:v>
                </c:pt>
                <c:pt idx="57">
                  <c:v>Galaxy Smooth Milk Chocolate 80g</c:v>
                </c:pt>
                <c:pt idx="58">
                  <c:v>Galaxy Ripple Bar 33g</c:v>
                </c:pt>
                <c:pt idx="59">
                  <c:v>Hershey's Chocobites Cookies 'n Creme 90g</c:v>
                </c:pt>
                <c:pt idx="60">
                  <c:v>Hershey's Kisses Special Selection Assorted 100g</c:v>
                </c:pt>
                <c:pt idx="61">
                  <c:v>Hershey's Chocobites Salted Caramel 81g</c:v>
                </c:pt>
                <c:pt idx="62">
                  <c:v>Hershey's Cookies N' Chocolate 40g</c:v>
                </c:pt>
                <c:pt idx="63">
                  <c:v>Reeses Block 90g</c:v>
                </c:pt>
                <c:pt idx="64">
                  <c:v>Reeses Nut Bar 47g</c:v>
                </c:pt>
                <c:pt idx="65">
                  <c:v>Hershey's Kisses Classic Selection Assorted 100g</c:v>
                </c:pt>
                <c:pt idx="66">
                  <c:v>Hershey's Cookies 'n Creme Creations Salted Caramel 38g</c:v>
                </c:pt>
                <c:pt idx="67">
                  <c:v>Hershey's Cookies N' Crème 12.76g</c:v>
                </c:pt>
                <c:pt idx="68">
                  <c:v> Reeses Wafer Sticks 42g</c:v>
                </c:pt>
                <c:pt idx="69">
                  <c:v>Hershey's Choco Tubes Cookies N' Creme 18g</c:v>
                </c:pt>
                <c:pt idx="70">
                  <c:v> Reeses Peanut Butter Cup Mini 500G</c:v>
                </c:pt>
                <c:pt idx="71">
                  <c:v>Reeses Pieces 180g</c:v>
                </c:pt>
                <c:pt idx="72">
                  <c:v>Reeses Mini King Size 71g</c:v>
                </c:pt>
                <c:pt idx="73">
                  <c:v>Hershey's Cookies 'n Creme Block 90g</c:v>
                </c:pt>
                <c:pt idx="74">
                  <c:v>Hersheys Kisses Classic Selection Assorted 600G</c:v>
                </c:pt>
                <c:pt idx="75">
                  <c:v>Hershey's Cookies 'n Creme 40Gx 4</c:v>
                </c:pt>
                <c:pt idx="76">
                  <c:v>Hershey's Variety Pack 40Gx3</c:v>
                </c:pt>
                <c:pt idx="77">
                  <c:v>Reeses Fast break 51g</c:v>
                </c:pt>
              </c:strCache>
            </c:strRef>
          </c:cat>
          <c:val>
            <c:numRef>
              <c:f>Sheet1!$B$2:$B$79</c:f>
              <c:numCache>
                <c:formatCode>General</c:formatCode>
                <c:ptCount val="78"/>
                <c:pt idx="0">
                  <c:v>8.7534810601232665E-2</c:v>
                </c:pt>
                <c:pt idx="1">
                  <c:v>5.7559500892221442E-2</c:v>
                </c:pt>
                <c:pt idx="2">
                  <c:v>5.2484576460387768E-2</c:v>
                </c:pt>
                <c:pt idx="3">
                  <c:v>5.2431668272041182E-2</c:v>
                </c:pt>
                <c:pt idx="4">
                  <c:v>4.868892335715206E-2</c:v>
                </c:pt>
                <c:pt idx="5">
                  <c:v>3.9883127665807053E-2</c:v>
                </c:pt>
                <c:pt idx="6">
                  <c:v>2.9310751584451511E-2</c:v>
                </c:pt>
                <c:pt idx="7">
                  <c:v>2.7693958481604788E-2</c:v>
                </c:pt>
                <c:pt idx="8">
                  <c:v>2.520913477236672E-2</c:v>
                </c:pt>
                <c:pt idx="9">
                  <c:v>2.4955217813546149E-2</c:v>
                </c:pt>
                <c:pt idx="10">
                  <c:v>2.4411629377003408E-2</c:v>
                </c:pt>
                <c:pt idx="11">
                  <c:v>2.432162347521807E-2</c:v>
                </c:pt>
                <c:pt idx="12">
                  <c:v>2.2631346863859841E-2</c:v>
                </c:pt>
                <c:pt idx="13">
                  <c:v>2.2425372973408079E-2</c:v>
                </c:pt>
                <c:pt idx="14">
                  <c:v>2.1309215636296241E-2</c:v>
                </c:pt>
                <c:pt idx="15">
                  <c:v>2.0959753622360241E-2</c:v>
                </c:pt>
                <c:pt idx="16">
                  <c:v>2.0800319571241239E-2</c:v>
                </c:pt>
                <c:pt idx="17">
                  <c:v>1.7970810967835201E-2</c:v>
                </c:pt>
                <c:pt idx="18">
                  <c:v>1.6850758622753849E-2</c:v>
                </c:pt>
                <c:pt idx="19">
                  <c:v>1.596269816570935E-2</c:v>
                </c:pt>
                <c:pt idx="20">
                  <c:v>1.5112238409568249E-2</c:v>
                </c:pt>
                <c:pt idx="21">
                  <c:v>1.461542990237732E-2</c:v>
                </c:pt>
                <c:pt idx="22">
                  <c:v>1.4334284118613001E-2</c:v>
                </c:pt>
                <c:pt idx="23">
                  <c:v>1.430940527615138E-2</c:v>
                </c:pt>
                <c:pt idx="24">
                  <c:v>1.4289080781313281E-2</c:v>
                </c:pt>
                <c:pt idx="25">
                  <c:v>1.403814668354727E-2</c:v>
                </c:pt>
                <c:pt idx="26">
                  <c:v>1.330105136333818E-2</c:v>
                </c:pt>
                <c:pt idx="27">
                  <c:v>1.279435495102535E-2</c:v>
                </c:pt>
                <c:pt idx="28">
                  <c:v>1.1555834851677259E-2</c:v>
                </c:pt>
                <c:pt idx="29">
                  <c:v>1.1353549481144559E-2</c:v>
                </c:pt>
                <c:pt idx="30">
                  <c:v>1.086773292425431E-2</c:v>
                </c:pt>
                <c:pt idx="31">
                  <c:v>1.0487758880938881E-2</c:v>
                </c:pt>
                <c:pt idx="32">
                  <c:v>1.043360818931305E-2</c:v>
                </c:pt>
                <c:pt idx="33">
                  <c:v>1.021010493667055E-2</c:v>
                </c:pt>
                <c:pt idx="34">
                  <c:v>1.0000357436865779E-2</c:v>
                </c:pt>
                <c:pt idx="35">
                  <c:v>9.6856196504729163E-3</c:v>
                </c:pt>
                <c:pt idx="36">
                  <c:v>9.406623878718887E-3</c:v>
                </c:pt>
                <c:pt idx="37">
                  <c:v>8.1035583272461749E-3</c:v>
                </c:pt>
                <c:pt idx="38">
                  <c:v>7.5495692266556828E-3</c:v>
                </c:pt>
                <c:pt idx="39">
                  <c:v>7.4420449325245048E-3</c:v>
                </c:pt>
                <c:pt idx="40">
                  <c:v>7.2277216112720663E-3</c:v>
                </c:pt>
                <c:pt idx="41">
                  <c:v>7.1673392735173798E-3</c:v>
                </c:pt>
                <c:pt idx="42">
                  <c:v>6.7869153080573506E-3</c:v>
                </c:pt>
                <c:pt idx="43">
                  <c:v>6.6451374901548904E-3</c:v>
                </c:pt>
                <c:pt idx="44">
                  <c:v>6.5885098340167552E-3</c:v>
                </c:pt>
                <c:pt idx="45">
                  <c:v>6.1118889102816784E-3</c:v>
                </c:pt>
                <c:pt idx="46">
                  <c:v>5.4493931229054396E-3</c:v>
                </c:pt>
                <c:pt idx="47">
                  <c:v>5.4360110602241834E-3</c:v>
                </c:pt>
                <c:pt idx="48">
                  <c:v>5.072109933842715E-3</c:v>
                </c:pt>
                <c:pt idx="49">
                  <c:v>4.8778405380791113E-3</c:v>
                </c:pt>
                <c:pt idx="50">
                  <c:v>4.8293537084955207E-3</c:v>
                </c:pt>
                <c:pt idx="51">
                  <c:v>4.756436351299226E-3</c:v>
                </c:pt>
                <c:pt idx="52">
                  <c:v>4.6147312769180401E-3</c:v>
                </c:pt>
                <c:pt idx="53">
                  <c:v>4.5051743706602341E-3</c:v>
                </c:pt>
                <c:pt idx="54">
                  <c:v>4.4076916789279564E-3</c:v>
                </c:pt>
                <c:pt idx="55">
                  <c:v>4.0239190321588224E-3</c:v>
                </c:pt>
                <c:pt idx="56">
                  <c:v>3.9206240800433037E-3</c:v>
                </c:pt>
                <c:pt idx="57">
                  <c:v>3.4990833523240289E-3</c:v>
                </c:pt>
                <c:pt idx="58">
                  <c:v>3.3187734201093398E-3</c:v>
                </c:pt>
                <c:pt idx="59">
                  <c:v>2.7137303220649859E-3</c:v>
                </c:pt>
                <c:pt idx="60">
                  <c:v>2.541702375438945E-3</c:v>
                </c:pt>
                <c:pt idx="61">
                  <c:v>2.4340625382641319E-3</c:v>
                </c:pt>
                <c:pt idx="62">
                  <c:v>2.4219716916852839E-3</c:v>
                </c:pt>
                <c:pt idx="63">
                  <c:v>2.1593638402186001E-3</c:v>
                </c:pt>
                <c:pt idx="64">
                  <c:v>1.6564163558322471E-3</c:v>
                </c:pt>
                <c:pt idx="65">
                  <c:v>1.534050800512053E-3</c:v>
                </c:pt>
                <c:pt idx="66">
                  <c:v>8.8861505707664911E-4</c:v>
                </c:pt>
                <c:pt idx="67">
                  <c:v>7.8139805979037706E-4</c:v>
                </c:pt>
                <c:pt idx="68">
                  <c:v>2.7164883385527279E-4</c:v>
                </c:pt>
                <c:pt idx="69">
                  <c:v>7.2832393059720158E-5</c:v>
                </c:pt>
                <c:pt idx="70">
                  <c:v>0</c:v>
                </c:pt>
                <c:pt idx="71">
                  <c:v>0</c:v>
                </c:pt>
                <c:pt idx="72">
                  <c:v>0</c:v>
                </c:pt>
                <c:pt idx="73">
                  <c:v>0</c:v>
                </c:pt>
                <c:pt idx="74">
                  <c:v>0</c:v>
                </c:pt>
                <c:pt idx="75">
                  <c:v>0</c:v>
                </c:pt>
                <c:pt idx="76">
                  <c:v>0</c:v>
                </c:pt>
                <c:pt idx="77">
                  <c:v>0</c:v>
                </c:pt>
              </c:numCache>
            </c:numRef>
          </c:val>
          <c:extLst>
            <c:ext xmlns:c16="http://schemas.microsoft.com/office/drawing/2014/chart" uri="{C3380CC4-5D6E-409C-BE32-E72D297353CC}">
              <c16:uniqueId val="{000000B4-83E0-4716-877A-8084D4846F88}"/>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ershey's Cookies 'n Creme Block 90g</c:v>
                </c:pt>
              </c:strCache>
            </c:strRef>
          </c:tx>
          <c:spPr>
            <a:solidFill>
              <a:schemeClr val="bg2"/>
            </a:solidFill>
            <a:ln>
              <a:noFill/>
            </a:ln>
            <a:effectLst/>
          </c:spPr>
          <c:invertIfNegative val="0"/>
          <c:dPt>
            <c:idx val="0"/>
            <c:invertIfNegative val="0"/>
            <c:bubble3D val="0"/>
            <c:spPr>
              <a:solidFill>
                <a:srgbClr val="E6E5E5"/>
              </a:solidFill>
              <a:ln>
                <a:noFill/>
              </a:ln>
              <a:effectLst/>
            </c:spPr>
            <c:extLst>
              <c:ext xmlns:c16="http://schemas.microsoft.com/office/drawing/2014/chart" uri="{C3380CC4-5D6E-409C-BE32-E72D297353CC}">
                <c16:uniqueId val="{0000000E-7980-4C82-8C1C-32D5A7B4E44B}"/>
              </c:ext>
            </c:extLst>
          </c:dPt>
          <c:dPt>
            <c:idx val="1"/>
            <c:invertIfNegative val="1"/>
            <c:bubble3D val="0"/>
            <c:spPr>
              <a:solidFill>
                <a:srgbClr val="E6E5E5"/>
              </a:solidFill>
            </c:spPr>
            <c:extLst>
              <c:ext xmlns:c16="http://schemas.microsoft.com/office/drawing/2014/chart" uri="{C3380CC4-5D6E-409C-BE32-E72D297353CC}">
                <c16:uniqueId val="{0000000F-7980-4C82-8C1C-32D5A7B4E44B}"/>
              </c:ext>
            </c:extLst>
          </c:dPt>
          <c:dPt>
            <c:idx val="2"/>
            <c:invertIfNegative val="1"/>
            <c:bubble3D val="0"/>
            <c:spPr>
              <a:solidFill>
                <a:srgbClr val="E6E5E5"/>
              </a:solidFill>
            </c:spPr>
            <c:extLst>
              <c:ext xmlns:c16="http://schemas.microsoft.com/office/drawing/2014/chart" uri="{C3380CC4-5D6E-409C-BE32-E72D297353CC}">
                <c16:uniqueId val="{00000010-7980-4C82-8C1C-32D5A7B4E44B}"/>
              </c:ext>
            </c:extLst>
          </c:dPt>
          <c:dPt>
            <c:idx val="3"/>
            <c:invertIfNegative val="0"/>
            <c:bubble3D val="0"/>
            <c:spPr>
              <a:solidFill>
                <a:srgbClr val="E6E5E5"/>
              </a:solidFill>
              <a:ln>
                <a:noFill/>
              </a:ln>
              <a:effectLst/>
            </c:spPr>
            <c:extLst>
              <c:ext xmlns:c16="http://schemas.microsoft.com/office/drawing/2014/chart" uri="{C3380CC4-5D6E-409C-BE32-E72D297353CC}">
                <c16:uniqueId val="{00000011-7980-4C82-8C1C-32D5A7B4E44B}"/>
              </c:ext>
            </c:extLst>
          </c:dPt>
          <c:dPt>
            <c:idx val="4"/>
            <c:invertIfNegative val="1"/>
            <c:bubble3D val="0"/>
            <c:spPr>
              <a:solidFill>
                <a:srgbClr val="E6E5E5"/>
              </a:solidFill>
            </c:spPr>
            <c:extLst>
              <c:ext xmlns:c16="http://schemas.microsoft.com/office/drawing/2014/chart" uri="{C3380CC4-5D6E-409C-BE32-E72D297353CC}">
                <c16:uniqueId val="{00000012-7980-4C82-8C1C-32D5A7B4E44B}"/>
              </c:ext>
            </c:extLst>
          </c:dPt>
          <c:dPt>
            <c:idx val="5"/>
            <c:invertIfNegative val="1"/>
            <c:bubble3D val="0"/>
            <c:spPr>
              <a:solidFill>
                <a:srgbClr val="E6E5E5"/>
              </a:solidFill>
            </c:spPr>
            <c:extLst>
              <c:ext xmlns:c16="http://schemas.microsoft.com/office/drawing/2014/chart" uri="{C3380CC4-5D6E-409C-BE32-E72D297353CC}">
                <c16:uniqueId val="{00000013-7980-4C82-8C1C-32D5A7B4E44B}"/>
              </c:ext>
            </c:extLst>
          </c:dPt>
          <c:dPt>
            <c:idx val="6"/>
            <c:invertIfNegative val="1"/>
            <c:bubble3D val="0"/>
            <c:spPr>
              <a:solidFill>
                <a:srgbClr val="E6E5E5"/>
              </a:solidFill>
            </c:spPr>
            <c:extLst>
              <c:ext xmlns:c16="http://schemas.microsoft.com/office/drawing/2014/chart" uri="{C3380CC4-5D6E-409C-BE32-E72D297353CC}">
                <c16:uniqueId val="{00000014-7980-4C82-8C1C-32D5A7B4E44B}"/>
              </c:ext>
            </c:extLst>
          </c:dPt>
          <c:dPt>
            <c:idx val="7"/>
            <c:invertIfNegative val="1"/>
            <c:bubble3D val="0"/>
            <c:spPr>
              <a:solidFill>
                <a:srgbClr val="E6E5E5"/>
              </a:solidFill>
            </c:spPr>
            <c:extLst>
              <c:ext xmlns:c16="http://schemas.microsoft.com/office/drawing/2014/chart" uri="{C3380CC4-5D6E-409C-BE32-E72D297353CC}">
                <c16:uniqueId val="{00000015-7980-4C82-8C1C-32D5A7B4E44B}"/>
              </c:ext>
            </c:extLst>
          </c:dPt>
          <c:dPt>
            <c:idx val="8"/>
            <c:invertIfNegative val="1"/>
            <c:bubble3D val="0"/>
            <c:spPr>
              <a:solidFill>
                <a:srgbClr val="E6E5E5"/>
              </a:solidFill>
            </c:spPr>
            <c:extLst>
              <c:ext xmlns:c16="http://schemas.microsoft.com/office/drawing/2014/chart" uri="{C3380CC4-5D6E-409C-BE32-E72D297353CC}">
                <c16:uniqueId val="{00000016-7980-4C82-8C1C-32D5A7B4E44B}"/>
              </c:ext>
            </c:extLst>
          </c:dPt>
          <c:dPt>
            <c:idx val="9"/>
            <c:invertIfNegative val="1"/>
            <c:bubble3D val="0"/>
            <c:spPr>
              <a:solidFill>
                <a:srgbClr val="E6E5E5"/>
              </a:solidFill>
            </c:spPr>
            <c:extLst>
              <c:ext xmlns:c16="http://schemas.microsoft.com/office/drawing/2014/chart" uri="{C3380CC4-5D6E-409C-BE32-E72D297353CC}">
                <c16:uniqueId val="{00000017-7980-4C82-8C1C-32D5A7B4E44B}"/>
              </c:ext>
            </c:extLst>
          </c:dPt>
          <c:dPt>
            <c:idx val="10"/>
            <c:invertIfNegative val="1"/>
            <c:bubble3D val="0"/>
            <c:spPr>
              <a:solidFill>
                <a:srgbClr val="E6E5E5"/>
              </a:solidFill>
            </c:spPr>
            <c:extLst>
              <c:ext xmlns:c16="http://schemas.microsoft.com/office/drawing/2014/chart" uri="{C3380CC4-5D6E-409C-BE32-E72D297353CC}">
                <c16:uniqueId val="{00000018-7980-4C82-8C1C-32D5A7B4E44B}"/>
              </c:ext>
            </c:extLst>
          </c:dPt>
          <c:dPt>
            <c:idx val="11"/>
            <c:invertIfNegative val="1"/>
            <c:bubble3D val="0"/>
            <c:spPr>
              <a:solidFill>
                <a:srgbClr val="E6E5E5"/>
              </a:solidFill>
            </c:spPr>
            <c:extLst>
              <c:ext xmlns:c16="http://schemas.microsoft.com/office/drawing/2014/chart" uri="{C3380CC4-5D6E-409C-BE32-E72D297353CC}">
                <c16:uniqueId val="{00000019-7980-4C82-8C1C-32D5A7B4E44B}"/>
              </c:ext>
            </c:extLst>
          </c:dPt>
          <c:dPt>
            <c:idx val="12"/>
            <c:invertIfNegative val="1"/>
            <c:bubble3D val="0"/>
            <c:spPr>
              <a:solidFill>
                <a:srgbClr val="E6E5E5"/>
              </a:solidFill>
            </c:spPr>
            <c:extLst>
              <c:ext xmlns:c16="http://schemas.microsoft.com/office/drawing/2014/chart" uri="{C3380CC4-5D6E-409C-BE32-E72D297353CC}">
                <c16:uniqueId val="{0000001A-7980-4C82-8C1C-32D5A7B4E44B}"/>
              </c:ext>
            </c:extLst>
          </c:dPt>
          <c:dPt>
            <c:idx val="13"/>
            <c:invertIfNegative val="1"/>
            <c:bubble3D val="0"/>
            <c:spPr>
              <a:solidFill>
                <a:srgbClr val="E6E5E5"/>
              </a:solidFill>
            </c:spPr>
            <c:extLst>
              <c:ext xmlns:c16="http://schemas.microsoft.com/office/drawing/2014/chart" uri="{C3380CC4-5D6E-409C-BE32-E72D297353CC}">
                <c16:uniqueId val="{0000001B-7980-4C82-8C1C-32D5A7B4E44B}"/>
              </c:ext>
            </c:extLst>
          </c:dPt>
          <c:dPt>
            <c:idx val="14"/>
            <c:invertIfNegative val="0"/>
            <c:bubble3D val="0"/>
            <c:spPr>
              <a:solidFill>
                <a:srgbClr val="E6E5E5"/>
              </a:solidFill>
              <a:ln>
                <a:noFill/>
              </a:ln>
              <a:effectLst/>
            </c:spPr>
            <c:extLst>
              <c:ext xmlns:c16="http://schemas.microsoft.com/office/drawing/2014/chart" uri="{C3380CC4-5D6E-409C-BE32-E72D297353CC}">
                <c16:uniqueId val="{0000001C-7980-4C82-8C1C-32D5A7B4E44B}"/>
              </c:ext>
            </c:extLst>
          </c:dPt>
          <c:dPt>
            <c:idx val="15"/>
            <c:invertIfNegative val="1"/>
            <c:bubble3D val="0"/>
            <c:spPr>
              <a:solidFill>
                <a:srgbClr val="E6E5E5"/>
              </a:solidFill>
            </c:spPr>
            <c:extLst>
              <c:ext xmlns:c16="http://schemas.microsoft.com/office/drawing/2014/chart" uri="{C3380CC4-5D6E-409C-BE32-E72D297353CC}">
                <c16:uniqueId val="{0000001D-7980-4C82-8C1C-32D5A7B4E44B}"/>
              </c:ext>
            </c:extLst>
          </c:dPt>
          <c:dPt>
            <c:idx val="16"/>
            <c:invertIfNegative val="1"/>
            <c:bubble3D val="0"/>
            <c:spPr>
              <a:solidFill>
                <a:srgbClr val="E6E5E5"/>
              </a:solidFill>
            </c:spPr>
            <c:extLst>
              <c:ext xmlns:c16="http://schemas.microsoft.com/office/drawing/2014/chart" uri="{C3380CC4-5D6E-409C-BE32-E72D297353CC}">
                <c16:uniqueId val="{0000001E-7980-4C82-8C1C-32D5A7B4E44B}"/>
              </c:ext>
            </c:extLst>
          </c:dPt>
          <c:dPt>
            <c:idx val="17"/>
            <c:invertIfNegative val="0"/>
            <c:bubble3D val="0"/>
            <c:spPr>
              <a:solidFill>
                <a:srgbClr val="E6E5E5"/>
              </a:solidFill>
              <a:ln>
                <a:noFill/>
              </a:ln>
              <a:effectLst/>
            </c:spPr>
            <c:extLst>
              <c:ext xmlns:c16="http://schemas.microsoft.com/office/drawing/2014/chart" uri="{C3380CC4-5D6E-409C-BE32-E72D297353CC}">
                <c16:uniqueId val="{0000001F-7980-4C82-8C1C-32D5A7B4E44B}"/>
              </c:ext>
            </c:extLst>
          </c:dPt>
          <c:dPt>
            <c:idx val="18"/>
            <c:invertIfNegative val="1"/>
            <c:bubble3D val="0"/>
            <c:spPr>
              <a:solidFill>
                <a:srgbClr val="E6E5E5"/>
              </a:solidFill>
            </c:spPr>
            <c:extLst>
              <c:ext xmlns:c16="http://schemas.microsoft.com/office/drawing/2014/chart" uri="{C3380CC4-5D6E-409C-BE32-E72D297353CC}">
                <c16:uniqueId val="{00000020-7980-4C82-8C1C-32D5A7B4E44B}"/>
              </c:ext>
            </c:extLst>
          </c:dPt>
          <c:dPt>
            <c:idx val="19"/>
            <c:invertIfNegative val="1"/>
            <c:bubble3D val="0"/>
            <c:spPr>
              <a:solidFill>
                <a:srgbClr val="E6E5E5"/>
              </a:solidFill>
            </c:spPr>
            <c:extLst>
              <c:ext xmlns:c16="http://schemas.microsoft.com/office/drawing/2014/chart" uri="{C3380CC4-5D6E-409C-BE32-E72D297353CC}">
                <c16:uniqueId val="{00000021-7980-4C82-8C1C-32D5A7B4E44B}"/>
              </c:ext>
            </c:extLst>
          </c:dPt>
          <c:dPt>
            <c:idx val="20"/>
            <c:invertIfNegative val="1"/>
            <c:bubble3D val="0"/>
            <c:spPr>
              <a:solidFill>
                <a:srgbClr val="E6E5E5"/>
              </a:solidFill>
            </c:spPr>
            <c:extLst>
              <c:ext xmlns:c16="http://schemas.microsoft.com/office/drawing/2014/chart" uri="{C3380CC4-5D6E-409C-BE32-E72D297353CC}">
                <c16:uniqueId val="{00000022-7980-4C82-8C1C-32D5A7B4E44B}"/>
              </c:ext>
            </c:extLst>
          </c:dPt>
          <c:dPt>
            <c:idx val="21"/>
            <c:invertIfNegative val="1"/>
            <c:bubble3D val="0"/>
            <c:spPr>
              <a:solidFill>
                <a:srgbClr val="E6E5E5"/>
              </a:solidFill>
            </c:spPr>
            <c:extLst>
              <c:ext xmlns:c16="http://schemas.microsoft.com/office/drawing/2014/chart" uri="{C3380CC4-5D6E-409C-BE32-E72D297353CC}">
                <c16:uniqueId val="{00000001-7980-4C82-8C1C-32D5A7B4E44B}"/>
              </c:ext>
            </c:extLst>
          </c:dPt>
          <c:dPt>
            <c:idx val="22"/>
            <c:invertIfNegative val="1"/>
            <c:bubble3D val="0"/>
            <c:spPr>
              <a:solidFill>
                <a:srgbClr val="E6E5E5"/>
              </a:solidFill>
            </c:spPr>
            <c:extLst>
              <c:ext xmlns:c16="http://schemas.microsoft.com/office/drawing/2014/chart" uri="{C3380CC4-5D6E-409C-BE32-E72D297353CC}">
                <c16:uniqueId val="{00000023-7980-4C82-8C1C-32D5A7B4E44B}"/>
              </c:ext>
            </c:extLst>
          </c:dPt>
          <c:dPt>
            <c:idx val="23"/>
            <c:invertIfNegative val="1"/>
            <c:bubble3D val="0"/>
            <c:spPr>
              <a:solidFill>
                <a:srgbClr val="E6E5E5"/>
              </a:solidFill>
            </c:spPr>
            <c:extLst>
              <c:ext xmlns:c16="http://schemas.microsoft.com/office/drawing/2014/chart" uri="{C3380CC4-5D6E-409C-BE32-E72D297353CC}">
                <c16:uniqueId val="{00000003-7980-4C82-8C1C-32D5A7B4E44B}"/>
              </c:ext>
            </c:extLst>
          </c:dPt>
          <c:dPt>
            <c:idx val="24"/>
            <c:invertIfNegative val="1"/>
            <c:bubble3D val="0"/>
            <c:spPr>
              <a:solidFill>
                <a:srgbClr val="E6E5E5"/>
              </a:solidFill>
            </c:spPr>
            <c:extLst>
              <c:ext xmlns:c16="http://schemas.microsoft.com/office/drawing/2014/chart" uri="{C3380CC4-5D6E-409C-BE32-E72D297353CC}">
                <c16:uniqueId val="{00000024-7980-4C82-8C1C-32D5A7B4E44B}"/>
              </c:ext>
            </c:extLst>
          </c:dPt>
          <c:dPt>
            <c:idx val="25"/>
            <c:invertIfNegative val="1"/>
            <c:bubble3D val="0"/>
            <c:spPr>
              <a:solidFill>
                <a:srgbClr val="E6E5E5"/>
              </a:solidFill>
            </c:spPr>
            <c:extLst>
              <c:ext xmlns:c16="http://schemas.microsoft.com/office/drawing/2014/chart" uri="{C3380CC4-5D6E-409C-BE32-E72D297353CC}">
                <c16:uniqueId val="{00000025-7980-4C82-8C1C-32D5A7B4E44B}"/>
              </c:ext>
            </c:extLst>
          </c:dPt>
          <c:dPt>
            <c:idx val="26"/>
            <c:invertIfNegative val="1"/>
            <c:bubble3D val="0"/>
            <c:spPr>
              <a:solidFill>
                <a:srgbClr val="E6E5E5"/>
              </a:solidFill>
            </c:spPr>
            <c:extLst>
              <c:ext xmlns:c16="http://schemas.microsoft.com/office/drawing/2014/chart" uri="{C3380CC4-5D6E-409C-BE32-E72D297353CC}">
                <c16:uniqueId val="{00000026-7980-4C82-8C1C-32D5A7B4E44B}"/>
              </c:ext>
            </c:extLst>
          </c:dPt>
          <c:dPt>
            <c:idx val="27"/>
            <c:invertIfNegative val="1"/>
            <c:bubble3D val="0"/>
            <c:spPr>
              <a:solidFill>
                <a:srgbClr val="E6E5E5"/>
              </a:solidFill>
            </c:spPr>
            <c:extLst>
              <c:ext xmlns:c16="http://schemas.microsoft.com/office/drawing/2014/chart" uri="{C3380CC4-5D6E-409C-BE32-E72D297353CC}">
                <c16:uniqueId val="{00000027-7980-4C82-8C1C-32D5A7B4E44B}"/>
              </c:ext>
            </c:extLst>
          </c:dPt>
          <c:dPt>
            <c:idx val="28"/>
            <c:invertIfNegative val="1"/>
            <c:bubble3D val="0"/>
            <c:spPr>
              <a:solidFill>
                <a:srgbClr val="E6E5E5"/>
              </a:solidFill>
            </c:spPr>
            <c:extLst>
              <c:ext xmlns:c16="http://schemas.microsoft.com/office/drawing/2014/chart" uri="{C3380CC4-5D6E-409C-BE32-E72D297353CC}">
                <c16:uniqueId val="{00000028-7980-4C82-8C1C-32D5A7B4E44B}"/>
              </c:ext>
            </c:extLst>
          </c:dPt>
          <c:dPt>
            <c:idx val="29"/>
            <c:invertIfNegative val="1"/>
            <c:bubble3D val="0"/>
            <c:spPr>
              <a:solidFill>
                <a:srgbClr val="E6E5E5"/>
              </a:solidFill>
            </c:spPr>
            <c:extLst>
              <c:ext xmlns:c16="http://schemas.microsoft.com/office/drawing/2014/chart" uri="{C3380CC4-5D6E-409C-BE32-E72D297353CC}">
                <c16:uniqueId val="{00000029-7980-4C82-8C1C-32D5A7B4E44B}"/>
              </c:ext>
            </c:extLst>
          </c:dPt>
          <c:dPt>
            <c:idx val="30"/>
            <c:invertIfNegative val="1"/>
            <c:bubble3D val="0"/>
            <c:spPr>
              <a:solidFill>
                <a:srgbClr val="E6E5E5"/>
              </a:solidFill>
            </c:spPr>
            <c:extLst>
              <c:ext xmlns:c16="http://schemas.microsoft.com/office/drawing/2014/chart" uri="{C3380CC4-5D6E-409C-BE32-E72D297353CC}">
                <c16:uniqueId val="{0000002A-7980-4C82-8C1C-32D5A7B4E44B}"/>
              </c:ext>
            </c:extLst>
          </c:dPt>
          <c:dPt>
            <c:idx val="31"/>
            <c:invertIfNegative val="1"/>
            <c:bubble3D val="0"/>
            <c:spPr>
              <a:solidFill>
                <a:srgbClr val="E6E5E5"/>
              </a:solidFill>
            </c:spPr>
            <c:extLst>
              <c:ext xmlns:c16="http://schemas.microsoft.com/office/drawing/2014/chart" uri="{C3380CC4-5D6E-409C-BE32-E72D297353CC}">
                <c16:uniqueId val="{0000002B-7980-4C82-8C1C-32D5A7B4E44B}"/>
              </c:ext>
            </c:extLst>
          </c:dPt>
          <c:dPt>
            <c:idx val="32"/>
            <c:invertIfNegative val="0"/>
            <c:bubble3D val="0"/>
            <c:spPr>
              <a:solidFill>
                <a:srgbClr val="E6E5E5"/>
              </a:solidFill>
              <a:ln>
                <a:noFill/>
              </a:ln>
              <a:effectLst/>
            </c:spPr>
            <c:extLst>
              <c:ext xmlns:c16="http://schemas.microsoft.com/office/drawing/2014/chart" uri="{C3380CC4-5D6E-409C-BE32-E72D297353CC}">
                <c16:uniqueId val="{00000005-7980-4C82-8C1C-32D5A7B4E44B}"/>
              </c:ext>
            </c:extLst>
          </c:dPt>
          <c:dPt>
            <c:idx val="33"/>
            <c:invertIfNegative val="1"/>
            <c:bubble3D val="0"/>
            <c:spPr>
              <a:solidFill>
                <a:srgbClr val="E6E5E5"/>
              </a:solidFill>
            </c:spPr>
            <c:extLst>
              <c:ext xmlns:c16="http://schemas.microsoft.com/office/drawing/2014/chart" uri="{C3380CC4-5D6E-409C-BE32-E72D297353CC}">
                <c16:uniqueId val="{0000002C-7980-4C82-8C1C-32D5A7B4E44B}"/>
              </c:ext>
            </c:extLst>
          </c:dPt>
          <c:dPt>
            <c:idx val="34"/>
            <c:invertIfNegative val="1"/>
            <c:bubble3D val="0"/>
            <c:spPr>
              <a:solidFill>
                <a:srgbClr val="E6E5E5"/>
              </a:solidFill>
            </c:spPr>
            <c:extLst>
              <c:ext xmlns:c16="http://schemas.microsoft.com/office/drawing/2014/chart" uri="{C3380CC4-5D6E-409C-BE32-E72D297353CC}">
                <c16:uniqueId val="{00000007-7980-4C82-8C1C-32D5A7B4E44B}"/>
              </c:ext>
            </c:extLst>
          </c:dPt>
          <c:dPt>
            <c:idx val="35"/>
            <c:invertIfNegative val="1"/>
            <c:bubble3D val="0"/>
            <c:spPr>
              <a:solidFill>
                <a:srgbClr val="E6E5E5"/>
              </a:solidFill>
            </c:spPr>
            <c:extLst>
              <c:ext xmlns:c16="http://schemas.microsoft.com/office/drawing/2014/chart" uri="{C3380CC4-5D6E-409C-BE32-E72D297353CC}">
                <c16:uniqueId val="{0000002D-7980-4C82-8C1C-32D5A7B4E44B}"/>
              </c:ext>
            </c:extLst>
          </c:dPt>
          <c:dPt>
            <c:idx val="36"/>
            <c:invertIfNegative val="1"/>
            <c:bubble3D val="0"/>
            <c:spPr>
              <a:solidFill>
                <a:srgbClr val="E6E5E5"/>
              </a:solidFill>
            </c:spPr>
            <c:extLst>
              <c:ext xmlns:c16="http://schemas.microsoft.com/office/drawing/2014/chart" uri="{C3380CC4-5D6E-409C-BE32-E72D297353CC}">
                <c16:uniqueId val="{0000002E-7980-4C82-8C1C-32D5A7B4E44B}"/>
              </c:ext>
            </c:extLst>
          </c:dPt>
          <c:dPt>
            <c:idx val="37"/>
            <c:invertIfNegative val="1"/>
            <c:bubble3D val="0"/>
            <c:spPr>
              <a:solidFill>
                <a:srgbClr val="E6E5E5"/>
              </a:solidFill>
            </c:spPr>
            <c:extLst>
              <c:ext xmlns:c16="http://schemas.microsoft.com/office/drawing/2014/chart" uri="{C3380CC4-5D6E-409C-BE32-E72D297353CC}">
                <c16:uniqueId val="{0000002F-7980-4C82-8C1C-32D5A7B4E44B}"/>
              </c:ext>
            </c:extLst>
          </c:dPt>
          <c:dPt>
            <c:idx val="38"/>
            <c:invertIfNegative val="1"/>
            <c:bubble3D val="0"/>
            <c:spPr>
              <a:solidFill>
                <a:srgbClr val="E6E5E5"/>
              </a:solidFill>
            </c:spPr>
            <c:extLst>
              <c:ext xmlns:c16="http://schemas.microsoft.com/office/drawing/2014/chart" uri="{C3380CC4-5D6E-409C-BE32-E72D297353CC}">
                <c16:uniqueId val="{00000030-7980-4C82-8C1C-32D5A7B4E44B}"/>
              </c:ext>
            </c:extLst>
          </c:dPt>
          <c:dPt>
            <c:idx val="39"/>
            <c:invertIfNegative val="1"/>
            <c:bubble3D val="0"/>
            <c:spPr>
              <a:solidFill>
                <a:srgbClr val="E6E5E5"/>
              </a:solidFill>
            </c:spPr>
            <c:extLst>
              <c:ext xmlns:c16="http://schemas.microsoft.com/office/drawing/2014/chart" uri="{C3380CC4-5D6E-409C-BE32-E72D297353CC}">
                <c16:uniqueId val="{00000031-7980-4C82-8C1C-32D5A7B4E44B}"/>
              </c:ext>
            </c:extLst>
          </c:dPt>
          <c:dPt>
            <c:idx val="40"/>
            <c:invertIfNegative val="1"/>
            <c:bubble3D val="0"/>
            <c:spPr>
              <a:solidFill>
                <a:srgbClr val="E6E5E5"/>
              </a:solidFill>
            </c:spPr>
            <c:extLst>
              <c:ext xmlns:c16="http://schemas.microsoft.com/office/drawing/2014/chart" uri="{C3380CC4-5D6E-409C-BE32-E72D297353CC}">
                <c16:uniqueId val="{00000032-7980-4C82-8C1C-32D5A7B4E44B}"/>
              </c:ext>
            </c:extLst>
          </c:dPt>
          <c:dPt>
            <c:idx val="41"/>
            <c:invertIfNegative val="1"/>
            <c:bubble3D val="0"/>
            <c:spPr>
              <a:solidFill>
                <a:srgbClr val="E6E5E5"/>
              </a:solidFill>
            </c:spPr>
            <c:extLst>
              <c:ext xmlns:c16="http://schemas.microsoft.com/office/drawing/2014/chart" uri="{C3380CC4-5D6E-409C-BE32-E72D297353CC}">
                <c16:uniqueId val="{00000033-7980-4C82-8C1C-32D5A7B4E44B}"/>
              </c:ext>
            </c:extLst>
          </c:dPt>
          <c:dPt>
            <c:idx val="42"/>
            <c:invertIfNegative val="1"/>
            <c:bubble3D val="0"/>
            <c:spPr>
              <a:solidFill>
                <a:srgbClr val="E6E5E5"/>
              </a:solidFill>
            </c:spPr>
            <c:extLst>
              <c:ext xmlns:c16="http://schemas.microsoft.com/office/drawing/2014/chart" uri="{C3380CC4-5D6E-409C-BE32-E72D297353CC}">
                <c16:uniqueId val="{00000009-7980-4C82-8C1C-32D5A7B4E44B}"/>
              </c:ext>
            </c:extLst>
          </c:dPt>
          <c:dPt>
            <c:idx val="43"/>
            <c:invertIfNegative val="1"/>
            <c:bubble3D val="0"/>
            <c:spPr>
              <a:solidFill>
                <a:srgbClr val="E6E5E5"/>
              </a:solidFill>
            </c:spPr>
            <c:extLst>
              <c:ext xmlns:c16="http://schemas.microsoft.com/office/drawing/2014/chart" uri="{C3380CC4-5D6E-409C-BE32-E72D297353CC}">
                <c16:uniqueId val="{0000000B-7980-4C82-8C1C-32D5A7B4E44B}"/>
              </c:ext>
            </c:extLst>
          </c:dPt>
          <c:dPt>
            <c:idx val="44"/>
            <c:invertIfNegative val="0"/>
            <c:bubble3D val="0"/>
            <c:spPr>
              <a:solidFill>
                <a:srgbClr val="E6E5E5"/>
              </a:solidFill>
              <a:ln>
                <a:noFill/>
              </a:ln>
              <a:effectLst/>
            </c:spPr>
            <c:extLst>
              <c:ext xmlns:c16="http://schemas.microsoft.com/office/drawing/2014/chart" uri="{C3380CC4-5D6E-409C-BE32-E72D297353CC}">
                <c16:uniqueId val="{00000034-7980-4C82-8C1C-32D5A7B4E44B}"/>
              </c:ext>
            </c:extLst>
          </c:dPt>
          <c:dPt>
            <c:idx val="45"/>
            <c:invertIfNegative val="1"/>
            <c:bubble3D val="0"/>
            <c:spPr>
              <a:solidFill>
                <a:srgbClr val="E6E5E5"/>
              </a:solidFill>
            </c:spPr>
            <c:extLst>
              <c:ext xmlns:c16="http://schemas.microsoft.com/office/drawing/2014/chart" uri="{C3380CC4-5D6E-409C-BE32-E72D297353CC}">
                <c16:uniqueId val="{00000035-7980-4C82-8C1C-32D5A7B4E44B}"/>
              </c:ext>
            </c:extLst>
          </c:dPt>
          <c:dPt>
            <c:idx val="46"/>
            <c:invertIfNegative val="1"/>
            <c:bubble3D val="0"/>
            <c:spPr>
              <a:solidFill>
                <a:srgbClr val="E6E5E5"/>
              </a:solidFill>
            </c:spPr>
            <c:extLst>
              <c:ext xmlns:c16="http://schemas.microsoft.com/office/drawing/2014/chart" uri="{C3380CC4-5D6E-409C-BE32-E72D297353CC}">
                <c16:uniqueId val="{00000036-7980-4C82-8C1C-32D5A7B4E44B}"/>
              </c:ext>
            </c:extLst>
          </c:dPt>
          <c:dPt>
            <c:idx val="47"/>
            <c:invertIfNegative val="1"/>
            <c:bubble3D val="0"/>
            <c:spPr>
              <a:solidFill>
                <a:srgbClr val="E6E5E5"/>
              </a:solidFill>
            </c:spPr>
            <c:extLst>
              <c:ext xmlns:c16="http://schemas.microsoft.com/office/drawing/2014/chart" uri="{C3380CC4-5D6E-409C-BE32-E72D297353CC}">
                <c16:uniqueId val="{00000037-7980-4C82-8C1C-32D5A7B4E44B}"/>
              </c:ext>
            </c:extLst>
          </c:dPt>
          <c:dPt>
            <c:idx val="48"/>
            <c:invertIfNegative val="1"/>
            <c:bubble3D val="0"/>
            <c:spPr>
              <a:solidFill>
                <a:srgbClr val="E6E5E5"/>
              </a:solidFill>
            </c:spPr>
            <c:extLst>
              <c:ext xmlns:c16="http://schemas.microsoft.com/office/drawing/2014/chart" uri="{C3380CC4-5D6E-409C-BE32-E72D297353CC}">
                <c16:uniqueId val="{00000038-7980-4C82-8C1C-32D5A7B4E44B}"/>
              </c:ext>
            </c:extLst>
          </c:dPt>
          <c:dPt>
            <c:idx val="49"/>
            <c:invertIfNegative val="0"/>
            <c:bubble3D val="0"/>
            <c:spPr>
              <a:solidFill>
                <a:srgbClr val="E6E5E5"/>
              </a:solidFill>
              <a:ln>
                <a:noFill/>
              </a:ln>
              <a:effectLst/>
            </c:spPr>
            <c:extLst>
              <c:ext xmlns:c16="http://schemas.microsoft.com/office/drawing/2014/chart" uri="{C3380CC4-5D6E-409C-BE32-E72D297353CC}">
                <c16:uniqueId val="{00000039-7980-4C82-8C1C-32D5A7B4E44B}"/>
              </c:ext>
            </c:extLst>
          </c:dPt>
          <c:dPt>
            <c:idx val="50"/>
            <c:invertIfNegative val="0"/>
            <c:bubble3D val="0"/>
            <c:spPr>
              <a:solidFill>
                <a:srgbClr val="E6E5E5"/>
              </a:solidFill>
              <a:ln>
                <a:noFill/>
              </a:ln>
              <a:effectLst/>
            </c:spPr>
            <c:extLst>
              <c:ext xmlns:c16="http://schemas.microsoft.com/office/drawing/2014/chart" uri="{C3380CC4-5D6E-409C-BE32-E72D297353CC}">
                <c16:uniqueId val="{0000003A-7980-4C82-8C1C-32D5A7B4E44B}"/>
              </c:ext>
            </c:extLst>
          </c:dPt>
          <c:dPt>
            <c:idx val="51"/>
            <c:invertIfNegative val="1"/>
            <c:bubble3D val="0"/>
            <c:spPr>
              <a:solidFill>
                <a:srgbClr val="E6E5E5"/>
              </a:solidFill>
            </c:spPr>
            <c:extLst>
              <c:ext xmlns:c16="http://schemas.microsoft.com/office/drawing/2014/chart" uri="{C3380CC4-5D6E-409C-BE32-E72D297353CC}">
                <c16:uniqueId val="{0000003B-7980-4C82-8C1C-32D5A7B4E44B}"/>
              </c:ext>
            </c:extLst>
          </c:dPt>
          <c:dPt>
            <c:idx val="52"/>
            <c:invertIfNegative val="1"/>
            <c:bubble3D val="0"/>
            <c:spPr>
              <a:solidFill>
                <a:srgbClr val="E6E5E5"/>
              </a:solidFill>
            </c:spPr>
            <c:extLst>
              <c:ext xmlns:c16="http://schemas.microsoft.com/office/drawing/2014/chart" uri="{C3380CC4-5D6E-409C-BE32-E72D297353CC}">
                <c16:uniqueId val="{0000003C-7980-4C82-8C1C-32D5A7B4E44B}"/>
              </c:ext>
            </c:extLst>
          </c:dPt>
          <c:dPt>
            <c:idx val="53"/>
            <c:invertIfNegative val="1"/>
            <c:bubble3D val="0"/>
            <c:spPr>
              <a:solidFill>
                <a:srgbClr val="E6E5E5"/>
              </a:solidFill>
            </c:spPr>
            <c:extLst>
              <c:ext xmlns:c16="http://schemas.microsoft.com/office/drawing/2014/chart" uri="{C3380CC4-5D6E-409C-BE32-E72D297353CC}">
                <c16:uniqueId val="{0000006B-77EF-42ED-BAFF-03BF265C16B5}"/>
              </c:ext>
            </c:extLst>
          </c:dPt>
          <c:dPt>
            <c:idx val="54"/>
            <c:invertIfNegative val="1"/>
            <c:bubble3D val="0"/>
            <c:spPr>
              <a:solidFill>
                <a:srgbClr val="E6E5E5"/>
              </a:solidFill>
            </c:spPr>
            <c:extLst>
              <c:ext xmlns:c16="http://schemas.microsoft.com/office/drawing/2014/chart" uri="{C3380CC4-5D6E-409C-BE32-E72D297353CC}">
                <c16:uniqueId val="{0000006D-77EF-42ED-BAFF-03BF265C16B5}"/>
              </c:ext>
            </c:extLst>
          </c:dPt>
          <c:dPt>
            <c:idx val="55"/>
            <c:invertIfNegative val="1"/>
            <c:bubble3D val="0"/>
            <c:spPr>
              <a:solidFill>
                <a:srgbClr val="E6E5E5"/>
              </a:solidFill>
            </c:spPr>
            <c:extLst>
              <c:ext xmlns:c16="http://schemas.microsoft.com/office/drawing/2014/chart" uri="{C3380CC4-5D6E-409C-BE32-E72D297353CC}">
                <c16:uniqueId val="{0000006F-77EF-42ED-BAFF-03BF265C16B5}"/>
              </c:ext>
            </c:extLst>
          </c:dPt>
          <c:dPt>
            <c:idx val="56"/>
            <c:invertIfNegative val="1"/>
            <c:bubble3D val="0"/>
            <c:spPr>
              <a:solidFill>
                <a:srgbClr val="E6E5E5"/>
              </a:solidFill>
            </c:spPr>
            <c:extLst>
              <c:ext xmlns:c16="http://schemas.microsoft.com/office/drawing/2014/chart" uri="{C3380CC4-5D6E-409C-BE32-E72D297353CC}">
                <c16:uniqueId val="{00000071-77EF-42ED-BAFF-03BF265C16B5}"/>
              </c:ext>
            </c:extLst>
          </c:dPt>
          <c:dPt>
            <c:idx val="57"/>
            <c:invertIfNegative val="1"/>
            <c:bubble3D val="0"/>
            <c:spPr>
              <a:solidFill>
                <a:srgbClr val="E6E5E5"/>
              </a:solidFill>
            </c:spPr>
            <c:extLst>
              <c:ext xmlns:c16="http://schemas.microsoft.com/office/drawing/2014/chart" uri="{C3380CC4-5D6E-409C-BE32-E72D297353CC}">
                <c16:uniqueId val="{00000073-77EF-42ED-BAFF-03BF265C16B5}"/>
              </c:ext>
            </c:extLst>
          </c:dPt>
          <c:dPt>
            <c:idx val="58"/>
            <c:invertIfNegative val="1"/>
            <c:bubble3D val="0"/>
            <c:spPr>
              <a:solidFill>
                <a:srgbClr val="E6E5E5"/>
              </a:solidFill>
            </c:spPr>
            <c:extLst>
              <c:ext xmlns:c16="http://schemas.microsoft.com/office/drawing/2014/chart" uri="{C3380CC4-5D6E-409C-BE32-E72D297353CC}">
                <c16:uniqueId val="{00000075-77EF-42ED-BAFF-03BF265C16B5}"/>
              </c:ext>
            </c:extLst>
          </c:dPt>
          <c:dPt>
            <c:idx val="59"/>
            <c:invertIfNegative val="1"/>
            <c:bubble3D val="0"/>
            <c:spPr>
              <a:solidFill>
                <a:srgbClr val="E6E5E5"/>
              </a:solidFill>
            </c:spPr>
            <c:extLst>
              <c:ext xmlns:c16="http://schemas.microsoft.com/office/drawing/2014/chart" uri="{C3380CC4-5D6E-409C-BE32-E72D297353CC}">
                <c16:uniqueId val="{00000077-77EF-42ED-BAFF-03BF265C16B5}"/>
              </c:ext>
            </c:extLst>
          </c:dPt>
          <c:dPt>
            <c:idx val="60"/>
            <c:invertIfNegative val="1"/>
            <c:bubble3D val="0"/>
            <c:spPr>
              <a:solidFill>
                <a:srgbClr val="E6E5E5"/>
              </a:solidFill>
            </c:spPr>
            <c:extLst>
              <c:ext xmlns:c16="http://schemas.microsoft.com/office/drawing/2014/chart" uri="{C3380CC4-5D6E-409C-BE32-E72D297353CC}">
                <c16:uniqueId val="{00000079-77EF-42ED-BAFF-03BF265C16B5}"/>
              </c:ext>
            </c:extLst>
          </c:dPt>
          <c:dPt>
            <c:idx val="61"/>
            <c:invertIfNegative val="1"/>
            <c:bubble3D val="0"/>
            <c:spPr>
              <a:solidFill>
                <a:srgbClr val="E6E5E5"/>
              </a:solidFill>
            </c:spPr>
            <c:extLst>
              <c:ext xmlns:c16="http://schemas.microsoft.com/office/drawing/2014/chart" uri="{C3380CC4-5D6E-409C-BE32-E72D297353CC}">
                <c16:uniqueId val="{0000007B-77EF-42ED-BAFF-03BF265C16B5}"/>
              </c:ext>
            </c:extLst>
          </c:dPt>
          <c:dPt>
            <c:idx val="62"/>
            <c:invertIfNegative val="1"/>
            <c:bubble3D val="0"/>
            <c:spPr>
              <a:solidFill>
                <a:srgbClr val="E6E5E5"/>
              </a:solidFill>
            </c:spPr>
            <c:extLst>
              <c:ext xmlns:c16="http://schemas.microsoft.com/office/drawing/2014/chart" uri="{C3380CC4-5D6E-409C-BE32-E72D297353CC}">
                <c16:uniqueId val="{0000007D-77EF-42ED-BAFF-03BF265C16B5}"/>
              </c:ext>
            </c:extLst>
          </c:dPt>
          <c:dPt>
            <c:idx val="63"/>
            <c:invertIfNegative val="1"/>
            <c:bubble3D val="0"/>
            <c:spPr>
              <a:solidFill>
                <a:srgbClr val="E6E5E5"/>
              </a:solidFill>
            </c:spPr>
            <c:extLst>
              <c:ext xmlns:c16="http://schemas.microsoft.com/office/drawing/2014/chart" uri="{C3380CC4-5D6E-409C-BE32-E72D297353CC}">
                <c16:uniqueId val="{0000007F-77EF-42ED-BAFF-03BF265C16B5}"/>
              </c:ext>
            </c:extLst>
          </c:dPt>
          <c:dPt>
            <c:idx val="64"/>
            <c:invertIfNegative val="1"/>
            <c:bubble3D val="0"/>
            <c:spPr>
              <a:solidFill>
                <a:srgbClr val="E6E5E5"/>
              </a:solidFill>
            </c:spPr>
            <c:extLst>
              <c:ext xmlns:c16="http://schemas.microsoft.com/office/drawing/2014/chart" uri="{C3380CC4-5D6E-409C-BE32-E72D297353CC}">
                <c16:uniqueId val="{00000081-77EF-42ED-BAFF-03BF265C16B5}"/>
              </c:ext>
            </c:extLst>
          </c:dPt>
          <c:dPt>
            <c:idx val="65"/>
            <c:invertIfNegative val="1"/>
            <c:bubble3D val="0"/>
            <c:spPr>
              <a:solidFill>
                <a:srgbClr val="E6E5E5"/>
              </a:solidFill>
            </c:spPr>
            <c:extLst>
              <c:ext xmlns:c16="http://schemas.microsoft.com/office/drawing/2014/chart" uri="{C3380CC4-5D6E-409C-BE32-E72D297353CC}">
                <c16:uniqueId val="{00000083-77EF-42ED-BAFF-03BF265C16B5}"/>
              </c:ext>
            </c:extLst>
          </c:dPt>
          <c:dPt>
            <c:idx val="66"/>
            <c:invertIfNegative val="1"/>
            <c:bubble3D val="0"/>
            <c:spPr>
              <a:solidFill>
                <a:srgbClr val="E6E5E5"/>
              </a:solidFill>
            </c:spPr>
            <c:extLst>
              <c:ext xmlns:c16="http://schemas.microsoft.com/office/drawing/2014/chart" uri="{C3380CC4-5D6E-409C-BE32-E72D297353CC}">
                <c16:uniqueId val="{00000085-77EF-42ED-BAFF-03BF265C16B5}"/>
              </c:ext>
            </c:extLst>
          </c:dPt>
          <c:dPt>
            <c:idx val="67"/>
            <c:invertIfNegative val="1"/>
            <c:bubble3D val="0"/>
            <c:spPr>
              <a:solidFill>
                <a:srgbClr val="E6E5E5"/>
              </a:solidFill>
            </c:spPr>
            <c:extLst>
              <c:ext xmlns:c16="http://schemas.microsoft.com/office/drawing/2014/chart" uri="{C3380CC4-5D6E-409C-BE32-E72D297353CC}">
                <c16:uniqueId val="{00000087-77EF-42ED-BAFF-03BF265C16B5}"/>
              </c:ext>
            </c:extLst>
          </c:dPt>
          <c:dPt>
            <c:idx val="68"/>
            <c:invertIfNegative val="1"/>
            <c:bubble3D val="0"/>
            <c:spPr>
              <a:solidFill>
                <a:srgbClr val="E6E5E5"/>
              </a:solidFill>
            </c:spPr>
            <c:extLst>
              <c:ext xmlns:c16="http://schemas.microsoft.com/office/drawing/2014/chart" uri="{C3380CC4-5D6E-409C-BE32-E72D297353CC}">
                <c16:uniqueId val="{00000089-77EF-42ED-BAFF-03BF265C16B5}"/>
              </c:ext>
            </c:extLst>
          </c:dPt>
          <c:dPt>
            <c:idx val="69"/>
            <c:invertIfNegative val="1"/>
            <c:bubble3D val="0"/>
            <c:spPr>
              <a:solidFill>
                <a:srgbClr val="E6E5E5"/>
              </a:solidFill>
            </c:spPr>
            <c:extLst>
              <c:ext xmlns:c16="http://schemas.microsoft.com/office/drawing/2014/chart" uri="{C3380CC4-5D6E-409C-BE32-E72D297353CC}">
                <c16:uniqueId val="{0000008B-77EF-42ED-BAFF-03BF265C16B5}"/>
              </c:ext>
            </c:extLst>
          </c:dPt>
          <c:dPt>
            <c:idx val="70"/>
            <c:invertIfNegative val="1"/>
            <c:bubble3D val="0"/>
            <c:spPr>
              <a:solidFill>
                <a:srgbClr val="E6E5E5"/>
              </a:solidFill>
            </c:spPr>
            <c:extLst>
              <c:ext xmlns:c16="http://schemas.microsoft.com/office/drawing/2014/chart" uri="{C3380CC4-5D6E-409C-BE32-E72D297353CC}">
                <c16:uniqueId val="{0000008D-77EF-42ED-BAFF-03BF265C16B5}"/>
              </c:ext>
            </c:extLst>
          </c:dPt>
          <c:dPt>
            <c:idx val="71"/>
            <c:invertIfNegative val="1"/>
            <c:bubble3D val="0"/>
            <c:spPr>
              <a:solidFill>
                <a:srgbClr val="E6E5E5"/>
              </a:solidFill>
            </c:spPr>
            <c:extLst>
              <c:ext xmlns:c16="http://schemas.microsoft.com/office/drawing/2014/chart" uri="{C3380CC4-5D6E-409C-BE32-E72D297353CC}">
                <c16:uniqueId val="{0000008F-77EF-42ED-BAFF-03BF265C16B5}"/>
              </c:ext>
            </c:extLst>
          </c:dPt>
          <c:dPt>
            <c:idx val="72"/>
            <c:invertIfNegative val="1"/>
            <c:bubble3D val="0"/>
            <c:spPr>
              <a:solidFill>
                <a:srgbClr val="E6E5E5"/>
              </a:solidFill>
            </c:spPr>
            <c:extLst>
              <c:ext xmlns:c16="http://schemas.microsoft.com/office/drawing/2014/chart" uri="{C3380CC4-5D6E-409C-BE32-E72D297353CC}">
                <c16:uniqueId val="{00000091-77EF-42ED-BAFF-03BF265C16B5}"/>
              </c:ext>
            </c:extLst>
          </c:dPt>
          <c:dPt>
            <c:idx val="73"/>
            <c:invertIfNegative val="1"/>
            <c:bubble3D val="0"/>
            <c:spPr>
              <a:solidFill>
                <a:srgbClr val="E6E5E5"/>
              </a:solidFill>
            </c:spPr>
            <c:extLst>
              <c:ext xmlns:c16="http://schemas.microsoft.com/office/drawing/2014/chart" uri="{C3380CC4-5D6E-409C-BE32-E72D297353CC}">
                <c16:uniqueId val="{00000093-77EF-42ED-BAFF-03BF265C16B5}"/>
              </c:ext>
            </c:extLst>
          </c:dPt>
          <c:dPt>
            <c:idx val="74"/>
            <c:invertIfNegative val="1"/>
            <c:bubble3D val="0"/>
            <c:spPr>
              <a:solidFill>
                <a:srgbClr val="E6E5E5"/>
              </a:solidFill>
            </c:spPr>
            <c:extLst>
              <c:ext xmlns:c16="http://schemas.microsoft.com/office/drawing/2014/chart" uri="{C3380CC4-5D6E-409C-BE32-E72D297353CC}">
                <c16:uniqueId val="{00000095-77EF-42ED-BAFF-03BF265C16B5}"/>
              </c:ext>
            </c:extLst>
          </c:dPt>
          <c:dPt>
            <c:idx val="75"/>
            <c:invertIfNegative val="1"/>
            <c:bubble3D val="0"/>
            <c:spPr>
              <a:solidFill>
                <a:srgbClr val="E6E5E5"/>
              </a:solidFill>
            </c:spPr>
            <c:extLst>
              <c:ext xmlns:c16="http://schemas.microsoft.com/office/drawing/2014/chart" uri="{C3380CC4-5D6E-409C-BE32-E72D297353CC}">
                <c16:uniqueId val="{00000097-77EF-42ED-BAFF-03BF265C16B5}"/>
              </c:ext>
            </c:extLst>
          </c:dPt>
          <c:dPt>
            <c:idx val="76"/>
            <c:invertIfNegative val="1"/>
            <c:bubble3D val="0"/>
            <c:spPr>
              <a:solidFill>
                <a:srgbClr val="E6E5E5"/>
              </a:solidFill>
            </c:spPr>
            <c:extLst>
              <c:ext xmlns:c16="http://schemas.microsoft.com/office/drawing/2014/chart" uri="{C3380CC4-5D6E-409C-BE32-E72D297353CC}">
                <c16:uniqueId val="{00000099-77EF-42ED-BAFF-03BF265C16B5}"/>
              </c:ext>
            </c:extLst>
          </c:dPt>
          <c:dPt>
            <c:idx val="77"/>
            <c:invertIfNegative val="1"/>
            <c:bubble3D val="0"/>
            <c:spPr>
              <a:solidFill>
                <a:srgbClr val="E6E5E5"/>
              </a:solidFill>
            </c:spPr>
            <c:extLst>
              <c:ext xmlns:c16="http://schemas.microsoft.com/office/drawing/2014/chart" uri="{C3380CC4-5D6E-409C-BE32-E72D297353CC}">
                <c16:uniqueId val="{0000009B-77EF-42ED-BAFF-03BF265C16B5}"/>
              </c:ext>
            </c:extLst>
          </c:dPt>
          <c:dPt>
            <c:idx val="78"/>
            <c:invertIfNegative val="1"/>
            <c:bubble3D val="0"/>
            <c:spPr>
              <a:solidFill>
                <a:srgbClr val="E6E5E5"/>
              </a:solidFill>
            </c:spPr>
            <c:extLst>
              <c:ext xmlns:c16="http://schemas.microsoft.com/office/drawing/2014/chart" uri="{C3380CC4-5D6E-409C-BE32-E72D297353CC}">
                <c16:uniqueId val="{0000009D-77EF-42ED-BAFF-03BF265C16B5}"/>
              </c:ext>
            </c:extLst>
          </c:dPt>
          <c:dPt>
            <c:idx val="79"/>
            <c:invertIfNegative val="1"/>
            <c:bubble3D val="0"/>
            <c:spPr>
              <a:solidFill>
                <a:srgbClr val="E6E5E5"/>
              </a:solidFill>
            </c:spPr>
            <c:extLst>
              <c:ext xmlns:c16="http://schemas.microsoft.com/office/drawing/2014/chart" uri="{C3380CC4-5D6E-409C-BE32-E72D297353CC}">
                <c16:uniqueId val="{0000009F-77EF-42ED-BAFF-03BF265C16B5}"/>
              </c:ext>
            </c:extLst>
          </c:dPt>
          <c:dPt>
            <c:idx val="80"/>
            <c:invertIfNegative val="1"/>
            <c:bubble3D val="0"/>
            <c:spPr>
              <a:solidFill>
                <a:srgbClr val="E6E5E5"/>
              </a:solidFill>
            </c:spPr>
            <c:extLst>
              <c:ext xmlns:c16="http://schemas.microsoft.com/office/drawing/2014/chart" uri="{C3380CC4-5D6E-409C-BE32-E72D297353CC}">
                <c16:uniqueId val="{000000A1-77EF-42ED-BAFF-03BF265C16B5}"/>
              </c:ext>
            </c:extLst>
          </c:dPt>
          <c:dPt>
            <c:idx val="81"/>
            <c:invertIfNegative val="1"/>
            <c:bubble3D val="0"/>
            <c:spPr>
              <a:solidFill>
                <a:srgbClr val="E6E5E5"/>
              </a:solidFill>
            </c:spPr>
            <c:extLst>
              <c:ext xmlns:c16="http://schemas.microsoft.com/office/drawing/2014/chart" uri="{C3380CC4-5D6E-409C-BE32-E72D297353CC}">
                <c16:uniqueId val="{000000A3-77EF-42ED-BAFF-03BF265C16B5}"/>
              </c:ext>
            </c:extLst>
          </c:dPt>
          <c:dPt>
            <c:idx val="82"/>
            <c:invertIfNegative val="1"/>
            <c:bubble3D val="0"/>
            <c:spPr>
              <a:solidFill>
                <a:srgbClr val="E6E5E5"/>
              </a:solidFill>
            </c:spPr>
            <c:extLst>
              <c:ext xmlns:c16="http://schemas.microsoft.com/office/drawing/2014/chart" uri="{C3380CC4-5D6E-409C-BE32-E72D297353CC}">
                <c16:uniqueId val="{000000A5-77EF-42ED-BAFF-03BF265C16B5}"/>
              </c:ext>
            </c:extLst>
          </c:dPt>
          <c:dPt>
            <c:idx val="83"/>
            <c:invertIfNegative val="1"/>
            <c:bubble3D val="0"/>
            <c:spPr>
              <a:solidFill>
                <a:srgbClr val="E6E5E5"/>
              </a:solidFill>
            </c:spPr>
            <c:extLst>
              <c:ext xmlns:c16="http://schemas.microsoft.com/office/drawing/2014/chart" uri="{C3380CC4-5D6E-409C-BE32-E72D297353CC}">
                <c16:uniqueId val="{000000A7-77EF-42ED-BAFF-03BF265C16B5}"/>
              </c:ext>
            </c:extLst>
          </c:dPt>
          <c:dPt>
            <c:idx val="84"/>
            <c:invertIfNegative val="1"/>
            <c:bubble3D val="0"/>
            <c:spPr>
              <a:solidFill>
                <a:srgbClr val="E6E5E5"/>
              </a:solidFill>
            </c:spPr>
            <c:extLst>
              <c:ext xmlns:c16="http://schemas.microsoft.com/office/drawing/2014/chart" uri="{C3380CC4-5D6E-409C-BE32-E72D297353CC}">
                <c16:uniqueId val="{000000A9-77EF-42ED-BAFF-03BF265C16B5}"/>
              </c:ext>
            </c:extLst>
          </c:dPt>
          <c:dPt>
            <c:idx val="85"/>
            <c:invertIfNegative val="1"/>
            <c:bubble3D val="0"/>
            <c:spPr>
              <a:solidFill>
                <a:srgbClr val="E6E5E5"/>
              </a:solidFill>
            </c:spPr>
            <c:extLst>
              <c:ext xmlns:c16="http://schemas.microsoft.com/office/drawing/2014/chart" uri="{C3380CC4-5D6E-409C-BE32-E72D297353CC}">
                <c16:uniqueId val="{000000AB-77EF-42ED-BAFF-03BF265C16B5}"/>
              </c:ext>
            </c:extLst>
          </c:dPt>
          <c:dPt>
            <c:idx val="86"/>
            <c:invertIfNegative val="1"/>
            <c:bubble3D val="0"/>
            <c:spPr>
              <a:solidFill>
                <a:srgbClr val="E6E5E5"/>
              </a:solidFill>
            </c:spPr>
            <c:extLst>
              <c:ext xmlns:c16="http://schemas.microsoft.com/office/drawing/2014/chart" uri="{C3380CC4-5D6E-409C-BE32-E72D297353CC}">
                <c16:uniqueId val="{000000AD-77EF-42ED-BAFF-03BF265C16B5}"/>
              </c:ext>
            </c:extLst>
          </c:dPt>
          <c:dPt>
            <c:idx val="87"/>
            <c:invertIfNegative val="1"/>
            <c:bubble3D val="0"/>
            <c:spPr>
              <a:solidFill>
                <a:srgbClr val="E6E5E5"/>
              </a:solidFill>
            </c:spPr>
            <c:extLst>
              <c:ext xmlns:c16="http://schemas.microsoft.com/office/drawing/2014/chart" uri="{C3380CC4-5D6E-409C-BE32-E72D297353CC}">
                <c16:uniqueId val="{000000AF-77EF-42ED-BAFF-03BF265C16B5}"/>
              </c:ext>
            </c:extLst>
          </c:dPt>
          <c:dPt>
            <c:idx val="88"/>
            <c:invertIfNegative val="1"/>
            <c:bubble3D val="0"/>
            <c:spPr>
              <a:solidFill>
                <a:srgbClr val="E6E5E5"/>
              </a:solidFill>
            </c:spPr>
            <c:extLst>
              <c:ext xmlns:c16="http://schemas.microsoft.com/office/drawing/2014/chart" uri="{C3380CC4-5D6E-409C-BE32-E72D297353CC}">
                <c16:uniqueId val="{000000B1-77EF-42ED-BAFF-03BF265C16B5}"/>
              </c:ext>
            </c:extLst>
          </c:dPt>
          <c:dPt>
            <c:idx val="89"/>
            <c:invertIfNegative val="1"/>
            <c:bubble3D val="0"/>
            <c:spPr>
              <a:solidFill>
                <a:srgbClr val="E6E5E5"/>
              </a:solidFill>
            </c:spPr>
            <c:extLst>
              <c:ext xmlns:c16="http://schemas.microsoft.com/office/drawing/2014/chart" uri="{C3380CC4-5D6E-409C-BE32-E72D297353CC}">
                <c16:uniqueId val="{000000B3-77EF-42ED-BAFF-03BF265C16B5}"/>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7980-4C82-8C1C-32D5A7B4E44B}"/>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7980-4C82-8C1C-32D5A7B4E44B}"/>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7980-4C82-8C1C-32D5A7B4E44B}"/>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7980-4C82-8C1C-32D5A7B4E44B}"/>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7980-4C82-8C1C-32D5A7B4E44B}"/>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7980-4C82-8C1C-32D5A7B4E44B}"/>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7980-4C82-8C1C-32D5A7B4E44B}"/>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7980-4C82-8C1C-32D5A7B4E44B}"/>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7980-4C82-8C1C-32D5A7B4E44B}"/>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7980-4C82-8C1C-32D5A7B4E44B}"/>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7980-4C82-8C1C-32D5A7B4E44B}"/>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7980-4C82-8C1C-32D5A7B4E44B}"/>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7980-4C82-8C1C-32D5A7B4E44B}"/>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7980-4C82-8C1C-32D5A7B4E44B}"/>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7980-4C82-8C1C-32D5A7B4E44B}"/>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7980-4C82-8C1C-32D5A7B4E44B}"/>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7980-4C82-8C1C-32D5A7B4E44B}"/>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7980-4C82-8C1C-32D5A7B4E44B}"/>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7980-4C82-8C1C-32D5A7B4E44B}"/>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7980-4C82-8C1C-32D5A7B4E44B}"/>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7980-4C82-8C1C-32D5A7B4E44B}"/>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7980-4C82-8C1C-32D5A7B4E44B}"/>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7980-4C82-8C1C-32D5A7B4E44B}"/>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7980-4C82-8C1C-32D5A7B4E44B}"/>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7980-4C82-8C1C-32D5A7B4E44B}"/>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7980-4C82-8C1C-32D5A7B4E44B}"/>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7980-4C82-8C1C-32D5A7B4E44B}"/>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7980-4C82-8C1C-32D5A7B4E44B}"/>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7980-4C82-8C1C-32D5A7B4E44B}"/>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7980-4C82-8C1C-32D5A7B4E44B}"/>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7980-4C82-8C1C-32D5A7B4E44B}"/>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7980-4C82-8C1C-32D5A7B4E44B}"/>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980-4C82-8C1C-32D5A7B4E44B}"/>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7980-4C82-8C1C-32D5A7B4E44B}"/>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980-4C82-8C1C-32D5A7B4E44B}"/>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7980-4C82-8C1C-32D5A7B4E44B}"/>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7980-4C82-8C1C-32D5A7B4E44B}"/>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7980-4C82-8C1C-32D5A7B4E44B}"/>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7980-4C82-8C1C-32D5A7B4E44B}"/>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7980-4C82-8C1C-32D5A7B4E44B}"/>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layout>
                    <c:manualLayout>
                      <c:w val="4.4718783068783061E-2"/>
                      <c:h val="5.0377414451733424E-2"/>
                    </c:manualLayout>
                  </c15:layout>
                  <c15:showDataLabelsRange val="0"/>
                </c:ext>
                <c:ext xmlns:c16="http://schemas.microsoft.com/office/drawing/2014/chart" uri="{C3380CC4-5D6E-409C-BE32-E72D297353CC}">
                  <c16:uniqueId val="{00000032-7980-4C82-8C1C-32D5A7B4E44B}"/>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7980-4C82-8C1C-32D5A7B4E44B}"/>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7980-4C82-8C1C-32D5A7B4E44B}"/>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7980-4C82-8C1C-32D5A7B4E44B}"/>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7980-4C82-8C1C-32D5A7B4E44B}"/>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7980-4C82-8C1C-32D5A7B4E44B}"/>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7980-4C82-8C1C-32D5A7B4E44B}"/>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7980-4C82-8C1C-32D5A7B4E44B}"/>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7980-4C82-8C1C-32D5A7B4E44B}"/>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7980-4C82-8C1C-32D5A7B4E44B}"/>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7980-4C82-8C1C-32D5A7B4E44B}"/>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7980-4C82-8C1C-32D5A7B4E44B}"/>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7980-4C82-8C1C-32D5A7B4E44B}"/>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77EF-42ED-BAFF-03BF265C16B5}"/>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77EF-42ED-BAFF-03BF265C16B5}"/>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77EF-42ED-BAFF-03BF265C16B5}"/>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77EF-42ED-BAFF-03BF265C16B5}"/>
                </c:ext>
              </c:extLst>
            </c:dLbl>
            <c:dLbl>
              <c:idx val="5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77EF-42ED-BAFF-03BF265C16B5}"/>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77EF-42ED-BAFF-03BF265C16B5}"/>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77EF-42ED-BAFF-03BF265C16B5}"/>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77EF-42ED-BAFF-03BF265C16B5}"/>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77EF-42ED-BAFF-03BF265C16B5}"/>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77EF-42ED-BAFF-03BF265C16B5}"/>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77EF-42ED-BAFF-03BF265C16B5}"/>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77EF-42ED-BAFF-03BF265C16B5}"/>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77EF-42ED-BAFF-03BF265C16B5}"/>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77EF-42ED-BAFF-03BF265C16B5}"/>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77EF-42ED-BAFF-03BF265C16B5}"/>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77EF-42ED-BAFF-03BF265C16B5}"/>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77EF-42ED-BAFF-03BF265C16B5}"/>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77EF-42ED-BAFF-03BF265C16B5}"/>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77EF-42ED-BAFF-03BF265C16B5}"/>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77EF-42ED-BAFF-03BF265C16B5}"/>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77EF-42ED-BAFF-03BF265C16B5}"/>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77EF-42ED-BAFF-03BF265C16B5}"/>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77EF-42ED-BAFF-03BF265C16B5}"/>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77EF-42ED-BAFF-03BF265C16B5}"/>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77EF-42ED-BAFF-03BF265C16B5}"/>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77EF-42ED-BAFF-03BF265C16B5}"/>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77EF-42ED-BAFF-03BF265C16B5}"/>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77EF-42ED-BAFF-03BF265C16B5}"/>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77EF-42ED-BAFF-03BF265C16B5}"/>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77EF-42ED-BAFF-03BF265C16B5}"/>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77EF-42ED-BAFF-03BF265C16B5}"/>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77EF-42ED-BAFF-03BF265C16B5}"/>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77EF-42ED-BAFF-03BF265C16B5}"/>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77EF-42ED-BAFF-03BF265C16B5}"/>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77EF-42ED-BAFF-03BF265C16B5}"/>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77EF-42ED-BAFF-03BF265C16B5}"/>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9</c:f>
              <c:strCache>
                <c:ptCount val="78"/>
                <c:pt idx="0">
                  <c:v>Galaxy Jewels 1.4kg</c:v>
                </c:pt>
                <c:pt idx="1">
                  <c:v>Ferrero Rocher 300g</c:v>
                </c:pt>
                <c:pt idx="2">
                  <c:v>Galaxy Smooth Milk Chocolate 36g x 24</c:v>
                </c:pt>
                <c:pt idx="3">
                  <c:v>Galaxy Jewels 900g</c:v>
                </c:pt>
                <c:pt idx="4">
                  <c:v>Galaxy Jewels 650g</c:v>
                </c:pt>
                <c:pt idx="5">
                  <c:v>Cadbury Dairy Milk Minis Selection 500g</c:v>
                </c:pt>
                <c:pt idx="6">
                  <c:v>Kit Kat 17.7g x 18</c:v>
                </c:pt>
                <c:pt idx="7">
                  <c:v>Kinder Bueno Milk&amp;Hazelnut 43g</c:v>
                </c:pt>
                <c:pt idx="8">
                  <c:v>Tiffany Break Supa 38gx12</c:v>
                </c:pt>
                <c:pt idx="9">
                  <c:v>Snickers 50gx6</c:v>
                </c:pt>
                <c:pt idx="10">
                  <c:v>Tiffany Break 24x15.5g</c:v>
                </c:pt>
                <c:pt idx="11">
                  <c:v>Tiffany Break Mini Fun 384g</c:v>
                </c:pt>
                <c:pt idx="12">
                  <c:v>Kinder Bueno Milk&amp;Hazelnut 43gx10</c:v>
                </c:pt>
                <c:pt idx="13">
                  <c:v>Mackintosh Quality Street Chocolate 600g</c:v>
                </c:pt>
                <c:pt idx="14">
                  <c:v>Snickers Bar 50g</c:v>
                </c:pt>
                <c:pt idx="15">
                  <c:v>Maltesers Chocolate 175g</c:v>
                </c:pt>
                <c:pt idx="16">
                  <c:v>Tiffany Break 31gx12</c:v>
                </c:pt>
                <c:pt idx="17">
                  <c:v>Tiffany Break Delight 25gx12</c:v>
                </c:pt>
                <c:pt idx="18">
                  <c:v>Snickers Minis Bag 252g</c:v>
                </c:pt>
                <c:pt idx="19">
                  <c:v>Cadbury Miniatures Box 400g</c:v>
                </c:pt>
                <c:pt idx="20">
                  <c:v>Bounty Bar 57g</c:v>
                </c:pt>
                <c:pt idx="21">
                  <c:v>Galaxy Smooth Milk Minis 237.5g</c:v>
                </c:pt>
                <c:pt idx="22">
                  <c:v>Bounty Bar 57g x 5</c:v>
                </c:pt>
                <c:pt idx="23">
                  <c:v>Kinder Maxi Chocolate 21gx11 (10+1)</c:v>
                </c:pt>
                <c:pt idx="24">
                  <c:v>Ferrero Rocher 200g</c:v>
                </c:pt>
                <c:pt idx="25">
                  <c:v>Ferrero Raffaello 150g box </c:v>
                </c:pt>
                <c:pt idx="26">
                  <c:v>Galaxy Hazelnut Minis 237.5g</c:v>
                </c:pt>
                <c:pt idx="27">
                  <c:v>Twix 50gx5</c:v>
                </c:pt>
                <c:pt idx="28">
                  <c:v>Twix Bar 50g</c:v>
                </c:pt>
                <c:pt idx="29">
                  <c:v>Maltesers Chocolate 37g</c:v>
                </c:pt>
                <c:pt idx="30">
                  <c:v>Snickers Miniatures 150g</c:v>
                </c:pt>
                <c:pt idx="31">
                  <c:v>Cadbury Flake Minis Bag 159.5g</c:v>
                </c:pt>
                <c:pt idx="32">
                  <c:v>M&amp;M's Peanut 165g</c:v>
                </c:pt>
                <c:pt idx="33">
                  <c:v>Twix Miniatures 150g</c:v>
                </c:pt>
                <c:pt idx="34">
                  <c:v>Cadbury Timeout Minis Wafer 247.2g</c:v>
                </c:pt>
                <c:pt idx="35">
                  <c:v>Toblerone Milk Chocolate 200g</c:v>
                </c:pt>
                <c:pt idx="36">
                  <c:v>Galaxy Smooth Milk Minis 162.5g</c:v>
                </c:pt>
                <c:pt idx="37">
                  <c:v>Mars 45g x 6</c:v>
                </c:pt>
                <c:pt idx="38">
                  <c:v>Bounty Miniatures 150g</c:v>
                </c:pt>
                <c:pt idx="39">
                  <c:v>Kinder Chocolate Bar 8x12.5g</c:v>
                </c:pt>
                <c:pt idx="40">
                  <c:v>Galaxy Smooth Dark Chocolate 40g</c:v>
                </c:pt>
                <c:pt idx="41">
                  <c:v>Mars Bar 51g </c:v>
                </c:pt>
                <c:pt idx="42">
                  <c:v>Hershey's Kisses Special Selection Assorted 325g</c:v>
                </c:pt>
                <c:pt idx="43">
                  <c:v>Galaxy Hazelnut Chocolate 36g</c:v>
                </c:pt>
                <c:pt idx="44">
                  <c:v>Galaxy Smooth Milk Chocolate 36g</c:v>
                </c:pt>
                <c:pt idx="45">
                  <c:v>Galaxy Caramel Bar 40g</c:v>
                </c:pt>
                <c:pt idx="46">
                  <c:v>Kinder Chocolate Bar 50g</c:v>
                </c:pt>
                <c:pt idx="47">
                  <c:v>Kinder Bueno White 39g</c:v>
                </c:pt>
                <c:pt idx="48">
                  <c:v>Hershey's Kisses Classic Selection Assorted 325g</c:v>
                </c:pt>
                <c:pt idx="49">
                  <c:v>Galaxy Crispy Milk Chocolate 36g</c:v>
                </c:pt>
                <c:pt idx="50">
                  <c:v> Reeses Peanut Butter Cup Mini 340g </c:v>
                </c:pt>
                <c:pt idx="51">
                  <c:v>Kit Kat 17.7g</c:v>
                </c:pt>
                <c:pt idx="52">
                  <c:v> Reeses Peanut Butter Cup 42g x 6</c:v>
                </c:pt>
                <c:pt idx="53">
                  <c:v>Reeses Peanut Butter Cups 46g</c:v>
                </c:pt>
                <c:pt idx="54">
                  <c:v>Reeses Peanut Butter Cup Mini 215g</c:v>
                </c:pt>
                <c:pt idx="55">
                  <c:v>M&amp;M's Milk Chocolate 30.6g</c:v>
                </c:pt>
                <c:pt idx="56">
                  <c:v>Godiva Double Chocolate Bar 35g</c:v>
                </c:pt>
                <c:pt idx="57">
                  <c:v>Galaxy Smooth Milk Chocolate 80g</c:v>
                </c:pt>
                <c:pt idx="58">
                  <c:v>Galaxy Ripple Bar 33g</c:v>
                </c:pt>
                <c:pt idx="59">
                  <c:v>Hershey's Chocobites Cookies 'n Creme 90g</c:v>
                </c:pt>
                <c:pt idx="60">
                  <c:v>Hershey's Kisses Special Selection Assorted 100g</c:v>
                </c:pt>
                <c:pt idx="61">
                  <c:v>Hershey's Chocobites Salted Caramel 81g</c:v>
                </c:pt>
                <c:pt idx="62">
                  <c:v>Hershey's Cookies N' Chocolate 40g</c:v>
                </c:pt>
                <c:pt idx="63">
                  <c:v>Reeses Block 90g</c:v>
                </c:pt>
                <c:pt idx="64">
                  <c:v>Reeses Nut Bar 47g</c:v>
                </c:pt>
                <c:pt idx="65">
                  <c:v>Hershey's Kisses Classic Selection Assorted 100g</c:v>
                </c:pt>
                <c:pt idx="66">
                  <c:v>Hershey's Cookies 'n Creme Block 90g</c:v>
                </c:pt>
                <c:pt idx="67">
                  <c:v>Hershey's Cookies N' Crème 12.76g</c:v>
                </c:pt>
                <c:pt idx="68">
                  <c:v> Reeses Wafer Sticks 42g</c:v>
                </c:pt>
                <c:pt idx="69">
                  <c:v>Hershey's Choco Tubes Cookies N' Creme 18g</c:v>
                </c:pt>
                <c:pt idx="70">
                  <c:v> Reeses Peanut Butter Cup Mini 500G</c:v>
                </c:pt>
                <c:pt idx="71">
                  <c:v>Reeses Pieces 180g</c:v>
                </c:pt>
                <c:pt idx="72">
                  <c:v>Reeses Mini King Size 71g</c:v>
                </c:pt>
                <c:pt idx="73">
                  <c:v>Hershey's Cookies 'n Creme Creations Salted Caramel 38g</c:v>
                </c:pt>
                <c:pt idx="74">
                  <c:v>Hersheys Kisses Classic Selection Assorted 600G</c:v>
                </c:pt>
                <c:pt idx="75">
                  <c:v>Hershey's Cookies 'n Creme 40Gx 4</c:v>
                </c:pt>
                <c:pt idx="76">
                  <c:v>Hershey's Variety Pack 40Gx3</c:v>
                </c:pt>
                <c:pt idx="77">
                  <c:v>Reeses Fast break 51g</c:v>
                </c:pt>
              </c:strCache>
            </c:strRef>
          </c:cat>
          <c:val>
            <c:numRef>
              <c:f>Sheet1!$B$2:$B$79</c:f>
              <c:numCache>
                <c:formatCode>General</c:formatCode>
                <c:ptCount val="78"/>
                <c:pt idx="0">
                  <c:v>8.7472496097121558E-2</c:v>
                </c:pt>
                <c:pt idx="1">
                  <c:v>5.7538947324104119E-2</c:v>
                </c:pt>
                <c:pt idx="2">
                  <c:v>5.2433248127097418E-2</c:v>
                </c:pt>
                <c:pt idx="3">
                  <c:v>5.2427028090236263E-2</c:v>
                </c:pt>
                <c:pt idx="4">
                  <c:v>4.8702496145713738E-2</c:v>
                </c:pt>
                <c:pt idx="5">
                  <c:v>3.984530703204197E-2</c:v>
                </c:pt>
                <c:pt idx="6">
                  <c:v>2.9281333941963E-2</c:v>
                </c:pt>
                <c:pt idx="7">
                  <c:v>2.7690668434504601E-2</c:v>
                </c:pt>
                <c:pt idx="8">
                  <c:v>2.5210000455187748E-2</c:v>
                </c:pt>
                <c:pt idx="9">
                  <c:v>2.4943187003251179E-2</c:v>
                </c:pt>
                <c:pt idx="10">
                  <c:v>2.4410882866364541E-2</c:v>
                </c:pt>
                <c:pt idx="11">
                  <c:v>2.431449668967391E-2</c:v>
                </c:pt>
                <c:pt idx="12">
                  <c:v>2.2624836421410909E-2</c:v>
                </c:pt>
                <c:pt idx="13">
                  <c:v>2.240126222098935E-2</c:v>
                </c:pt>
                <c:pt idx="14">
                  <c:v>2.1312383520667021E-2</c:v>
                </c:pt>
                <c:pt idx="15">
                  <c:v>2.0948557967625781E-2</c:v>
                </c:pt>
                <c:pt idx="16">
                  <c:v>2.0802759209870909E-2</c:v>
                </c:pt>
                <c:pt idx="17">
                  <c:v>1.796715545025266E-2</c:v>
                </c:pt>
                <c:pt idx="18">
                  <c:v>1.6841617507406651E-2</c:v>
                </c:pt>
                <c:pt idx="19">
                  <c:v>1.595185798501797E-2</c:v>
                </c:pt>
                <c:pt idx="20">
                  <c:v>1.5133684418223889E-2</c:v>
                </c:pt>
                <c:pt idx="21">
                  <c:v>1.4607463502544641E-2</c:v>
                </c:pt>
                <c:pt idx="22">
                  <c:v>1.4327795755228641E-2</c:v>
                </c:pt>
                <c:pt idx="23">
                  <c:v>1.4300496139580759E-2</c:v>
                </c:pt>
                <c:pt idx="24">
                  <c:v>1.428543080773065E-2</c:v>
                </c:pt>
                <c:pt idx="25">
                  <c:v>1.4034261062238269E-2</c:v>
                </c:pt>
                <c:pt idx="26">
                  <c:v>1.329639293211704E-2</c:v>
                </c:pt>
                <c:pt idx="27">
                  <c:v>1.2785194916348211E-2</c:v>
                </c:pt>
                <c:pt idx="28">
                  <c:v>1.1550390621815201E-2</c:v>
                </c:pt>
                <c:pt idx="29">
                  <c:v>1.1357457804435761E-2</c:v>
                </c:pt>
                <c:pt idx="30">
                  <c:v>1.086426231323109E-2</c:v>
                </c:pt>
                <c:pt idx="31">
                  <c:v>1.0480589734489711E-2</c:v>
                </c:pt>
                <c:pt idx="32">
                  <c:v>1.0430399563066959E-2</c:v>
                </c:pt>
                <c:pt idx="33">
                  <c:v>1.020525301098122E-2</c:v>
                </c:pt>
                <c:pt idx="34">
                  <c:v>9.9953769134242237E-3</c:v>
                </c:pt>
                <c:pt idx="35">
                  <c:v>9.681768078509994E-3</c:v>
                </c:pt>
                <c:pt idx="36">
                  <c:v>9.4015158630799279E-3</c:v>
                </c:pt>
                <c:pt idx="37">
                  <c:v>8.0950411657840678E-3</c:v>
                </c:pt>
                <c:pt idx="38">
                  <c:v>7.5484160737205926E-3</c:v>
                </c:pt>
                <c:pt idx="39">
                  <c:v>7.4456816552401391E-3</c:v>
                </c:pt>
                <c:pt idx="40">
                  <c:v>7.2259315698773264E-3</c:v>
                </c:pt>
                <c:pt idx="41">
                  <c:v>7.1656336772027091E-3</c:v>
                </c:pt>
                <c:pt idx="42">
                  <c:v>6.7758356553924001E-3</c:v>
                </c:pt>
                <c:pt idx="43">
                  <c:v>6.6474385250116421E-3</c:v>
                </c:pt>
                <c:pt idx="44">
                  <c:v>6.5896804076022017E-3</c:v>
                </c:pt>
                <c:pt idx="45">
                  <c:v>6.1115357976134982E-3</c:v>
                </c:pt>
                <c:pt idx="46">
                  <c:v>5.451110043885531E-3</c:v>
                </c:pt>
                <c:pt idx="47">
                  <c:v>5.4366567437936376E-3</c:v>
                </c:pt>
                <c:pt idx="48">
                  <c:v>5.0655794386848208E-3</c:v>
                </c:pt>
                <c:pt idx="49">
                  <c:v>4.8777439605028356E-3</c:v>
                </c:pt>
                <c:pt idx="50">
                  <c:v>4.8173841850306202E-3</c:v>
                </c:pt>
                <c:pt idx="51">
                  <c:v>4.757078936432276E-3</c:v>
                </c:pt>
                <c:pt idx="52">
                  <c:v>4.6073366062554071E-3</c:v>
                </c:pt>
                <c:pt idx="53">
                  <c:v>4.4996529359943851E-3</c:v>
                </c:pt>
                <c:pt idx="54">
                  <c:v>4.3987723156036279E-3</c:v>
                </c:pt>
                <c:pt idx="55">
                  <c:v>4.0273573708384863E-3</c:v>
                </c:pt>
                <c:pt idx="56">
                  <c:v>3.9203779776991127E-3</c:v>
                </c:pt>
                <c:pt idx="57">
                  <c:v>3.4968857436555559E-3</c:v>
                </c:pt>
                <c:pt idx="58">
                  <c:v>3.318392300390517E-3</c:v>
                </c:pt>
                <c:pt idx="59">
                  <c:v>2.7099351522742849E-3</c:v>
                </c:pt>
                <c:pt idx="60">
                  <c:v>2.541972149100086E-3</c:v>
                </c:pt>
                <c:pt idx="61">
                  <c:v>2.4365023024946779E-3</c:v>
                </c:pt>
                <c:pt idx="62">
                  <c:v>2.4242122973904402E-3</c:v>
                </c:pt>
                <c:pt idx="63">
                  <c:v>2.1546631701556051E-3</c:v>
                </c:pt>
                <c:pt idx="64">
                  <c:v>1.6539174754250411E-3</c:v>
                </c:pt>
                <c:pt idx="65">
                  <c:v>1.533100664626598E-3</c:v>
                </c:pt>
                <c:pt idx="66">
                  <c:v>1.2803795821592181E-3</c:v>
                </c:pt>
                <c:pt idx="67">
                  <c:v>7.8328664731944621E-4</c:v>
                </c:pt>
                <c:pt idx="68">
                  <c:v>2.7127970870976262E-4</c:v>
                </c:pt>
                <c:pt idx="69">
                  <c:v>7.2971836586101626E-5</c:v>
                </c:pt>
                <c:pt idx="70">
                  <c:v>0</c:v>
                </c:pt>
                <c:pt idx="71">
                  <c:v>0</c:v>
                </c:pt>
                <c:pt idx="72">
                  <c:v>0</c:v>
                </c:pt>
                <c:pt idx="73">
                  <c:v>0</c:v>
                </c:pt>
                <c:pt idx="74">
                  <c:v>0</c:v>
                </c:pt>
                <c:pt idx="75">
                  <c:v>0</c:v>
                </c:pt>
                <c:pt idx="76">
                  <c:v>0</c:v>
                </c:pt>
                <c:pt idx="77">
                  <c:v>0</c:v>
                </c:pt>
              </c:numCache>
            </c:numRef>
          </c:val>
          <c:extLst>
            <c:ext xmlns:c16="http://schemas.microsoft.com/office/drawing/2014/chart" uri="{C3380CC4-5D6E-409C-BE32-E72D297353CC}">
              <c16:uniqueId val="{00000042-7980-4C82-8C1C-32D5A7B4E44B}"/>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ershey's Cookies 'n Creme 40Gx 4</c:v>
                </c:pt>
              </c:strCache>
            </c:strRef>
          </c:tx>
          <c:spPr>
            <a:solidFill>
              <a:schemeClr val="bg2"/>
            </a:solidFill>
            <a:ln>
              <a:noFill/>
            </a:ln>
            <a:effectLst/>
          </c:spPr>
          <c:invertIfNegative val="0"/>
          <c:dPt>
            <c:idx val="0"/>
            <c:invertIfNegative val="1"/>
            <c:bubble3D val="0"/>
            <c:spPr>
              <a:solidFill>
                <a:srgbClr val="E6E5E5"/>
              </a:solidFill>
            </c:spPr>
            <c:extLst>
              <c:ext xmlns:c16="http://schemas.microsoft.com/office/drawing/2014/chart" uri="{C3380CC4-5D6E-409C-BE32-E72D297353CC}">
                <c16:uniqueId val="{00000008-A0D8-4FF8-BF2D-A6DC7B178F5A}"/>
              </c:ext>
            </c:extLst>
          </c:dPt>
          <c:dPt>
            <c:idx val="1"/>
            <c:invertIfNegative val="0"/>
            <c:bubble3D val="0"/>
            <c:spPr>
              <a:solidFill>
                <a:srgbClr val="E6E5E5"/>
              </a:solidFill>
              <a:ln>
                <a:noFill/>
              </a:ln>
              <a:effectLst/>
            </c:spPr>
            <c:extLst>
              <c:ext xmlns:c16="http://schemas.microsoft.com/office/drawing/2014/chart" uri="{C3380CC4-5D6E-409C-BE32-E72D297353CC}">
                <c16:uniqueId val="{00000009-A0D8-4FF8-BF2D-A6DC7B178F5A}"/>
              </c:ext>
            </c:extLst>
          </c:dPt>
          <c:dPt>
            <c:idx val="2"/>
            <c:invertIfNegative val="1"/>
            <c:bubble3D val="0"/>
            <c:spPr>
              <a:solidFill>
                <a:srgbClr val="E6E5E5"/>
              </a:solidFill>
            </c:spPr>
            <c:extLst>
              <c:ext xmlns:c16="http://schemas.microsoft.com/office/drawing/2014/chart" uri="{C3380CC4-5D6E-409C-BE32-E72D297353CC}">
                <c16:uniqueId val="{0000000A-A0D8-4FF8-BF2D-A6DC7B178F5A}"/>
              </c:ext>
            </c:extLst>
          </c:dPt>
          <c:dPt>
            <c:idx val="3"/>
            <c:invertIfNegative val="1"/>
            <c:bubble3D val="0"/>
            <c:spPr>
              <a:solidFill>
                <a:srgbClr val="E6E5E5"/>
              </a:solidFill>
            </c:spPr>
            <c:extLst>
              <c:ext xmlns:c16="http://schemas.microsoft.com/office/drawing/2014/chart" uri="{C3380CC4-5D6E-409C-BE32-E72D297353CC}">
                <c16:uniqueId val="{0000000B-A0D8-4FF8-BF2D-A6DC7B178F5A}"/>
              </c:ext>
            </c:extLst>
          </c:dPt>
          <c:dPt>
            <c:idx val="4"/>
            <c:invertIfNegative val="1"/>
            <c:bubble3D val="0"/>
            <c:spPr>
              <a:solidFill>
                <a:srgbClr val="E6E5E5"/>
              </a:solidFill>
            </c:spPr>
            <c:extLst>
              <c:ext xmlns:c16="http://schemas.microsoft.com/office/drawing/2014/chart" uri="{C3380CC4-5D6E-409C-BE32-E72D297353CC}">
                <c16:uniqueId val="{0000000C-A0D8-4FF8-BF2D-A6DC7B178F5A}"/>
              </c:ext>
            </c:extLst>
          </c:dPt>
          <c:dPt>
            <c:idx val="5"/>
            <c:invertIfNegative val="1"/>
            <c:bubble3D val="0"/>
            <c:spPr>
              <a:solidFill>
                <a:srgbClr val="E6E5E5"/>
              </a:solidFill>
            </c:spPr>
            <c:extLst>
              <c:ext xmlns:c16="http://schemas.microsoft.com/office/drawing/2014/chart" uri="{C3380CC4-5D6E-409C-BE32-E72D297353CC}">
                <c16:uniqueId val="{0000000D-A0D8-4FF8-BF2D-A6DC7B178F5A}"/>
              </c:ext>
            </c:extLst>
          </c:dPt>
          <c:dPt>
            <c:idx val="6"/>
            <c:invertIfNegative val="1"/>
            <c:bubble3D val="0"/>
            <c:spPr>
              <a:solidFill>
                <a:srgbClr val="E6E5E5"/>
              </a:solidFill>
            </c:spPr>
            <c:extLst>
              <c:ext xmlns:c16="http://schemas.microsoft.com/office/drawing/2014/chart" uri="{C3380CC4-5D6E-409C-BE32-E72D297353CC}">
                <c16:uniqueId val="{0000000E-A0D8-4FF8-BF2D-A6DC7B178F5A}"/>
              </c:ext>
            </c:extLst>
          </c:dPt>
          <c:dPt>
            <c:idx val="7"/>
            <c:invertIfNegative val="1"/>
            <c:bubble3D val="0"/>
            <c:spPr>
              <a:solidFill>
                <a:srgbClr val="E6E5E5"/>
              </a:solidFill>
            </c:spPr>
            <c:extLst>
              <c:ext xmlns:c16="http://schemas.microsoft.com/office/drawing/2014/chart" uri="{C3380CC4-5D6E-409C-BE32-E72D297353CC}">
                <c16:uniqueId val="{0000000F-A0D8-4FF8-BF2D-A6DC7B178F5A}"/>
              </c:ext>
            </c:extLst>
          </c:dPt>
          <c:dPt>
            <c:idx val="8"/>
            <c:invertIfNegative val="1"/>
            <c:bubble3D val="0"/>
            <c:spPr>
              <a:solidFill>
                <a:srgbClr val="E6E5E5"/>
              </a:solidFill>
            </c:spPr>
            <c:extLst>
              <c:ext xmlns:c16="http://schemas.microsoft.com/office/drawing/2014/chart" uri="{C3380CC4-5D6E-409C-BE32-E72D297353CC}">
                <c16:uniqueId val="{00000010-A0D8-4FF8-BF2D-A6DC7B178F5A}"/>
              </c:ext>
            </c:extLst>
          </c:dPt>
          <c:dPt>
            <c:idx val="9"/>
            <c:invertIfNegative val="1"/>
            <c:bubble3D val="0"/>
            <c:spPr>
              <a:solidFill>
                <a:srgbClr val="E6E5E5"/>
              </a:solidFill>
            </c:spPr>
            <c:extLst>
              <c:ext xmlns:c16="http://schemas.microsoft.com/office/drawing/2014/chart" uri="{C3380CC4-5D6E-409C-BE32-E72D297353CC}">
                <c16:uniqueId val="{00000011-A0D8-4FF8-BF2D-A6DC7B178F5A}"/>
              </c:ext>
            </c:extLst>
          </c:dPt>
          <c:dPt>
            <c:idx val="10"/>
            <c:invertIfNegative val="1"/>
            <c:bubble3D val="0"/>
            <c:spPr>
              <a:solidFill>
                <a:srgbClr val="E6E5E5"/>
              </a:solidFill>
            </c:spPr>
            <c:extLst>
              <c:ext xmlns:c16="http://schemas.microsoft.com/office/drawing/2014/chart" uri="{C3380CC4-5D6E-409C-BE32-E72D297353CC}">
                <c16:uniqueId val="{00000001-A0D8-4FF8-BF2D-A6DC7B178F5A}"/>
              </c:ext>
            </c:extLst>
          </c:dPt>
          <c:dPt>
            <c:idx val="11"/>
            <c:invertIfNegative val="0"/>
            <c:bubble3D val="0"/>
            <c:spPr>
              <a:solidFill>
                <a:srgbClr val="E6E5E5"/>
              </a:solidFill>
              <a:ln>
                <a:noFill/>
              </a:ln>
              <a:effectLst/>
            </c:spPr>
            <c:extLst>
              <c:ext xmlns:c16="http://schemas.microsoft.com/office/drawing/2014/chart" uri="{C3380CC4-5D6E-409C-BE32-E72D297353CC}">
                <c16:uniqueId val="{00000003-A0D8-4FF8-BF2D-A6DC7B178F5A}"/>
              </c:ext>
            </c:extLst>
          </c:dPt>
          <c:dPt>
            <c:idx val="12"/>
            <c:invertIfNegative val="1"/>
            <c:bubble3D val="0"/>
            <c:spPr>
              <a:solidFill>
                <a:srgbClr val="E6E5E5"/>
              </a:solidFill>
            </c:spPr>
            <c:extLst>
              <c:ext xmlns:c16="http://schemas.microsoft.com/office/drawing/2014/chart" uri="{C3380CC4-5D6E-409C-BE32-E72D297353CC}">
                <c16:uniqueId val="{00000005-A0D8-4FF8-BF2D-A6DC7B178F5A}"/>
              </c:ext>
            </c:extLst>
          </c:dPt>
          <c:dPt>
            <c:idx val="13"/>
            <c:invertIfNegative val="1"/>
            <c:bubble3D val="0"/>
            <c:spPr>
              <a:solidFill>
                <a:srgbClr val="E6E5E5"/>
              </a:solidFill>
            </c:spPr>
            <c:extLst>
              <c:ext xmlns:c16="http://schemas.microsoft.com/office/drawing/2014/chart" uri="{C3380CC4-5D6E-409C-BE32-E72D297353CC}">
                <c16:uniqueId val="{00000012-A0D8-4FF8-BF2D-A6DC7B178F5A}"/>
              </c:ext>
            </c:extLst>
          </c:dPt>
          <c:dPt>
            <c:idx val="14"/>
            <c:invertIfNegative val="1"/>
            <c:bubble3D val="0"/>
            <c:spPr>
              <a:solidFill>
                <a:srgbClr val="E6E5E5"/>
              </a:solidFill>
            </c:spPr>
            <c:extLst>
              <c:ext xmlns:c16="http://schemas.microsoft.com/office/drawing/2014/chart" uri="{C3380CC4-5D6E-409C-BE32-E72D297353CC}">
                <c16:uniqueId val="{00000013-A0D8-4FF8-BF2D-A6DC7B178F5A}"/>
              </c:ext>
            </c:extLst>
          </c:dPt>
          <c:dPt>
            <c:idx val="15"/>
            <c:invertIfNegative val="1"/>
            <c:bubble3D val="0"/>
            <c:spPr>
              <a:solidFill>
                <a:srgbClr val="E6E5E5"/>
              </a:solidFill>
            </c:spPr>
            <c:extLst>
              <c:ext xmlns:c16="http://schemas.microsoft.com/office/drawing/2014/chart" uri="{C3380CC4-5D6E-409C-BE32-E72D297353CC}">
                <c16:uniqueId val="{00000014-A0D8-4FF8-BF2D-A6DC7B178F5A}"/>
              </c:ext>
            </c:extLst>
          </c:dPt>
          <c:dPt>
            <c:idx val="16"/>
            <c:invertIfNegative val="1"/>
            <c:bubble3D val="0"/>
            <c:spPr>
              <a:solidFill>
                <a:srgbClr val="E6E5E5"/>
              </a:solidFill>
            </c:spPr>
            <c:extLst>
              <c:ext xmlns:c16="http://schemas.microsoft.com/office/drawing/2014/chart" uri="{C3380CC4-5D6E-409C-BE32-E72D297353CC}">
                <c16:uniqueId val="{00000015-A0D8-4FF8-BF2D-A6DC7B178F5A}"/>
              </c:ext>
            </c:extLst>
          </c:dPt>
          <c:dPt>
            <c:idx val="17"/>
            <c:invertIfNegative val="1"/>
            <c:bubble3D val="0"/>
            <c:spPr>
              <a:solidFill>
                <a:srgbClr val="E6E5E5"/>
              </a:solidFill>
            </c:spPr>
            <c:extLst>
              <c:ext xmlns:c16="http://schemas.microsoft.com/office/drawing/2014/chart" uri="{C3380CC4-5D6E-409C-BE32-E72D297353CC}">
                <c16:uniqueId val="{00000016-A0D8-4FF8-BF2D-A6DC7B178F5A}"/>
              </c:ext>
            </c:extLst>
          </c:dPt>
          <c:dPt>
            <c:idx val="18"/>
            <c:invertIfNegative val="1"/>
            <c:bubble3D val="0"/>
            <c:spPr>
              <a:solidFill>
                <a:srgbClr val="E6E5E5"/>
              </a:solidFill>
            </c:spPr>
            <c:extLst>
              <c:ext xmlns:c16="http://schemas.microsoft.com/office/drawing/2014/chart" uri="{C3380CC4-5D6E-409C-BE32-E72D297353CC}">
                <c16:uniqueId val="{00000017-A0D8-4FF8-BF2D-A6DC7B178F5A}"/>
              </c:ext>
            </c:extLst>
          </c:dPt>
          <c:dPt>
            <c:idx val="19"/>
            <c:invertIfNegative val="1"/>
            <c:bubble3D val="0"/>
            <c:spPr>
              <a:solidFill>
                <a:srgbClr val="E6E5E5"/>
              </a:solidFill>
            </c:spPr>
            <c:extLst>
              <c:ext xmlns:c16="http://schemas.microsoft.com/office/drawing/2014/chart" uri="{C3380CC4-5D6E-409C-BE32-E72D297353CC}">
                <c16:uniqueId val="{00000018-A0D8-4FF8-BF2D-A6DC7B178F5A}"/>
              </c:ext>
            </c:extLst>
          </c:dPt>
          <c:dPt>
            <c:idx val="20"/>
            <c:invertIfNegative val="1"/>
            <c:bubble3D val="0"/>
            <c:spPr>
              <a:solidFill>
                <a:srgbClr val="E6E5E5"/>
              </a:solidFill>
            </c:spPr>
            <c:extLst>
              <c:ext xmlns:c16="http://schemas.microsoft.com/office/drawing/2014/chart" uri="{C3380CC4-5D6E-409C-BE32-E72D297353CC}">
                <c16:uniqueId val="{00000019-A0D8-4FF8-BF2D-A6DC7B178F5A}"/>
              </c:ext>
            </c:extLst>
          </c:dPt>
          <c:dPt>
            <c:idx val="21"/>
            <c:invertIfNegative val="1"/>
            <c:bubble3D val="0"/>
            <c:spPr>
              <a:solidFill>
                <a:srgbClr val="E6E5E5"/>
              </a:solidFill>
            </c:spPr>
            <c:extLst>
              <c:ext xmlns:c16="http://schemas.microsoft.com/office/drawing/2014/chart" uri="{C3380CC4-5D6E-409C-BE32-E72D297353CC}">
                <c16:uniqueId val="{0000001A-A0D8-4FF8-BF2D-A6DC7B178F5A}"/>
              </c:ext>
            </c:extLst>
          </c:dPt>
          <c:dPt>
            <c:idx val="22"/>
            <c:invertIfNegative val="1"/>
            <c:bubble3D val="0"/>
            <c:spPr>
              <a:solidFill>
                <a:srgbClr val="E6E5E5"/>
              </a:solidFill>
            </c:spPr>
            <c:extLst>
              <c:ext xmlns:c16="http://schemas.microsoft.com/office/drawing/2014/chart" uri="{C3380CC4-5D6E-409C-BE32-E72D297353CC}">
                <c16:uniqueId val="{0000001B-A0D8-4FF8-BF2D-A6DC7B178F5A}"/>
              </c:ext>
            </c:extLst>
          </c:dPt>
          <c:dPt>
            <c:idx val="23"/>
            <c:invertIfNegative val="1"/>
            <c:bubble3D val="0"/>
            <c:spPr>
              <a:solidFill>
                <a:srgbClr val="E6E5E5"/>
              </a:solidFill>
            </c:spPr>
            <c:extLst>
              <c:ext xmlns:c16="http://schemas.microsoft.com/office/drawing/2014/chart" uri="{C3380CC4-5D6E-409C-BE32-E72D297353CC}">
                <c16:uniqueId val="{0000001C-A0D8-4FF8-BF2D-A6DC7B178F5A}"/>
              </c:ext>
            </c:extLst>
          </c:dPt>
          <c:dPt>
            <c:idx val="24"/>
            <c:invertIfNegative val="1"/>
            <c:bubble3D val="0"/>
            <c:spPr>
              <a:solidFill>
                <a:srgbClr val="E6E5E5"/>
              </a:solidFill>
            </c:spPr>
            <c:extLst>
              <c:ext xmlns:c16="http://schemas.microsoft.com/office/drawing/2014/chart" uri="{C3380CC4-5D6E-409C-BE32-E72D297353CC}">
                <c16:uniqueId val="{0000001D-A0D8-4FF8-BF2D-A6DC7B178F5A}"/>
              </c:ext>
            </c:extLst>
          </c:dPt>
          <c:dPt>
            <c:idx val="25"/>
            <c:invertIfNegative val="1"/>
            <c:bubble3D val="0"/>
            <c:spPr>
              <a:solidFill>
                <a:srgbClr val="E6E5E5"/>
              </a:solidFill>
            </c:spPr>
            <c:extLst>
              <c:ext xmlns:c16="http://schemas.microsoft.com/office/drawing/2014/chart" uri="{C3380CC4-5D6E-409C-BE32-E72D297353CC}">
                <c16:uniqueId val="{0000001E-A0D8-4FF8-BF2D-A6DC7B178F5A}"/>
              </c:ext>
            </c:extLst>
          </c:dPt>
          <c:dPt>
            <c:idx val="26"/>
            <c:invertIfNegative val="1"/>
            <c:bubble3D val="0"/>
            <c:spPr>
              <a:solidFill>
                <a:srgbClr val="E6E5E5"/>
              </a:solidFill>
            </c:spPr>
            <c:extLst>
              <c:ext xmlns:c16="http://schemas.microsoft.com/office/drawing/2014/chart" uri="{C3380CC4-5D6E-409C-BE32-E72D297353CC}">
                <c16:uniqueId val="{0000001F-A0D8-4FF8-BF2D-A6DC7B178F5A}"/>
              </c:ext>
            </c:extLst>
          </c:dPt>
          <c:dPt>
            <c:idx val="27"/>
            <c:invertIfNegative val="1"/>
            <c:bubble3D val="0"/>
            <c:spPr>
              <a:solidFill>
                <a:srgbClr val="E6E5E5"/>
              </a:solidFill>
            </c:spPr>
            <c:extLst>
              <c:ext xmlns:c16="http://schemas.microsoft.com/office/drawing/2014/chart" uri="{C3380CC4-5D6E-409C-BE32-E72D297353CC}">
                <c16:uniqueId val="{00000020-A0D8-4FF8-BF2D-A6DC7B178F5A}"/>
              </c:ext>
            </c:extLst>
          </c:dPt>
          <c:dPt>
            <c:idx val="28"/>
            <c:invertIfNegative val="1"/>
            <c:bubble3D val="0"/>
            <c:spPr>
              <a:solidFill>
                <a:srgbClr val="E6E5E5"/>
              </a:solidFill>
            </c:spPr>
            <c:extLst>
              <c:ext xmlns:c16="http://schemas.microsoft.com/office/drawing/2014/chart" uri="{C3380CC4-5D6E-409C-BE32-E72D297353CC}">
                <c16:uniqueId val="{00000021-A0D8-4FF8-BF2D-A6DC7B178F5A}"/>
              </c:ext>
            </c:extLst>
          </c:dPt>
          <c:dPt>
            <c:idx val="29"/>
            <c:invertIfNegative val="1"/>
            <c:bubble3D val="0"/>
            <c:spPr>
              <a:solidFill>
                <a:srgbClr val="E6E5E5"/>
              </a:solidFill>
            </c:spPr>
            <c:extLst>
              <c:ext xmlns:c16="http://schemas.microsoft.com/office/drawing/2014/chart" uri="{C3380CC4-5D6E-409C-BE32-E72D297353CC}">
                <c16:uniqueId val="{00000022-A0D8-4FF8-BF2D-A6DC7B178F5A}"/>
              </c:ext>
            </c:extLst>
          </c:dPt>
          <c:dPt>
            <c:idx val="30"/>
            <c:invertIfNegative val="1"/>
            <c:bubble3D val="0"/>
            <c:spPr>
              <a:solidFill>
                <a:srgbClr val="E6E5E5"/>
              </a:solidFill>
            </c:spPr>
            <c:extLst>
              <c:ext xmlns:c16="http://schemas.microsoft.com/office/drawing/2014/chart" uri="{C3380CC4-5D6E-409C-BE32-E72D297353CC}">
                <c16:uniqueId val="{00000023-A0D8-4FF8-BF2D-A6DC7B178F5A}"/>
              </c:ext>
            </c:extLst>
          </c:dPt>
          <c:dPt>
            <c:idx val="31"/>
            <c:invertIfNegative val="1"/>
            <c:bubble3D val="0"/>
            <c:spPr>
              <a:solidFill>
                <a:srgbClr val="E6E5E5"/>
              </a:solidFill>
            </c:spPr>
            <c:extLst>
              <c:ext xmlns:c16="http://schemas.microsoft.com/office/drawing/2014/chart" uri="{C3380CC4-5D6E-409C-BE32-E72D297353CC}">
                <c16:uniqueId val="{00000024-A0D8-4FF8-BF2D-A6DC7B178F5A}"/>
              </c:ext>
            </c:extLst>
          </c:dPt>
          <c:dPt>
            <c:idx val="32"/>
            <c:invertIfNegative val="1"/>
            <c:bubble3D val="0"/>
            <c:spPr>
              <a:solidFill>
                <a:srgbClr val="E6E5E5"/>
              </a:solidFill>
            </c:spPr>
            <c:extLst>
              <c:ext xmlns:c16="http://schemas.microsoft.com/office/drawing/2014/chart" uri="{C3380CC4-5D6E-409C-BE32-E72D297353CC}">
                <c16:uniqueId val="{00000025-A0D8-4FF8-BF2D-A6DC7B178F5A}"/>
              </c:ext>
            </c:extLst>
          </c:dPt>
          <c:dPt>
            <c:idx val="33"/>
            <c:invertIfNegative val="1"/>
            <c:bubble3D val="0"/>
            <c:spPr>
              <a:solidFill>
                <a:srgbClr val="E6E5E5"/>
              </a:solidFill>
            </c:spPr>
            <c:extLst>
              <c:ext xmlns:c16="http://schemas.microsoft.com/office/drawing/2014/chart" uri="{C3380CC4-5D6E-409C-BE32-E72D297353CC}">
                <c16:uniqueId val="{00000026-A0D8-4FF8-BF2D-A6DC7B178F5A}"/>
              </c:ext>
            </c:extLst>
          </c:dPt>
          <c:dPt>
            <c:idx val="34"/>
            <c:invertIfNegative val="1"/>
            <c:bubble3D val="0"/>
            <c:spPr>
              <a:solidFill>
                <a:srgbClr val="E6E5E5"/>
              </a:solidFill>
            </c:spPr>
            <c:extLst>
              <c:ext xmlns:c16="http://schemas.microsoft.com/office/drawing/2014/chart" uri="{C3380CC4-5D6E-409C-BE32-E72D297353CC}">
                <c16:uniqueId val="{00000027-A0D8-4FF8-BF2D-A6DC7B178F5A}"/>
              </c:ext>
            </c:extLst>
          </c:dPt>
          <c:dPt>
            <c:idx val="35"/>
            <c:invertIfNegative val="1"/>
            <c:bubble3D val="0"/>
            <c:spPr>
              <a:solidFill>
                <a:srgbClr val="E6E5E5"/>
              </a:solidFill>
            </c:spPr>
            <c:extLst>
              <c:ext xmlns:c16="http://schemas.microsoft.com/office/drawing/2014/chart" uri="{C3380CC4-5D6E-409C-BE32-E72D297353CC}">
                <c16:uniqueId val="{00000028-A0D8-4FF8-BF2D-A6DC7B178F5A}"/>
              </c:ext>
            </c:extLst>
          </c:dPt>
          <c:dPt>
            <c:idx val="36"/>
            <c:invertIfNegative val="1"/>
            <c:bubble3D val="0"/>
            <c:spPr>
              <a:solidFill>
                <a:srgbClr val="E6E5E5"/>
              </a:solidFill>
            </c:spPr>
            <c:extLst>
              <c:ext xmlns:c16="http://schemas.microsoft.com/office/drawing/2014/chart" uri="{C3380CC4-5D6E-409C-BE32-E72D297353CC}">
                <c16:uniqueId val="{00000029-A0D8-4FF8-BF2D-A6DC7B178F5A}"/>
              </c:ext>
            </c:extLst>
          </c:dPt>
          <c:dPt>
            <c:idx val="37"/>
            <c:invertIfNegative val="1"/>
            <c:bubble3D val="0"/>
            <c:spPr>
              <a:solidFill>
                <a:srgbClr val="E6E5E5"/>
              </a:solidFill>
            </c:spPr>
            <c:extLst>
              <c:ext xmlns:c16="http://schemas.microsoft.com/office/drawing/2014/chart" uri="{C3380CC4-5D6E-409C-BE32-E72D297353CC}">
                <c16:uniqueId val="{0000002A-A0D8-4FF8-BF2D-A6DC7B178F5A}"/>
              </c:ext>
            </c:extLst>
          </c:dPt>
          <c:dPt>
            <c:idx val="38"/>
            <c:invertIfNegative val="1"/>
            <c:bubble3D val="0"/>
            <c:spPr>
              <a:solidFill>
                <a:srgbClr val="E6E5E5"/>
              </a:solidFill>
            </c:spPr>
            <c:extLst>
              <c:ext xmlns:c16="http://schemas.microsoft.com/office/drawing/2014/chart" uri="{C3380CC4-5D6E-409C-BE32-E72D297353CC}">
                <c16:uniqueId val="{0000002B-A0D8-4FF8-BF2D-A6DC7B178F5A}"/>
              </c:ext>
            </c:extLst>
          </c:dPt>
          <c:dPt>
            <c:idx val="39"/>
            <c:invertIfNegative val="1"/>
            <c:bubble3D val="0"/>
            <c:spPr>
              <a:solidFill>
                <a:srgbClr val="E6E5E5"/>
              </a:solidFill>
            </c:spPr>
            <c:extLst>
              <c:ext xmlns:c16="http://schemas.microsoft.com/office/drawing/2014/chart" uri="{C3380CC4-5D6E-409C-BE32-E72D297353CC}">
                <c16:uniqueId val="{0000002C-A0D8-4FF8-BF2D-A6DC7B178F5A}"/>
              </c:ext>
            </c:extLst>
          </c:dPt>
          <c:dPt>
            <c:idx val="40"/>
            <c:invertIfNegative val="1"/>
            <c:bubble3D val="0"/>
            <c:spPr>
              <a:solidFill>
                <a:srgbClr val="E6E5E5"/>
              </a:solidFill>
            </c:spPr>
            <c:extLst>
              <c:ext xmlns:c16="http://schemas.microsoft.com/office/drawing/2014/chart" uri="{C3380CC4-5D6E-409C-BE32-E72D297353CC}">
                <c16:uniqueId val="{0000002D-A0D8-4FF8-BF2D-A6DC7B178F5A}"/>
              </c:ext>
            </c:extLst>
          </c:dPt>
          <c:dPt>
            <c:idx val="41"/>
            <c:invertIfNegative val="1"/>
            <c:bubble3D val="0"/>
            <c:spPr>
              <a:solidFill>
                <a:srgbClr val="E6E5E5"/>
              </a:solidFill>
            </c:spPr>
            <c:extLst>
              <c:ext xmlns:c16="http://schemas.microsoft.com/office/drawing/2014/chart" uri="{C3380CC4-5D6E-409C-BE32-E72D297353CC}">
                <c16:uniqueId val="{0000002E-A0D8-4FF8-BF2D-A6DC7B178F5A}"/>
              </c:ext>
            </c:extLst>
          </c:dPt>
          <c:dPt>
            <c:idx val="42"/>
            <c:invertIfNegative val="1"/>
            <c:bubble3D val="0"/>
            <c:spPr>
              <a:solidFill>
                <a:srgbClr val="E6E5E5"/>
              </a:solidFill>
            </c:spPr>
            <c:extLst>
              <c:ext xmlns:c16="http://schemas.microsoft.com/office/drawing/2014/chart" uri="{C3380CC4-5D6E-409C-BE32-E72D297353CC}">
                <c16:uniqueId val="{00000007-A0D8-4FF8-BF2D-A6DC7B178F5A}"/>
              </c:ext>
            </c:extLst>
          </c:dPt>
          <c:dPt>
            <c:idx val="43"/>
            <c:invertIfNegative val="1"/>
            <c:bubble3D val="0"/>
            <c:spPr>
              <a:solidFill>
                <a:srgbClr val="E6E5E5"/>
              </a:solidFill>
            </c:spPr>
            <c:extLst>
              <c:ext xmlns:c16="http://schemas.microsoft.com/office/drawing/2014/chart" uri="{C3380CC4-5D6E-409C-BE32-E72D297353CC}">
                <c16:uniqueId val="{0000002F-A0D8-4FF8-BF2D-A6DC7B178F5A}"/>
              </c:ext>
            </c:extLst>
          </c:dPt>
          <c:dPt>
            <c:idx val="44"/>
            <c:invertIfNegative val="1"/>
            <c:bubble3D val="0"/>
            <c:spPr>
              <a:solidFill>
                <a:srgbClr val="E6E5E5"/>
              </a:solidFill>
            </c:spPr>
            <c:extLst>
              <c:ext xmlns:c16="http://schemas.microsoft.com/office/drawing/2014/chart" uri="{C3380CC4-5D6E-409C-BE32-E72D297353CC}">
                <c16:uniqueId val="{00000030-A0D8-4FF8-BF2D-A6DC7B178F5A}"/>
              </c:ext>
            </c:extLst>
          </c:dPt>
          <c:dPt>
            <c:idx val="45"/>
            <c:invertIfNegative val="1"/>
            <c:bubble3D val="0"/>
            <c:spPr>
              <a:solidFill>
                <a:srgbClr val="E6E5E5"/>
              </a:solidFill>
            </c:spPr>
            <c:extLst>
              <c:ext xmlns:c16="http://schemas.microsoft.com/office/drawing/2014/chart" uri="{C3380CC4-5D6E-409C-BE32-E72D297353CC}">
                <c16:uniqueId val="{00000031-A0D8-4FF8-BF2D-A6DC7B178F5A}"/>
              </c:ext>
            </c:extLst>
          </c:dPt>
          <c:dPt>
            <c:idx val="46"/>
            <c:invertIfNegative val="0"/>
            <c:bubble3D val="0"/>
            <c:spPr>
              <a:solidFill>
                <a:srgbClr val="E6E5E5"/>
              </a:solidFill>
              <a:ln>
                <a:noFill/>
              </a:ln>
              <a:effectLst/>
            </c:spPr>
            <c:extLst>
              <c:ext xmlns:c16="http://schemas.microsoft.com/office/drawing/2014/chart" uri="{C3380CC4-5D6E-409C-BE32-E72D297353CC}">
                <c16:uniqueId val="{00000032-A0D8-4FF8-BF2D-A6DC7B178F5A}"/>
              </c:ext>
            </c:extLst>
          </c:dPt>
          <c:dPt>
            <c:idx val="47"/>
            <c:invertIfNegative val="1"/>
            <c:bubble3D val="0"/>
            <c:spPr>
              <a:solidFill>
                <a:srgbClr val="E6E5E5"/>
              </a:solidFill>
            </c:spPr>
            <c:extLst>
              <c:ext xmlns:c16="http://schemas.microsoft.com/office/drawing/2014/chart" uri="{C3380CC4-5D6E-409C-BE32-E72D297353CC}">
                <c16:uniqueId val="{00000033-A0D8-4FF8-BF2D-A6DC7B178F5A}"/>
              </c:ext>
            </c:extLst>
          </c:dPt>
          <c:dPt>
            <c:idx val="48"/>
            <c:invertIfNegative val="0"/>
            <c:bubble3D val="0"/>
            <c:spPr>
              <a:solidFill>
                <a:srgbClr val="E6E5E5"/>
              </a:solidFill>
              <a:ln>
                <a:noFill/>
              </a:ln>
              <a:effectLst/>
            </c:spPr>
            <c:extLst>
              <c:ext xmlns:c16="http://schemas.microsoft.com/office/drawing/2014/chart" uri="{C3380CC4-5D6E-409C-BE32-E72D297353CC}">
                <c16:uniqueId val="{00000034-A0D8-4FF8-BF2D-A6DC7B178F5A}"/>
              </c:ext>
            </c:extLst>
          </c:dPt>
          <c:dPt>
            <c:idx val="49"/>
            <c:invertIfNegative val="1"/>
            <c:bubble3D val="0"/>
            <c:spPr>
              <a:solidFill>
                <a:srgbClr val="E6E5E5"/>
              </a:solidFill>
            </c:spPr>
            <c:extLst>
              <c:ext xmlns:c16="http://schemas.microsoft.com/office/drawing/2014/chart" uri="{C3380CC4-5D6E-409C-BE32-E72D297353CC}">
                <c16:uniqueId val="{00000035-A0D8-4FF8-BF2D-A6DC7B178F5A}"/>
              </c:ext>
            </c:extLst>
          </c:dPt>
          <c:dPt>
            <c:idx val="50"/>
            <c:invertIfNegative val="1"/>
            <c:bubble3D val="0"/>
            <c:spPr>
              <a:solidFill>
                <a:srgbClr val="E6E5E5"/>
              </a:solidFill>
            </c:spPr>
            <c:extLst>
              <c:ext xmlns:c16="http://schemas.microsoft.com/office/drawing/2014/chart" uri="{C3380CC4-5D6E-409C-BE32-E72D297353CC}">
                <c16:uniqueId val="{00000036-A0D8-4FF8-BF2D-A6DC7B178F5A}"/>
              </c:ext>
            </c:extLst>
          </c:dPt>
          <c:dPt>
            <c:idx val="51"/>
            <c:invertIfNegative val="1"/>
            <c:bubble3D val="0"/>
            <c:spPr>
              <a:solidFill>
                <a:srgbClr val="E6E5E5"/>
              </a:solidFill>
            </c:spPr>
            <c:extLst>
              <c:ext xmlns:c16="http://schemas.microsoft.com/office/drawing/2014/chart" uri="{C3380CC4-5D6E-409C-BE32-E72D297353CC}">
                <c16:uniqueId val="{00000037-A0D8-4FF8-BF2D-A6DC7B178F5A}"/>
              </c:ext>
            </c:extLst>
          </c:dPt>
          <c:dPt>
            <c:idx val="52"/>
            <c:invertIfNegative val="0"/>
            <c:bubble3D val="0"/>
            <c:spPr>
              <a:solidFill>
                <a:srgbClr val="E6E5E5"/>
              </a:solidFill>
              <a:ln>
                <a:noFill/>
              </a:ln>
              <a:effectLst/>
            </c:spPr>
            <c:extLst>
              <c:ext xmlns:c16="http://schemas.microsoft.com/office/drawing/2014/chart" uri="{C3380CC4-5D6E-409C-BE32-E72D297353CC}">
                <c16:uniqueId val="{00000038-A0D8-4FF8-BF2D-A6DC7B178F5A}"/>
              </c:ext>
            </c:extLst>
          </c:dPt>
          <c:dPt>
            <c:idx val="53"/>
            <c:invertIfNegative val="1"/>
            <c:bubble3D val="0"/>
            <c:spPr>
              <a:solidFill>
                <a:srgbClr val="E6E5E5"/>
              </a:solidFill>
            </c:spPr>
            <c:extLst>
              <c:ext xmlns:c16="http://schemas.microsoft.com/office/drawing/2014/chart" uri="{C3380CC4-5D6E-409C-BE32-E72D297353CC}">
                <c16:uniqueId val="{0000006B-B572-4DF2-A18B-EB5D630E70B4}"/>
              </c:ext>
            </c:extLst>
          </c:dPt>
          <c:dPt>
            <c:idx val="54"/>
            <c:invertIfNegative val="1"/>
            <c:bubble3D val="0"/>
            <c:spPr>
              <a:solidFill>
                <a:srgbClr val="E6E5E5"/>
              </a:solidFill>
            </c:spPr>
            <c:extLst>
              <c:ext xmlns:c16="http://schemas.microsoft.com/office/drawing/2014/chart" uri="{C3380CC4-5D6E-409C-BE32-E72D297353CC}">
                <c16:uniqueId val="{0000006D-B572-4DF2-A18B-EB5D630E70B4}"/>
              </c:ext>
            </c:extLst>
          </c:dPt>
          <c:dPt>
            <c:idx val="55"/>
            <c:invertIfNegative val="1"/>
            <c:bubble3D val="0"/>
            <c:spPr>
              <a:solidFill>
                <a:srgbClr val="E6E5E5"/>
              </a:solidFill>
            </c:spPr>
            <c:extLst>
              <c:ext xmlns:c16="http://schemas.microsoft.com/office/drawing/2014/chart" uri="{C3380CC4-5D6E-409C-BE32-E72D297353CC}">
                <c16:uniqueId val="{0000006F-B572-4DF2-A18B-EB5D630E70B4}"/>
              </c:ext>
            </c:extLst>
          </c:dPt>
          <c:dPt>
            <c:idx val="56"/>
            <c:invertIfNegative val="1"/>
            <c:bubble3D val="0"/>
            <c:spPr>
              <a:solidFill>
                <a:srgbClr val="E6E5E5"/>
              </a:solidFill>
            </c:spPr>
            <c:extLst>
              <c:ext xmlns:c16="http://schemas.microsoft.com/office/drawing/2014/chart" uri="{C3380CC4-5D6E-409C-BE32-E72D297353CC}">
                <c16:uniqueId val="{00000071-B572-4DF2-A18B-EB5D630E70B4}"/>
              </c:ext>
            </c:extLst>
          </c:dPt>
          <c:dPt>
            <c:idx val="57"/>
            <c:invertIfNegative val="1"/>
            <c:bubble3D val="0"/>
            <c:spPr>
              <a:solidFill>
                <a:srgbClr val="E6E5E5"/>
              </a:solidFill>
            </c:spPr>
            <c:extLst>
              <c:ext xmlns:c16="http://schemas.microsoft.com/office/drawing/2014/chart" uri="{C3380CC4-5D6E-409C-BE32-E72D297353CC}">
                <c16:uniqueId val="{00000073-B572-4DF2-A18B-EB5D630E70B4}"/>
              </c:ext>
            </c:extLst>
          </c:dPt>
          <c:dPt>
            <c:idx val="58"/>
            <c:invertIfNegative val="1"/>
            <c:bubble3D val="0"/>
            <c:spPr>
              <a:solidFill>
                <a:srgbClr val="E6E5E5"/>
              </a:solidFill>
            </c:spPr>
            <c:extLst>
              <c:ext xmlns:c16="http://schemas.microsoft.com/office/drawing/2014/chart" uri="{C3380CC4-5D6E-409C-BE32-E72D297353CC}">
                <c16:uniqueId val="{00000075-B572-4DF2-A18B-EB5D630E70B4}"/>
              </c:ext>
            </c:extLst>
          </c:dPt>
          <c:dPt>
            <c:idx val="59"/>
            <c:invertIfNegative val="1"/>
            <c:bubble3D val="0"/>
            <c:spPr>
              <a:solidFill>
                <a:srgbClr val="E6E5E5"/>
              </a:solidFill>
            </c:spPr>
            <c:extLst>
              <c:ext xmlns:c16="http://schemas.microsoft.com/office/drawing/2014/chart" uri="{C3380CC4-5D6E-409C-BE32-E72D297353CC}">
                <c16:uniqueId val="{00000077-B572-4DF2-A18B-EB5D630E70B4}"/>
              </c:ext>
            </c:extLst>
          </c:dPt>
          <c:dPt>
            <c:idx val="60"/>
            <c:invertIfNegative val="1"/>
            <c:bubble3D val="0"/>
            <c:spPr>
              <a:solidFill>
                <a:srgbClr val="E6E5E5"/>
              </a:solidFill>
            </c:spPr>
            <c:extLst>
              <c:ext xmlns:c16="http://schemas.microsoft.com/office/drawing/2014/chart" uri="{C3380CC4-5D6E-409C-BE32-E72D297353CC}">
                <c16:uniqueId val="{00000079-B572-4DF2-A18B-EB5D630E70B4}"/>
              </c:ext>
            </c:extLst>
          </c:dPt>
          <c:dPt>
            <c:idx val="61"/>
            <c:invertIfNegative val="1"/>
            <c:bubble3D val="0"/>
            <c:spPr>
              <a:solidFill>
                <a:srgbClr val="E6E5E5"/>
              </a:solidFill>
            </c:spPr>
            <c:extLst>
              <c:ext xmlns:c16="http://schemas.microsoft.com/office/drawing/2014/chart" uri="{C3380CC4-5D6E-409C-BE32-E72D297353CC}">
                <c16:uniqueId val="{0000007B-B572-4DF2-A18B-EB5D630E70B4}"/>
              </c:ext>
            </c:extLst>
          </c:dPt>
          <c:dPt>
            <c:idx val="62"/>
            <c:invertIfNegative val="1"/>
            <c:bubble3D val="0"/>
            <c:spPr>
              <a:solidFill>
                <a:srgbClr val="E6E5E5"/>
              </a:solidFill>
            </c:spPr>
            <c:extLst>
              <c:ext xmlns:c16="http://schemas.microsoft.com/office/drawing/2014/chart" uri="{C3380CC4-5D6E-409C-BE32-E72D297353CC}">
                <c16:uniqueId val="{0000007D-B572-4DF2-A18B-EB5D630E70B4}"/>
              </c:ext>
            </c:extLst>
          </c:dPt>
          <c:dPt>
            <c:idx val="63"/>
            <c:invertIfNegative val="1"/>
            <c:bubble3D val="0"/>
            <c:spPr>
              <a:solidFill>
                <a:srgbClr val="E6E5E5"/>
              </a:solidFill>
            </c:spPr>
            <c:extLst>
              <c:ext xmlns:c16="http://schemas.microsoft.com/office/drawing/2014/chart" uri="{C3380CC4-5D6E-409C-BE32-E72D297353CC}">
                <c16:uniqueId val="{0000007F-B572-4DF2-A18B-EB5D630E70B4}"/>
              </c:ext>
            </c:extLst>
          </c:dPt>
          <c:dPt>
            <c:idx val="64"/>
            <c:invertIfNegative val="1"/>
            <c:bubble3D val="0"/>
            <c:spPr>
              <a:solidFill>
                <a:srgbClr val="E6E5E5"/>
              </a:solidFill>
            </c:spPr>
            <c:extLst>
              <c:ext xmlns:c16="http://schemas.microsoft.com/office/drawing/2014/chart" uri="{C3380CC4-5D6E-409C-BE32-E72D297353CC}">
                <c16:uniqueId val="{00000081-B572-4DF2-A18B-EB5D630E70B4}"/>
              </c:ext>
            </c:extLst>
          </c:dPt>
          <c:dPt>
            <c:idx val="65"/>
            <c:invertIfNegative val="1"/>
            <c:bubble3D val="0"/>
            <c:spPr>
              <a:solidFill>
                <a:srgbClr val="E6E5E5"/>
              </a:solidFill>
            </c:spPr>
            <c:extLst>
              <c:ext xmlns:c16="http://schemas.microsoft.com/office/drawing/2014/chart" uri="{C3380CC4-5D6E-409C-BE32-E72D297353CC}">
                <c16:uniqueId val="{00000083-B572-4DF2-A18B-EB5D630E70B4}"/>
              </c:ext>
            </c:extLst>
          </c:dPt>
          <c:dPt>
            <c:idx val="66"/>
            <c:invertIfNegative val="1"/>
            <c:bubble3D val="0"/>
            <c:spPr>
              <a:solidFill>
                <a:srgbClr val="E6E5E5"/>
              </a:solidFill>
            </c:spPr>
            <c:extLst>
              <c:ext xmlns:c16="http://schemas.microsoft.com/office/drawing/2014/chart" uri="{C3380CC4-5D6E-409C-BE32-E72D297353CC}">
                <c16:uniqueId val="{00000085-B572-4DF2-A18B-EB5D630E70B4}"/>
              </c:ext>
            </c:extLst>
          </c:dPt>
          <c:dPt>
            <c:idx val="67"/>
            <c:invertIfNegative val="1"/>
            <c:bubble3D val="0"/>
            <c:spPr>
              <a:solidFill>
                <a:srgbClr val="E6E5E5"/>
              </a:solidFill>
            </c:spPr>
            <c:extLst>
              <c:ext xmlns:c16="http://schemas.microsoft.com/office/drawing/2014/chart" uri="{C3380CC4-5D6E-409C-BE32-E72D297353CC}">
                <c16:uniqueId val="{00000087-B572-4DF2-A18B-EB5D630E70B4}"/>
              </c:ext>
            </c:extLst>
          </c:dPt>
          <c:dPt>
            <c:idx val="68"/>
            <c:invertIfNegative val="1"/>
            <c:bubble3D val="0"/>
            <c:spPr>
              <a:solidFill>
                <a:srgbClr val="E6E5E5"/>
              </a:solidFill>
            </c:spPr>
            <c:extLst>
              <c:ext xmlns:c16="http://schemas.microsoft.com/office/drawing/2014/chart" uri="{C3380CC4-5D6E-409C-BE32-E72D297353CC}">
                <c16:uniqueId val="{00000089-B572-4DF2-A18B-EB5D630E70B4}"/>
              </c:ext>
            </c:extLst>
          </c:dPt>
          <c:dPt>
            <c:idx val="69"/>
            <c:invertIfNegative val="1"/>
            <c:bubble3D val="0"/>
            <c:spPr>
              <a:solidFill>
                <a:srgbClr val="E6E5E5"/>
              </a:solidFill>
            </c:spPr>
            <c:extLst>
              <c:ext xmlns:c16="http://schemas.microsoft.com/office/drawing/2014/chart" uri="{C3380CC4-5D6E-409C-BE32-E72D297353CC}">
                <c16:uniqueId val="{0000008B-B572-4DF2-A18B-EB5D630E70B4}"/>
              </c:ext>
            </c:extLst>
          </c:dPt>
          <c:dPt>
            <c:idx val="70"/>
            <c:invertIfNegative val="1"/>
            <c:bubble3D val="0"/>
            <c:spPr>
              <a:solidFill>
                <a:srgbClr val="E6E5E5"/>
              </a:solidFill>
            </c:spPr>
            <c:extLst>
              <c:ext xmlns:c16="http://schemas.microsoft.com/office/drawing/2014/chart" uri="{C3380CC4-5D6E-409C-BE32-E72D297353CC}">
                <c16:uniqueId val="{0000008D-B572-4DF2-A18B-EB5D630E70B4}"/>
              </c:ext>
            </c:extLst>
          </c:dPt>
          <c:dPt>
            <c:idx val="71"/>
            <c:invertIfNegative val="1"/>
            <c:bubble3D val="0"/>
            <c:spPr>
              <a:solidFill>
                <a:srgbClr val="E6E5E5"/>
              </a:solidFill>
            </c:spPr>
            <c:extLst>
              <c:ext xmlns:c16="http://schemas.microsoft.com/office/drawing/2014/chart" uri="{C3380CC4-5D6E-409C-BE32-E72D297353CC}">
                <c16:uniqueId val="{0000008F-B572-4DF2-A18B-EB5D630E70B4}"/>
              </c:ext>
            </c:extLst>
          </c:dPt>
          <c:dPt>
            <c:idx val="72"/>
            <c:invertIfNegative val="1"/>
            <c:bubble3D val="0"/>
            <c:spPr>
              <a:solidFill>
                <a:srgbClr val="E6E5E5"/>
              </a:solidFill>
            </c:spPr>
            <c:extLst>
              <c:ext xmlns:c16="http://schemas.microsoft.com/office/drawing/2014/chart" uri="{C3380CC4-5D6E-409C-BE32-E72D297353CC}">
                <c16:uniqueId val="{00000091-B572-4DF2-A18B-EB5D630E70B4}"/>
              </c:ext>
            </c:extLst>
          </c:dPt>
          <c:dPt>
            <c:idx val="73"/>
            <c:invertIfNegative val="1"/>
            <c:bubble3D val="0"/>
            <c:spPr>
              <a:solidFill>
                <a:srgbClr val="E6E5E5"/>
              </a:solidFill>
            </c:spPr>
            <c:extLst>
              <c:ext xmlns:c16="http://schemas.microsoft.com/office/drawing/2014/chart" uri="{C3380CC4-5D6E-409C-BE32-E72D297353CC}">
                <c16:uniqueId val="{00000093-B572-4DF2-A18B-EB5D630E70B4}"/>
              </c:ext>
            </c:extLst>
          </c:dPt>
          <c:dPt>
            <c:idx val="74"/>
            <c:invertIfNegative val="1"/>
            <c:bubble3D val="0"/>
            <c:spPr>
              <a:solidFill>
                <a:srgbClr val="E6E5E5"/>
              </a:solidFill>
            </c:spPr>
            <c:extLst>
              <c:ext xmlns:c16="http://schemas.microsoft.com/office/drawing/2014/chart" uri="{C3380CC4-5D6E-409C-BE32-E72D297353CC}">
                <c16:uniqueId val="{00000095-B572-4DF2-A18B-EB5D630E70B4}"/>
              </c:ext>
            </c:extLst>
          </c:dPt>
          <c:dPt>
            <c:idx val="75"/>
            <c:invertIfNegative val="1"/>
            <c:bubble3D val="0"/>
            <c:spPr>
              <a:solidFill>
                <a:srgbClr val="E6E5E5"/>
              </a:solidFill>
            </c:spPr>
            <c:extLst>
              <c:ext xmlns:c16="http://schemas.microsoft.com/office/drawing/2014/chart" uri="{C3380CC4-5D6E-409C-BE32-E72D297353CC}">
                <c16:uniqueId val="{00000097-B572-4DF2-A18B-EB5D630E70B4}"/>
              </c:ext>
            </c:extLst>
          </c:dPt>
          <c:dPt>
            <c:idx val="76"/>
            <c:invertIfNegative val="1"/>
            <c:bubble3D val="0"/>
            <c:spPr>
              <a:solidFill>
                <a:srgbClr val="E6E5E5"/>
              </a:solidFill>
            </c:spPr>
            <c:extLst>
              <c:ext xmlns:c16="http://schemas.microsoft.com/office/drawing/2014/chart" uri="{C3380CC4-5D6E-409C-BE32-E72D297353CC}">
                <c16:uniqueId val="{00000099-B572-4DF2-A18B-EB5D630E70B4}"/>
              </c:ext>
            </c:extLst>
          </c:dPt>
          <c:dPt>
            <c:idx val="77"/>
            <c:invertIfNegative val="1"/>
            <c:bubble3D val="0"/>
            <c:spPr>
              <a:solidFill>
                <a:srgbClr val="E6E5E5"/>
              </a:solidFill>
            </c:spPr>
            <c:extLst>
              <c:ext xmlns:c16="http://schemas.microsoft.com/office/drawing/2014/chart" uri="{C3380CC4-5D6E-409C-BE32-E72D297353CC}">
                <c16:uniqueId val="{0000009B-B572-4DF2-A18B-EB5D630E70B4}"/>
              </c:ext>
            </c:extLst>
          </c:dPt>
          <c:dPt>
            <c:idx val="78"/>
            <c:invertIfNegative val="1"/>
            <c:bubble3D val="0"/>
            <c:spPr>
              <a:solidFill>
                <a:srgbClr val="E6E5E5"/>
              </a:solidFill>
            </c:spPr>
            <c:extLst>
              <c:ext xmlns:c16="http://schemas.microsoft.com/office/drawing/2014/chart" uri="{C3380CC4-5D6E-409C-BE32-E72D297353CC}">
                <c16:uniqueId val="{0000009D-B572-4DF2-A18B-EB5D630E70B4}"/>
              </c:ext>
            </c:extLst>
          </c:dPt>
          <c:dPt>
            <c:idx val="79"/>
            <c:invertIfNegative val="1"/>
            <c:bubble3D val="0"/>
            <c:spPr>
              <a:solidFill>
                <a:srgbClr val="E6E5E5"/>
              </a:solidFill>
            </c:spPr>
            <c:extLst>
              <c:ext xmlns:c16="http://schemas.microsoft.com/office/drawing/2014/chart" uri="{C3380CC4-5D6E-409C-BE32-E72D297353CC}">
                <c16:uniqueId val="{0000009F-B572-4DF2-A18B-EB5D630E70B4}"/>
              </c:ext>
            </c:extLst>
          </c:dPt>
          <c:dPt>
            <c:idx val="80"/>
            <c:invertIfNegative val="1"/>
            <c:bubble3D val="0"/>
            <c:spPr>
              <a:solidFill>
                <a:srgbClr val="E6E5E5"/>
              </a:solidFill>
            </c:spPr>
            <c:extLst>
              <c:ext xmlns:c16="http://schemas.microsoft.com/office/drawing/2014/chart" uri="{C3380CC4-5D6E-409C-BE32-E72D297353CC}">
                <c16:uniqueId val="{000000A1-B572-4DF2-A18B-EB5D630E70B4}"/>
              </c:ext>
            </c:extLst>
          </c:dPt>
          <c:dPt>
            <c:idx val="81"/>
            <c:invertIfNegative val="1"/>
            <c:bubble3D val="0"/>
            <c:spPr>
              <a:solidFill>
                <a:srgbClr val="E6E5E5"/>
              </a:solidFill>
            </c:spPr>
            <c:extLst>
              <c:ext xmlns:c16="http://schemas.microsoft.com/office/drawing/2014/chart" uri="{C3380CC4-5D6E-409C-BE32-E72D297353CC}">
                <c16:uniqueId val="{000000A3-B572-4DF2-A18B-EB5D630E70B4}"/>
              </c:ext>
            </c:extLst>
          </c:dPt>
          <c:dPt>
            <c:idx val="82"/>
            <c:invertIfNegative val="1"/>
            <c:bubble3D val="0"/>
            <c:spPr>
              <a:solidFill>
                <a:srgbClr val="E6E5E5"/>
              </a:solidFill>
            </c:spPr>
            <c:extLst>
              <c:ext xmlns:c16="http://schemas.microsoft.com/office/drawing/2014/chart" uri="{C3380CC4-5D6E-409C-BE32-E72D297353CC}">
                <c16:uniqueId val="{000000A5-B572-4DF2-A18B-EB5D630E70B4}"/>
              </c:ext>
            </c:extLst>
          </c:dPt>
          <c:dPt>
            <c:idx val="83"/>
            <c:invertIfNegative val="1"/>
            <c:bubble3D val="0"/>
            <c:spPr>
              <a:solidFill>
                <a:srgbClr val="E6E5E5"/>
              </a:solidFill>
            </c:spPr>
            <c:extLst>
              <c:ext xmlns:c16="http://schemas.microsoft.com/office/drawing/2014/chart" uri="{C3380CC4-5D6E-409C-BE32-E72D297353CC}">
                <c16:uniqueId val="{000000A7-B572-4DF2-A18B-EB5D630E70B4}"/>
              </c:ext>
            </c:extLst>
          </c:dPt>
          <c:dPt>
            <c:idx val="84"/>
            <c:invertIfNegative val="1"/>
            <c:bubble3D val="0"/>
            <c:spPr>
              <a:solidFill>
                <a:srgbClr val="E6E5E5"/>
              </a:solidFill>
            </c:spPr>
            <c:extLst>
              <c:ext xmlns:c16="http://schemas.microsoft.com/office/drawing/2014/chart" uri="{C3380CC4-5D6E-409C-BE32-E72D297353CC}">
                <c16:uniqueId val="{000000A9-B572-4DF2-A18B-EB5D630E70B4}"/>
              </c:ext>
            </c:extLst>
          </c:dPt>
          <c:dPt>
            <c:idx val="85"/>
            <c:invertIfNegative val="1"/>
            <c:bubble3D val="0"/>
            <c:spPr>
              <a:solidFill>
                <a:srgbClr val="E6E5E5"/>
              </a:solidFill>
            </c:spPr>
            <c:extLst>
              <c:ext xmlns:c16="http://schemas.microsoft.com/office/drawing/2014/chart" uri="{C3380CC4-5D6E-409C-BE32-E72D297353CC}">
                <c16:uniqueId val="{000000AB-B572-4DF2-A18B-EB5D630E70B4}"/>
              </c:ext>
            </c:extLst>
          </c:dPt>
          <c:dPt>
            <c:idx val="86"/>
            <c:invertIfNegative val="1"/>
            <c:bubble3D val="0"/>
            <c:spPr>
              <a:solidFill>
                <a:srgbClr val="E6E5E5"/>
              </a:solidFill>
            </c:spPr>
            <c:extLst>
              <c:ext xmlns:c16="http://schemas.microsoft.com/office/drawing/2014/chart" uri="{C3380CC4-5D6E-409C-BE32-E72D297353CC}">
                <c16:uniqueId val="{000000AD-B572-4DF2-A18B-EB5D630E70B4}"/>
              </c:ext>
            </c:extLst>
          </c:dPt>
          <c:dPt>
            <c:idx val="87"/>
            <c:invertIfNegative val="1"/>
            <c:bubble3D val="0"/>
            <c:spPr>
              <a:solidFill>
                <a:srgbClr val="E6E5E5"/>
              </a:solidFill>
            </c:spPr>
            <c:extLst>
              <c:ext xmlns:c16="http://schemas.microsoft.com/office/drawing/2014/chart" uri="{C3380CC4-5D6E-409C-BE32-E72D297353CC}">
                <c16:uniqueId val="{000000AF-B572-4DF2-A18B-EB5D630E70B4}"/>
              </c:ext>
            </c:extLst>
          </c:dPt>
          <c:dPt>
            <c:idx val="88"/>
            <c:invertIfNegative val="1"/>
            <c:bubble3D val="0"/>
            <c:spPr>
              <a:solidFill>
                <a:srgbClr val="E6E5E5"/>
              </a:solidFill>
            </c:spPr>
            <c:extLst>
              <c:ext xmlns:c16="http://schemas.microsoft.com/office/drawing/2014/chart" uri="{C3380CC4-5D6E-409C-BE32-E72D297353CC}">
                <c16:uniqueId val="{000000B1-B572-4DF2-A18B-EB5D630E70B4}"/>
              </c:ext>
            </c:extLst>
          </c:dPt>
          <c:dPt>
            <c:idx val="89"/>
            <c:invertIfNegative val="1"/>
            <c:bubble3D val="0"/>
            <c:spPr>
              <a:solidFill>
                <a:srgbClr val="E6E5E5"/>
              </a:solidFill>
            </c:spPr>
            <c:extLst>
              <c:ext xmlns:c16="http://schemas.microsoft.com/office/drawing/2014/chart" uri="{C3380CC4-5D6E-409C-BE32-E72D297353CC}">
                <c16:uniqueId val="{000000B3-B572-4DF2-A18B-EB5D630E70B4}"/>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A0D8-4FF8-BF2D-A6DC7B178F5A}"/>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A0D8-4FF8-BF2D-A6DC7B178F5A}"/>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A0D8-4FF8-BF2D-A6DC7B178F5A}"/>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A0D8-4FF8-BF2D-A6DC7B178F5A}"/>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A0D8-4FF8-BF2D-A6DC7B178F5A}"/>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A0D8-4FF8-BF2D-A6DC7B178F5A}"/>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A0D8-4FF8-BF2D-A6DC7B178F5A}"/>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A0D8-4FF8-BF2D-A6DC7B178F5A}"/>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A0D8-4FF8-BF2D-A6DC7B178F5A}"/>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A0D8-4FF8-BF2D-A6DC7B178F5A}"/>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A0D8-4FF8-BF2D-A6DC7B178F5A}"/>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A0D8-4FF8-BF2D-A6DC7B178F5A}"/>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A0D8-4FF8-BF2D-A6DC7B178F5A}"/>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A0D8-4FF8-BF2D-A6DC7B178F5A}"/>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A0D8-4FF8-BF2D-A6DC7B178F5A}"/>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A0D8-4FF8-BF2D-A6DC7B178F5A}"/>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A0D8-4FF8-BF2D-A6DC7B178F5A}"/>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A0D8-4FF8-BF2D-A6DC7B178F5A}"/>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A0D8-4FF8-BF2D-A6DC7B178F5A}"/>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A0D8-4FF8-BF2D-A6DC7B178F5A}"/>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A0D8-4FF8-BF2D-A6DC7B178F5A}"/>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A0D8-4FF8-BF2D-A6DC7B178F5A}"/>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A0D8-4FF8-BF2D-A6DC7B178F5A}"/>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A0D8-4FF8-BF2D-A6DC7B178F5A}"/>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A0D8-4FF8-BF2D-A6DC7B178F5A}"/>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A0D8-4FF8-BF2D-A6DC7B178F5A}"/>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A0D8-4FF8-BF2D-A6DC7B178F5A}"/>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A0D8-4FF8-BF2D-A6DC7B178F5A}"/>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A0D8-4FF8-BF2D-A6DC7B178F5A}"/>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A0D8-4FF8-BF2D-A6DC7B178F5A}"/>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A0D8-4FF8-BF2D-A6DC7B178F5A}"/>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A0D8-4FF8-BF2D-A6DC7B178F5A}"/>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A0D8-4FF8-BF2D-A6DC7B178F5A}"/>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A0D8-4FF8-BF2D-A6DC7B178F5A}"/>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A0D8-4FF8-BF2D-A6DC7B178F5A}"/>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A0D8-4FF8-BF2D-A6DC7B178F5A}"/>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A0D8-4FF8-BF2D-A6DC7B178F5A}"/>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A0D8-4FF8-BF2D-A6DC7B178F5A}"/>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A0D8-4FF8-BF2D-A6DC7B178F5A}"/>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A0D8-4FF8-BF2D-A6DC7B178F5A}"/>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A0D8-4FF8-BF2D-A6DC7B178F5A}"/>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A0D8-4FF8-BF2D-A6DC7B178F5A}"/>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A0D8-4FF8-BF2D-A6DC7B178F5A}"/>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A0D8-4FF8-BF2D-A6DC7B178F5A}"/>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A0D8-4FF8-BF2D-A6DC7B178F5A}"/>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A0D8-4FF8-BF2D-A6DC7B178F5A}"/>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A0D8-4FF8-BF2D-A6DC7B178F5A}"/>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A0D8-4FF8-BF2D-A6DC7B178F5A}"/>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A0D8-4FF8-BF2D-A6DC7B178F5A}"/>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A0D8-4FF8-BF2D-A6DC7B178F5A}"/>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A0D8-4FF8-BF2D-A6DC7B178F5A}"/>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A0D8-4FF8-BF2D-A6DC7B178F5A}"/>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A0D8-4FF8-BF2D-A6DC7B178F5A}"/>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B572-4DF2-A18B-EB5D630E70B4}"/>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B572-4DF2-A18B-EB5D630E70B4}"/>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B572-4DF2-A18B-EB5D630E70B4}"/>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B572-4DF2-A18B-EB5D630E70B4}"/>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B572-4DF2-A18B-EB5D630E70B4}"/>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B572-4DF2-A18B-EB5D630E70B4}"/>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B572-4DF2-A18B-EB5D630E70B4}"/>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B572-4DF2-A18B-EB5D630E70B4}"/>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B572-4DF2-A18B-EB5D630E70B4}"/>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B572-4DF2-A18B-EB5D630E70B4}"/>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B572-4DF2-A18B-EB5D630E70B4}"/>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B572-4DF2-A18B-EB5D630E70B4}"/>
                </c:ext>
              </c:extLst>
            </c:dLbl>
            <c:dLbl>
              <c:idx val="6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B572-4DF2-A18B-EB5D630E70B4}"/>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B572-4DF2-A18B-EB5D630E70B4}"/>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B572-4DF2-A18B-EB5D630E70B4}"/>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B572-4DF2-A18B-EB5D630E70B4}"/>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B572-4DF2-A18B-EB5D630E70B4}"/>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B572-4DF2-A18B-EB5D630E70B4}"/>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B572-4DF2-A18B-EB5D630E70B4}"/>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B572-4DF2-A18B-EB5D630E70B4}"/>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B572-4DF2-A18B-EB5D630E70B4}"/>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B572-4DF2-A18B-EB5D630E70B4}"/>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B572-4DF2-A18B-EB5D630E70B4}"/>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B572-4DF2-A18B-EB5D630E70B4}"/>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B572-4DF2-A18B-EB5D630E70B4}"/>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B572-4DF2-A18B-EB5D630E70B4}"/>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B572-4DF2-A18B-EB5D630E70B4}"/>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B572-4DF2-A18B-EB5D630E70B4}"/>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B572-4DF2-A18B-EB5D630E70B4}"/>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B572-4DF2-A18B-EB5D630E70B4}"/>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B572-4DF2-A18B-EB5D630E70B4}"/>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B572-4DF2-A18B-EB5D630E70B4}"/>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B572-4DF2-A18B-EB5D630E70B4}"/>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B572-4DF2-A18B-EB5D630E70B4}"/>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B572-4DF2-A18B-EB5D630E70B4}"/>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B572-4DF2-A18B-EB5D630E70B4}"/>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9</c:f>
              <c:strCache>
                <c:ptCount val="78"/>
                <c:pt idx="0">
                  <c:v>Galaxy Jewels 1.4kg</c:v>
                </c:pt>
                <c:pt idx="1">
                  <c:v>Ferrero Rocher 300g</c:v>
                </c:pt>
                <c:pt idx="2">
                  <c:v>Galaxy Smooth Milk Chocolate 36g x 24</c:v>
                </c:pt>
                <c:pt idx="3">
                  <c:v>Galaxy Jewels 900g</c:v>
                </c:pt>
                <c:pt idx="4">
                  <c:v>Galaxy Jewels 650g</c:v>
                </c:pt>
                <c:pt idx="5">
                  <c:v>Cadbury Dairy Milk Minis Selection 500g</c:v>
                </c:pt>
                <c:pt idx="6">
                  <c:v>Kit Kat 17.7g x 18</c:v>
                </c:pt>
                <c:pt idx="7">
                  <c:v>Kinder Bueno Milk&amp;Hazelnut 43g</c:v>
                </c:pt>
                <c:pt idx="8">
                  <c:v>Tiffany Break Supa 38gx12</c:v>
                </c:pt>
                <c:pt idx="9">
                  <c:v>Snickers 50gx6</c:v>
                </c:pt>
                <c:pt idx="10">
                  <c:v>Tiffany Break 24x15.5g</c:v>
                </c:pt>
                <c:pt idx="11">
                  <c:v>Tiffany Break Mini Fun 384g</c:v>
                </c:pt>
                <c:pt idx="12">
                  <c:v>Kinder Bueno Milk&amp;Hazelnut 43gx10</c:v>
                </c:pt>
                <c:pt idx="13">
                  <c:v>Mackintosh Quality Street Chocolate 600g</c:v>
                </c:pt>
                <c:pt idx="14">
                  <c:v>Snickers Bar 50g</c:v>
                </c:pt>
                <c:pt idx="15">
                  <c:v>Maltesers Chocolate 175g</c:v>
                </c:pt>
                <c:pt idx="16">
                  <c:v>Tiffany Break 31gx12</c:v>
                </c:pt>
                <c:pt idx="17">
                  <c:v>Tiffany Break Delight 25gx12</c:v>
                </c:pt>
                <c:pt idx="18">
                  <c:v>Snickers Minis Bag 252g</c:v>
                </c:pt>
                <c:pt idx="19">
                  <c:v>Cadbury Miniatures Box 400g</c:v>
                </c:pt>
                <c:pt idx="20">
                  <c:v>Bounty Bar 57g</c:v>
                </c:pt>
                <c:pt idx="21">
                  <c:v>Galaxy Smooth Milk Minis 237.5g</c:v>
                </c:pt>
                <c:pt idx="22">
                  <c:v>Bounty Bar 57g x 5</c:v>
                </c:pt>
                <c:pt idx="23">
                  <c:v>Ferrero Rocher 200g</c:v>
                </c:pt>
                <c:pt idx="24">
                  <c:v>Kinder Maxi Chocolate 21gx11 (10+1)</c:v>
                </c:pt>
                <c:pt idx="25">
                  <c:v>Ferrero Raffaello 150g box </c:v>
                </c:pt>
                <c:pt idx="26">
                  <c:v>Galaxy Hazelnut Minis 237.5g</c:v>
                </c:pt>
                <c:pt idx="27">
                  <c:v>Twix 50gx5</c:v>
                </c:pt>
                <c:pt idx="28">
                  <c:v>Twix Bar 50g</c:v>
                </c:pt>
                <c:pt idx="29">
                  <c:v>Maltesers Chocolate 37g</c:v>
                </c:pt>
                <c:pt idx="30">
                  <c:v>Snickers Miniatures 150g</c:v>
                </c:pt>
                <c:pt idx="31">
                  <c:v>Cadbury Flake Minis Bag 159.5g</c:v>
                </c:pt>
                <c:pt idx="32">
                  <c:v>M&amp;M's Peanut 165g</c:v>
                </c:pt>
                <c:pt idx="33">
                  <c:v>Twix Miniatures 150g</c:v>
                </c:pt>
                <c:pt idx="34">
                  <c:v>Cadbury Timeout Minis Wafer 247.2g</c:v>
                </c:pt>
                <c:pt idx="35">
                  <c:v>Toblerone Milk Chocolate 200g</c:v>
                </c:pt>
                <c:pt idx="36">
                  <c:v>Galaxy Smooth Milk Minis 162.5g</c:v>
                </c:pt>
                <c:pt idx="37">
                  <c:v>Mars 45g x 6</c:v>
                </c:pt>
                <c:pt idx="38">
                  <c:v>Bounty Miniatures 150g</c:v>
                </c:pt>
                <c:pt idx="39">
                  <c:v>Kinder Chocolate Bar 8x12.5g</c:v>
                </c:pt>
                <c:pt idx="40">
                  <c:v>Galaxy Smooth Dark Chocolate 40g</c:v>
                </c:pt>
                <c:pt idx="41">
                  <c:v>Mars Bar 51g </c:v>
                </c:pt>
                <c:pt idx="42">
                  <c:v>Hershey's Kisses Special Selection Assorted 325g</c:v>
                </c:pt>
                <c:pt idx="43">
                  <c:v>Galaxy Hazelnut Chocolate 36g</c:v>
                </c:pt>
                <c:pt idx="44">
                  <c:v>Galaxy Smooth Milk Chocolate 36g</c:v>
                </c:pt>
                <c:pt idx="45">
                  <c:v>Galaxy Caramel Bar 40g</c:v>
                </c:pt>
                <c:pt idx="46">
                  <c:v>Kinder Chocolate Bar 50g</c:v>
                </c:pt>
                <c:pt idx="47">
                  <c:v>Kinder Bueno White 39g</c:v>
                </c:pt>
                <c:pt idx="48">
                  <c:v>Hershey's Kisses Classic Selection Assorted 325g</c:v>
                </c:pt>
                <c:pt idx="49">
                  <c:v>Galaxy Crispy Milk Chocolate 36g</c:v>
                </c:pt>
                <c:pt idx="50">
                  <c:v> Reeses Peanut Butter Cup Mini 340g </c:v>
                </c:pt>
                <c:pt idx="51">
                  <c:v>Kit Kat 17.7g</c:v>
                </c:pt>
                <c:pt idx="52">
                  <c:v> Reeses Peanut Butter Cup 42g x 6</c:v>
                </c:pt>
                <c:pt idx="53">
                  <c:v>Reeses Peanut Butter Cups 46g</c:v>
                </c:pt>
                <c:pt idx="54">
                  <c:v>Reeses Peanut Butter Cup Mini 215g</c:v>
                </c:pt>
                <c:pt idx="55">
                  <c:v>M&amp;M's Milk Chocolate 30.6g</c:v>
                </c:pt>
                <c:pt idx="56">
                  <c:v>Godiva Double Chocolate Bar 35g</c:v>
                </c:pt>
                <c:pt idx="57">
                  <c:v>Hershey's Cookies 'n Creme 40Gx 4</c:v>
                </c:pt>
                <c:pt idx="58">
                  <c:v>Galaxy Smooth Milk Chocolate 80g</c:v>
                </c:pt>
                <c:pt idx="59">
                  <c:v>Galaxy Ripple Bar 33g</c:v>
                </c:pt>
                <c:pt idx="60">
                  <c:v>Hershey's Chocobites Cookies 'n Creme 90g</c:v>
                </c:pt>
                <c:pt idx="61">
                  <c:v>Hershey's Kisses Special Selection Assorted 100g</c:v>
                </c:pt>
                <c:pt idx="62">
                  <c:v>Hershey's Chocobites Salted Caramel 81g</c:v>
                </c:pt>
                <c:pt idx="63">
                  <c:v>Hershey's Cookies N' Chocolate 40g</c:v>
                </c:pt>
                <c:pt idx="64">
                  <c:v>Reeses Block 90g</c:v>
                </c:pt>
                <c:pt idx="65">
                  <c:v>Reeses Nut Bar 47g</c:v>
                </c:pt>
                <c:pt idx="66">
                  <c:v>Hershey's Kisses Classic Selection Assorted 100g</c:v>
                </c:pt>
                <c:pt idx="67">
                  <c:v>Hershey's Cookies N' Crème 12.76g</c:v>
                </c:pt>
                <c:pt idx="68">
                  <c:v> Reeses Wafer Sticks 42g</c:v>
                </c:pt>
                <c:pt idx="69">
                  <c:v>Hershey's Choco Tubes Cookies N' Creme 18g</c:v>
                </c:pt>
                <c:pt idx="70">
                  <c:v>Reeses Pieces 180g</c:v>
                </c:pt>
                <c:pt idx="71">
                  <c:v>Reeses Mini King Size 71g</c:v>
                </c:pt>
                <c:pt idx="72">
                  <c:v>Hershey's Cookies 'n Creme Creations Salted Caramel 38g</c:v>
                </c:pt>
                <c:pt idx="73">
                  <c:v>Hershey's Cookies 'n Creme Block 90g</c:v>
                </c:pt>
                <c:pt idx="74">
                  <c:v> Reeses Peanut Butter Cup Mini 500G</c:v>
                </c:pt>
                <c:pt idx="75">
                  <c:v>Hersheys Kisses Classic Selection Assorted 600G</c:v>
                </c:pt>
                <c:pt idx="76">
                  <c:v>Hershey's Variety Pack 40Gx3</c:v>
                </c:pt>
                <c:pt idx="77">
                  <c:v>Reeses Fast break 51g</c:v>
                </c:pt>
              </c:strCache>
            </c:strRef>
          </c:cat>
          <c:val>
            <c:numRef>
              <c:f>Sheet1!$B$2:$B$79</c:f>
              <c:numCache>
                <c:formatCode>General</c:formatCode>
                <c:ptCount val="78"/>
                <c:pt idx="0">
                  <c:v>8.7043629382212662E-2</c:v>
                </c:pt>
                <c:pt idx="1">
                  <c:v>5.7448254219214227E-2</c:v>
                </c:pt>
                <c:pt idx="2">
                  <c:v>5.2318988778503661E-2</c:v>
                </c:pt>
                <c:pt idx="3">
                  <c:v>5.2256472326913307E-2</c:v>
                </c:pt>
                <c:pt idx="4">
                  <c:v>4.8584225656166963E-2</c:v>
                </c:pt>
                <c:pt idx="5">
                  <c:v>3.9680743757639463E-2</c:v>
                </c:pt>
                <c:pt idx="6">
                  <c:v>2.9190658329038801E-2</c:v>
                </c:pt>
                <c:pt idx="7">
                  <c:v>2.7681917689682881E-2</c:v>
                </c:pt>
                <c:pt idx="8">
                  <c:v>2.513899586928656E-2</c:v>
                </c:pt>
                <c:pt idx="9">
                  <c:v>2.4890536077445059E-2</c:v>
                </c:pt>
                <c:pt idx="10">
                  <c:v>2.4344382000445201E-2</c:v>
                </c:pt>
                <c:pt idx="11">
                  <c:v>2.4239521796033451E-2</c:v>
                </c:pt>
                <c:pt idx="12">
                  <c:v>2.25895581009995E-2</c:v>
                </c:pt>
                <c:pt idx="13">
                  <c:v>2.2261008252674359E-2</c:v>
                </c:pt>
                <c:pt idx="14">
                  <c:v>2.1303629133662901E-2</c:v>
                </c:pt>
                <c:pt idx="15">
                  <c:v>2.0930028427272349E-2</c:v>
                </c:pt>
                <c:pt idx="16">
                  <c:v>2.0722378953069099E-2</c:v>
                </c:pt>
                <c:pt idx="17">
                  <c:v>1.79402528779639E-2</c:v>
                </c:pt>
                <c:pt idx="18">
                  <c:v>1.6768501477137959E-2</c:v>
                </c:pt>
                <c:pt idx="19">
                  <c:v>1.5907968576700571E-2</c:v>
                </c:pt>
                <c:pt idx="20">
                  <c:v>1.5132426772325959E-2</c:v>
                </c:pt>
                <c:pt idx="21">
                  <c:v>1.457716780008899E-2</c:v>
                </c:pt>
                <c:pt idx="22">
                  <c:v>1.428979902205051E-2</c:v>
                </c:pt>
                <c:pt idx="23">
                  <c:v>1.4260023753352421E-2</c:v>
                </c:pt>
                <c:pt idx="24">
                  <c:v>1.4242653495047679E-2</c:v>
                </c:pt>
                <c:pt idx="25">
                  <c:v>1.4009948484647721E-2</c:v>
                </c:pt>
                <c:pt idx="26">
                  <c:v>1.327189776630075E-2</c:v>
                </c:pt>
                <c:pt idx="27">
                  <c:v>1.277080676064834E-2</c:v>
                </c:pt>
                <c:pt idx="28">
                  <c:v>1.154686376230785E-2</c:v>
                </c:pt>
                <c:pt idx="29">
                  <c:v>1.1356802272850099E-2</c:v>
                </c:pt>
                <c:pt idx="30">
                  <c:v>1.083713462610989E-2</c:v>
                </c:pt>
                <c:pt idx="31">
                  <c:v>1.0457247446923411E-2</c:v>
                </c:pt>
                <c:pt idx="32">
                  <c:v>1.0406169475892761E-2</c:v>
                </c:pt>
                <c:pt idx="33">
                  <c:v>1.019402791157778E-2</c:v>
                </c:pt>
                <c:pt idx="34">
                  <c:v>9.9678416198208646E-3</c:v>
                </c:pt>
                <c:pt idx="35">
                  <c:v>9.6601873747323187E-3</c:v>
                </c:pt>
                <c:pt idx="36">
                  <c:v>9.3903672027461412E-3</c:v>
                </c:pt>
                <c:pt idx="37">
                  <c:v>8.0659148911814693E-3</c:v>
                </c:pt>
                <c:pt idx="38">
                  <c:v>7.5338492821987197E-3</c:v>
                </c:pt>
                <c:pt idx="39">
                  <c:v>7.4340972771401804E-3</c:v>
                </c:pt>
                <c:pt idx="40">
                  <c:v>7.2228964784393666E-3</c:v>
                </c:pt>
                <c:pt idx="41">
                  <c:v>7.1647097013926584E-3</c:v>
                </c:pt>
                <c:pt idx="42">
                  <c:v>6.7417978009267987E-3</c:v>
                </c:pt>
                <c:pt idx="43">
                  <c:v>6.6461212904450192E-3</c:v>
                </c:pt>
                <c:pt idx="44">
                  <c:v>6.5873687630741886E-3</c:v>
                </c:pt>
                <c:pt idx="45">
                  <c:v>6.1105982334485687E-3</c:v>
                </c:pt>
                <c:pt idx="46">
                  <c:v>5.442700859727416E-3</c:v>
                </c:pt>
                <c:pt idx="47">
                  <c:v>5.4377176631436683E-3</c:v>
                </c:pt>
                <c:pt idx="48">
                  <c:v>5.0533333079540556E-3</c:v>
                </c:pt>
                <c:pt idx="49">
                  <c:v>4.8781338061636894E-3</c:v>
                </c:pt>
                <c:pt idx="50">
                  <c:v>4.8118320644420761E-3</c:v>
                </c:pt>
                <c:pt idx="51">
                  <c:v>4.754758877646573E-3</c:v>
                </c:pt>
                <c:pt idx="52">
                  <c:v>4.6018435860742616E-3</c:v>
                </c:pt>
                <c:pt idx="53">
                  <c:v>4.5036988919860462E-3</c:v>
                </c:pt>
                <c:pt idx="54">
                  <c:v>4.3867982266635082E-3</c:v>
                </c:pt>
                <c:pt idx="55">
                  <c:v>4.0218340674676974E-3</c:v>
                </c:pt>
                <c:pt idx="56">
                  <c:v>3.9201710183767091E-3</c:v>
                </c:pt>
                <c:pt idx="57">
                  <c:v>3.7061900184166409E-3</c:v>
                </c:pt>
                <c:pt idx="58">
                  <c:v>3.4958916104209938E-3</c:v>
                </c:pt>
                <c:pt idx="59">
                  <c:v>3.3190896613840659E-3</c:v>
                </c:pt>
                <c:pt idx="60">
                  <c:v>2.6956154020616259E-3</c:v>
                </c:pt>
                <c:pt idx="61">
                  <c:v>2.53527750664386E-3</c:v>
                </c:pt>
                <c:pt idx="62">
                  <c:v>2.4278900283566068E-3</c:v>
                </c:pt>
                <c:pt idx="63">
                  <c:v>2.425599799364974E-3</c:v>
                </c:pt>
                <c:pt idx="64">
                  <c:v>2.1535528869782322E-3</c:v>
                </c:pt>
                <c:pt idx="65">
                  <c:v>1.655361952609545E-3</c:v>
                </c:pt>
                <c:pt idx="66">
                  <c:v>1.5256000407128469E-3</c:v>
                </c:pt>
                <c:pt idx="67">
                  <c:v>7.824108492337985E-4</c:v>
                </c:pt>
                <c:pt idx="68">
                  <c:v>2.7146164527440977E-4</c:v>
                </c:pt>
                <c:pt idx="69">
                  <c:v>7.2865281163403636E-5</c:v>
                </c:pt>
                <c:pt idx="70">
                  <c:v>0</c:v>
                </c:pt>
                <c:pt idx="71">
                  <c:v>0</c:v>
                </c:pt>
                <c:pt idx="72">
                  <c:v>0</c:v>
                </c:pt>
                <c:pt idx="73">
                  <c:v>0</c:v>
                </c:pt>
                <c:pt idx="74">
                  <c:v>0</c:v>
                </c:pt>
                <c:pt idx="75">
                  <c:v>0</c:v>
                </c:pt>
                <c:pt idx="76">
                  <c:v>0</c:v>
                </c:pt>
                <c:pt idx="77">
                  <c:v>0</c:v>
                </c:pt>
              </c:numCache>
            </c:numRef>
          </c:val>
          <c:extLst>
            <c:ext xmlns:c16="http://schemas.microsoft.com/office/drawing/2014/chart" uri="{C3380CC4-5D6E-409C-BE32-E72D297353CC}">
              <c16:uniqueId val="{0000003F-A0D8-4FF8-BF2D-A6DC7B178F5A}"/>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ershey's Cookies 'n Creme Creations Salted Caramel 38g</c:v>
                </c:pt>
              </c:strCache>
            </c:strRef>
          </c:tx>
          <c:spPr>
            <a:solidFill>
              <a:schemeClr val="bg2"/>
            </a:solidFill>
            <a:ln>
              <a:noFill/>
            </a:ln>
            <a:effectLst/>
          </c:spPr>
          <c:invertIfNegative val="0"/>
          <c:dPt>
            <c:idx val="0"/>
            <c:invertIfNegative val="0"/>
            <c:bubble3D val="0"/>
            <c:spPr>
              <a:solidFill>
                <a:srgbClr val="E6E5E5"/>
              </a:solidFill>
              <a:ln>
                <a:noFill/>
              </a:ln>
              <a:effectLst/>
            </c:spPr>
            <c:extLst>
              <c:ext xmlns:c16="http://schemas.microsoft.com/office/drawing/2014/chart" uri="{C3380CC4-5D6E-409C-BE32-E72D297353CC}">
                <c16:uniqueId val="{00000001-902D-4251-AC41-C6D4CBCA5CD6}"/>
              </c:ext>
            </c:extLst>
          </c:dPt>
          <c:dPt>
            <c:idx val="1"/>
            <c:invertIfNegative val="1"/>
            <c:bubble3D val="0"/>
            <c:spPr>
              <a:solidFill>
                <a:srgbClr val="E6E5E5"/>
              </a:solidFill>
            </c:spPr>
            <c:extLst>
              <c:ext xmlns:c16="http://schemas.microsoft.com/office/drawing/2014/chart" uri="{C3380CC4-5D6E-409C-BE32-E72D297353CC}">
                <c16:uniqueId val="{00000003-902D-4251-AC41-C6D4CBCA5CD6}"/>
              </c:ext>
            </c:extLst>
          </c:dPt>
          <c:dPt>
            <c:idx val="2"/>
            <c:invertIfNegative val="1"/>
            <c:bubble3D val="0"/>
            <c:spPr>
              <a:solidFill>
                <a:srgbClr val="E6E5E5"/>
              </a:solidFill>
            </c:spPr>
            <c:extLst>
              <c:ext xmlns:c16="http://schemas.microsoft.com/office/drawing/2014/chart" uri="{C3380CC4-5D6E-409C-BE32-E72D297353CC}">
                <c16:uniqueId val="{00000005-902D-4251-AC41-C6D4CBCA5CD6}"/>
              </c:ext>
            </c:extLst>
          </c:dPt>
          <c:dPt>
            <c:idx val="3"/>
            <c:invertIfNegative val="0"/>
            <c:bubble3D val="0"/>
            <c:spPr>
              <a:solidFill>
                <a:srgbClr val="E6E5E5"/>
              </a:solidFill>
              <a:ln>
                <a:noFill/>
              </a:ln>
              <a:effectLst/>
            </c:spPr>
            <c:extLst>
              <c:ext xmlns:c16="http://schemas.microsoft.com/office/drawing/2014/chart" uri="{C3380CC4-5D6E-409C-BE32-E72D297353CC}">
                <c16:uniqueId val="{00000007-902D-4251-AC41-C6D4CBCA5CD6}"/>
              </c:ext>
            </c:extLst>
          </c:dPt>
          <c:dPt>
            <c:idx val="4"/>
            <c:invertIfNegative val="1"/>
            <c:bubble3D val="0"/>
            <c:spPr>
              <a:solidFill>
                <a:srgbClr val="E6E5E5"/>
              </a:solidFill>
            </c:spPr>
            <c:extLst>
              <c:ext xmlns:c16="http://schemas.microsoft.com/office/drawing/2014/chart" uri="{C3380CC4-5D6E-409C-BE32-E72D297353CC}">
                <c16:uniqueId val="{00000009-902D-4251-AC41-C6D4CBCA5CD6}"/>
              </c:ext>
            </c:extLst>
          </c:dPt>
          <c:dPt>
            <c:idx val="5"/>
            <c:invertIfNegative val="1"/>
            <c:bubble3D val="0"/>
            <c:spPr>
              <a:solidFill>
                <a:srgbClr val="E6E5E5"/>
              </a:solidFill>
            </c:spPr>
            <c:extLst>
              <c:ext xmlns:c16="http://schemas.microsoft.com/office/drawing/2014/chart" uri="{C3380CC4-5D6E-409C-BE32-E72D297353CC}">
                <c16:uniqueId val="{0000000B-902D-4251-AC41-C6D4CBCA5CD6}"/>
              </c:ext>
            </c:extLst>
          </c:dPt>
          <c:dPt>
            <c:idx val="6"/>
            <c:invertIfNegative val="1"/>
            <c:bubble3D val="0"/>
            <c:spPr>
              <a:solidFill>
                <a:srgbClr val="E6E5E5"/>
              </a:solidFill>
            </c:spPr>
            <c:extLst>
              <c:ext xmlns:c16="http://schemas.microsoft.com/office/drawing/2014/chart" uri="{C3380CC4-5D6E-409C-BE32-E72D297353CC}">
                <c16:uniqueId val="{0000000D-902D-4251-AC41-C6D4CBCA5CD6}"/>
              </c:ext>
            </c:extLst>
          </c:dPt>
          <c:dPt>
            <c:idx val="7"/>
            <c:invertIfNegative val="1"/>
            <c:bubble3D val="0"/>
            <c:spPr>
              <a:solidFill>
                <a:srgbClr val="E6E5E5"/>
              </a:solidFill>
            </c:spPr>
            <c:extLst>
              <c:ext xmlns:c16="http://schemas.microsoft.com/office/drawing/2014/chart" uri="{C3380CC4-5D6E-409C-BE32-E72D297353CC}">
                <c16:uniqueId val="{0000000F-902D-4251-AC41-C6D4CBCA5CD6}"/>
              </c:ext>
            </c:extLst>
          </c:dPt>
          <c:dPt>
            <c:idx val="8"/>
            <c:invertIfNegative val="1"/>
            <c:bubble3D val="0"/>
            <c:spPr>
              <a:solidFill>
                <a:srgbClr val="E6E5E5"/>
              </a:solidFill>
            </c:spPr>
            <c:extLst>
              <c:ext xmlns:c16="http://schemas.microsoft.com/office/drawing/2014/chart" uri="{C3380CC4-5D6E-409C-BE32-E72D297353CC}">
                <c16:uniqueId val="{00000011-902D-4251-AC41-C6D4CBCA5CD6}"/>
              </c:ext>
            </c:extLst>
          </c:dPt>
          <c:dPt>
            <c:idx val="9"/>
            <c:invertIfNegative val="1"/>
            <c:bubble3D val="0"/>
            <c:spPr>
              <a:solidFill>
                <a:srgbClr val="E6E5E5"/>
              </a:solidFill>
            </c:spPr>
            <c:extLst>
              <c:ext xmlns:c16="http://schemas.microsoft.com/office/drawing/2014/chart" uri="{C3380CC4-5D6E-409C-BE32-E72D297353CC}">
                <c16:uniqueId val="{00000013-902D-4251-AC41-C6D4CBCA5CD6}"/>
              </c:ext>
            </c:extLst>
          </c:dPt>
          <c:dPt>
            <c:idx val="10"/>
            <c:invertIfNegative val="1"/>
            <c:bubble3D val="0"/>
            <c:spPr>
              <a:solidFill>
                <a:srgbClr val="E6E5E5"/>
              </a:solidFill>
            </c:spPr>
            <c:extLst>
              <c:ext xmlns:c16="http://schemas.microsoft.com/office/drawing/2014/chart" uri="{C3380CC4-5D6E-409C-BE32-E72D297353CC}">
                <c16:uniqueId val="{00000015-902D-4251-AC41-C6D4CBCA5CD6}"/>
              </c:ext>
            </c:extLst>
          </c:dPt>
          <c:dPt>
            <c:idx val="11"/>
            <c:invertIfNegative val="1"/>
            <c:bubble3D val="0"/>
            <c:spPr>
              <a:solidFill>
                <a:srgbClr val="E6E5E5"/>
              </a:solidFill>
            </c:spPr>
            <c:extLst>
              <c:ext xmlns:c16="http://schemas.microsoft.com/office/drawing/2014/chart" uri="{C3380CC4-5D6E-409C-BE32-E72D297353CC}">
                <c16:uniqueId val="{00000017-902D-4251-AC41-C6D4CBCA5CD6}"/>
              </c:ext>
            </c:extLst>
          </c:dPt>
          <c:dPt>
            <c:idx val="12"/>
            <c:invertIfNegative val="1"/>
            <c:bubble3D val="0"/>
            <c:spPr>
              <a:solidFill>
                <a:srgbClr val="E6E5E5"/>
              </a:solidFill>
            </c:spPr>
            <c:extLst>
              <c:ext xmlns:c16="http://schemas.microsoft.com/office/drawing/2014/chart" uri="{C3380CC4-5D6E-409C-BE32-E72D297353CC}">
                <c16:uniqueId val="{00000019-902D-4251-AC41-C6D4CBCA5CD6}"/>
              </c:ext>
            </c:extLst>
          </c:dPt>
          <c:dPt>
            <c:idx val="13"/>
            <c:invertIfNegative val="1"/>
            <c:bubble3D val="0"/>
            <c:spPr>
              <a:solidFill>
                <a:srgbClr val="E6E5E5"/>
              </a:solidFill>
            </c:spPr>
            <c:extLst>
              <c:ext xmlns:c16="http://schemas.microsoft.com/office/drawing/2014/chart" uri="{C3380CC4-5D6E-409C-BE32-E72D297353CC}">
                <c16:uniqueId val="{0000001B-902D-4251-AC41-C6D4CBCA5CD6}"/>
              </c:ext>
            </c:extLst>
          </c:dPt>
          <c:dPt>
            <c:idx val="14"/>
            <c:invertIfNegative val="0"/>
            <c:bubble3D val="0"/>
            <c:spPr>
              <a:solidFill>
                <a:srgbClr val="E6E5E5"/>
              </a:solidFill>
              <a:ln>
                <a:noFill/>
              </a:ln>
              <a:effectLst/>
            </c:spPr>
            <c:extLst>
              <c:ext xmlns:c16="http://schemas.microsoft.com/office/drawing/2014/chart" uri="{C3380CC4-5D6E-409C-BE32-E72D297353CC}">
                <c16:uniqueId val="{0000001D-902D-4251-AC41-C6D4CBCA5CD6}"/>
              </c:ext>
            </c:extLst>
          </c:dPt>
          <c:dPt>
            <c:idx val="15"/>
            <c:invertIfNegative val="1"/>
            <c:bubble3D val="0"/>
            <c:spPr>
              <a:solidFill>
                <a:srgbClr val="E6E5E5"/>
              </a:solidFill>
            </c:spPr>
            <c:extLst>
              <c:ext xmlns:c16="http://schemas.microsoft.com/office/drawing/2014/chart" uri="{C3380CC4-5D6E-409C-BE32-E72D297353CC}">
                <c16:uniqueId val="{0000001F-902D-4251-AC41-C6D4CBCA5CD6}"/>
              </c:ext>
            </c:extLst>
          </c:dPt>
          <c:dPt>
            <c:idx val="16"/>
            <c:invertIfNegative val="1"/>
            <c:bubble3D val="0"/>
            <c:spPr>
              <a:solidFill>
                <a:srgbClr val="E6E5E5"/>
              </a:solidFill>
            </c:spPr>
            <c:extLst>
              <c:ext xmlns:c16="http://schemas.microsoft.com/office/drawing/2014/chart" uri="{C3380CC4-5D6E-409C-BE32-E72D297353CC}">
                <c16:uniqueId val="{00000021-902D-4251-AC41-C6D4CBCA5CD6}"/>
              </c:ext>
            </c:extLst>
          </c:dPt>
          <c:dPt>
            <c:idx val="17"/>
            <c:invertIfNegative val="0"/>
            <c:bubble3D val="0"/>
            <c:spPr>
              <a:solidFill>
                <a:srgbClr val="E6E5E5"/>
              </a:solidFill>
              <a:ln>
                <a:noFill/>
              </a:ln>
              <a:effectLst/>
            </c:spPr>
            <c:extLst>
              <c:ext xmlns:c16="http://schemas.microsoft.com/office/drawing/2014/chart" uri="{C3380CC4-5D6E-409C-BE32-E72D297353CC}">
                <c16:uniqueId val="{00000023-902D-4251-AC41-C6D4CBCA5CD6}"/>
              </c:ext>
            </c:extLst>
          </c:dPt>
          <c:dPt>
            <c:idx val="18"/>
            <c:invertIfNegative val="1"/>
            <c:bubble3D val="0"/>
            <c:spPr>
              <a:solidFill>
                <a:srgbClr val="E6E5E5"/>
              </a:solidFill>
            </c:spPr>
            <c:extLst>
              <c:ext xmlns:c16="http://schemas.microsoft.com/office/drawing/2014/chart" uri="{C3380CC4-5D6E-409C-BE32-E72D297353CC}">
                <c16:uniqueId val="{00000025-902D-4251-AC41-C6D4CBCA5CD6}"/>
              </c:ext>
            </c:extLst>
          </c:dPt>
          <c:dPt>
            <c:idx val="19"/>
            <c:invertIfNegative val="1"/>
            <c:bubble3D val="0"/>
            <c:spPr>
              <a:solidFill>
                <a:srgbClr val="E6E5E5"/>
              </a:solidFill>
            </c:spPr>
            <c:extLst>
              <c:ext xmlns:c16="http://schemas.microsoft.com/office/drawing/2014/chart" uri="{C3380CC4-5D6E-409C-BE32-E72D297353CC}">
                <c16:uniqueId val="{00000027-902D-4251-AC41-C6D4CBCA5CD6}"/>
              </c:ext>
            </c:extLst>
          </c:dPt>
          <c:dPt>
            <c:idx val="20"/>
            <c:invertIfNegative val="1"/>
            <c:bubble3D val="0"/>
            <c:spPr>
              <a:solidFill>
                <a:srgbClr val="E6E5E5"/>
              </a:solidFill>
            </c:spPr>
            <c:extLst>
              <c:ext xmlns:c16="http://schemas.microsoft.com/office/drawing/2014/chart" uri="{C3380CC4-5D6E-409C-BE32-E72D297353CC}">
                <c16:uniqueId val="{00000029-902D-4251-AC41-C6D4CBCA5CD6}"/>
              </c:ext>
            </c:extLst>
          </c:dPt>
          <c:dPt>
            <c:idx val="21"/>
            <c:invertIfNegative val="1"/>
            <c:bubble3D val="0"/>
            <c:spPr>
              <a:solidFill>
                <a:srgbClr val="E6E5E5"/>
              </a:solidFill>
            </c:spPr>
            <c:extLst>
              <c:ext xmlns:c16="http://schemas.microsoft.com/office/drawing/2014/chart" uri="{C3380CC4-5D6E-409C-BE32-E72D297353CC}">
                <c16:uniqueId val="{0000002B-902D-4251-AC41-C6D4CBCA5CD6}"/>
              </c:ext>
            </c:extLst>
          </c:dPt>
          <c:dPt>
            <c:idx val="22"/>
            <c:invertIfNegative val="1"/>
            <c:bubble3D val="0"/>
            <c:spPr>
              <a:solidFill>
                <a:srgbClr val="E6E5E5"/>
              </a:solidFill>
            </c:spPr>
            <c:extLst>
              <c:ext xmlns:c16="http://schemas.microsoft.com/office/drawing/2014/chart" uri="{C3380CC4-5D6E-409C-BE32-E72D297353CC}">
                <c16:uniqueId val="{0000002D-902D-4251-AC41-C6D4CBCA5CD6}"/>
              </c:ext>
            </c:extLst>
          </c:dPt>
          <c:dPt>
            <c:idx val="23"/>
            <c:invertIfNegative val="1"/>
            <c:bubble3D val="0"/>
            <c:spPr>
              <a:solidFill>
                <a:srgbClr val="E6E5E5"/>
              </a:solidFill>
            </c:spPr>
            <c:extLst>
              <c:ext xmlns:c16="http://schemas.microsoft.com/office/drawing/2014/chart" uri="{C3380CC4-5D6E-409C-BE32-E72D297353CC}">
                <c16:uniqueId val="{0000002F-902D-4251-AC41-C6D4CBCA5CD6}"/>
              </c:ext>
            </c:extLst>
          </c:dPt>
          <c:dPt>
            <c:idx val="24"/>
            <c:invertIfNegative val="1"/>
            <c:bubble3D val="0"/>
            <c:spPr>
              <a:solidFill>
                <a:srgbClr val="E6E5E5"/>
              </a:solidFill>
            </c:spPr>
            <c:extLst>
              <c:ext xmlns:c16="http://schemas.microsoft.com/office/drawing/2014/chart" uri="{C3380CC4-5D6E-409C-BE32-E72D297353CC}">
                <c16:uniqueId val="{00000031-902D-4251-AC41-C6D4CBCA5CD6}"/>
              </c:ext>
            </c:extLst>
          </c:dPt>
          <c:dPt>
            <c:idx val="25"/>
            <c:invertIfNegative val="1"/>
            <c:bubble3D val="0"/>
            <c:spPr>
              <a:solidFill>
                <a:srgbClr val="E6E5E5"/>
              </a:solidFill>
            </c:spPr>
            <c:extLst>
              <c:ext xmlns:c16="http://schemas.microsoft.com/office/drawing/2014/chart" uri="{C3380CC4-5D6E-409C-BE32-E72D297353CC}">
                <c16:uniqueId val="{00000033-902D-4251-AC41-C6D4CBCA5CD6}"/>
              </c:ext>
            </c:extLst>
          </c:dPt>
          <c:dPt>
            <c:idx val="26"/>
            <c:invertIfNegative val="1"/>
            <c:bubble3D val="0"/>
            <c:spPr>
              <a:solidFill>
                <a:srgbClr val="E6E5E5"/>
              </a:solidFill>
            </c:spPr>
            <c:extLst>
              <c:ext xmlns:c16="http://schemas.microsoft.com/office/drawing/2014/chart" uri="{C3380CC4-5D6E-409C-BE32-E72D297353CC}">
                <c16:uniqueId val="{00000035-902D-4251-AC41-C6D4CBCA5CD6}"/>
              </c:ext>
            </c:extLst>
          </c:dPt>
          <c:dPt>
            <c:idx val="27"/>
            <c:invertIfNegative val="1"/>
            <c:bubble3D val="0"/>
            <c:spPr>
              <a:solidFill>
                <a:srgbClr val="E6E5E5"/>
              </a:solidFill>
            </c:spPr>
            <c:extLst>
              <c:ext xmlns:c16="http://schemas.microsoft.com/office/drawing/2014/chart" uri="{C3380CC4-5D6E-409C-BE32-E72D297353CC}">
                <c16:uniqueId val="{00000037-902D-4251-AC41-C6D4CBCA5CD6}"/>
              </c:ext>
            </c:extLst>
          </c:dPt>
          <c:dPt>
            <c:idx val="28"/>
            <c:invertIfNegative val="1"/>
            <c:bubble3D val="0"/>
            <c:spPr>
              <a:solidFill>
                <a:srgbClr val="E6E5E5"/>
              </a:solidFill>
            </c:spPr>
            <c:extLst>
              <c:ext xmlns:c16="http://schemas.microsoft.com/office/drawing/2014/chart" uri="{C3380CC4-5D6E-409C-BE32-E72D297353CC}">
                <c16:uniqueId val="{00000039-902D-4251-AC41-C6D4CBCA5CD6}"/>
              </c:ext>
            </c:extLst>
          </c:dPt>
          <c:dPt>
            <c:idx val="29"/>
            <c:invertIfNegative val="1"/>
            <c:bubble3D val="0"/>
            <c:spPr>
              <a:solidFill>
                <a:srgbClr val="E6E5E5"/>
              </a:solidFill>
            </c:spPr>
            <c:extLst>
              <c:ext xmlns:c16="http://schemas.microsoft.com/office/drawing/2014/chart" uri="{C3380CC4-5D6E-409C-BE32-E72D297353CC}">
                <c16:uniqueId val="{0000003B-902D-4251-AC41-C6D4CBCA5CD6}"/>
              </c:ext>
            </c:extLst>
          </c:dPt>
          <c:dPt>
            <c:idx val="30"/>
            <c:invertIfNegative val="1"/>
            <c:bubble3D val="0"/>
            <c:spPr>
              <a:solidFill>
                <a:srgbClr val="E6E5E5"/>
              </a:solidFill>
            </c:spPr>
            <c:extLst>
              <c:ext xmlns:c16="http://schemas.microsoft.com/office/drawing/2014/chart" uri="{C3380CC4-5D6E-409C-BE32-E72D297353CC}">
                <c16:uniqueId val="{0000003D-902D-4251-AC41-C6D4CBCA5CD6}"/>
              </c:ext>
            </c:extLst>
          </c:dPt>
          <c:dPt>
            <c:idx val="31"/>
            <c:invertIfNegative val="1"/>
            <c:bubble3D val="0"/>
            <c:spPr>
              <a:solidFill>
                <a:srgbClr val="E6E5E5"/>
              </a:solidFill>
            </c:spPr>
            <c:extLst>
              <c:ext xmlns:c16="http://schemas.microsoft.com/office/drawing/2014/chart" uri="{C3380CC4-5D6E-409C-BE32-E72D297353CC}">
                <c16:uniqueId val="{0000003F-902D-4251-AC41-C6D4CBCA5CD6}"/>
              </c:ext>
            </c:extLst>
          </c:dPt>
          <c:dPt>
            <c:idx val="32"/>
            <c:invertIfNegative val="0"/>
            <c:bubble3D val="0"/>
            <c:spPr>
              <a:solidFill>
                <a:srgbClr val="E6E5E5"/>
              </a:solidFill>
              <a:ln>
                <a:noFill/>
              </a:ln>
              <a:effectLst/>
            </c:spPr>
            <c:extLst>
              <c:ext xmlns:c16="http://schemas.microsoft.com/office/drawing/2014/chart" uri="{C3380CC4-5D6E-409C-BE32-E72D297353CC}">
                <c16:uniqueId val="{00000041-902D-4251-AC41-C6D4CBCA5CD6}"/>
              </c:ext>
            </c:extLst>
          </c:dPt>
          <c:dPt>
            <c:idx val="33"/>
            <c:invertIfNegative val="1"/>
            <c:bubble3D val="0"/>
            <c:spPr>
              <a:solidFill>
                <a:srgbClr val="E6E5E5"/>
              </a:solidFill>
            </c:spPr>
            <c:extLst>
              <c:ext xmlns:c16="http://schemas.microsoft.com/office/drawing/2014/chart" uri="{C3380CC4-5D6E-409C-BE32-E72D297353CC}">
                <c16:uniqueId val="{00000043-902D-4251-AC41-C6D4CBCA5CD6}"/>
              </c:ext>
            </c:extLst>
          </c:dPt>
          <c:dPt>
            <c:idx val="34"/>
            <c:invertIfNegative val="1"/>
            <c:bubble3D val="0"/>
            <c:spPr>
              <a:solidFill>
                <a:srgbClr val="E6E5E5"/>
              </a:solidFill>
            </c:spPr>
            <c:extLst>
              <c:ext xmlns:c16="http://schemas.microsoft.com/office/drawing/2014/chart" uri="{C3380CC4-5D6E-409C-BE32-E72D297353CC}">
                <c16:uniqueId val="{00000045-902D-4251-AC41-C6D4CBCA5CD6}"/>
              </c:ext>
            </c:extLst>
          </c:dPt>
          <c:dPt>
            <c:idx val="35"/>
            <c:invertIfNegative val="1"/>
            <c:bubble3D val="0"/>
            <c:spPr>
              <a:solidFill>
                <a:srgbClr val="E6E5E5"/>
              </a:solidFill>
            </c:spPr>
            <c:extLst>
              <c:ext xmlns:c16="http://schemas.microsoft.com/office/drawing/2014/chart" uri="{C3380CC4-5D6E-409C-BE32-E72D297353CC}">
                <c16:uniqueId val="{00000047-902D-4251-AC41-C6D4CBCA5CD6}"/>
              </c:ext>
            </c:extLst>
          </c:dPt>
          <c:dPt>
            <c:idx val="36"/>
            <c:invertIfNegative val="1"/>
            <c:bubble3D val="0"/>
            <c:spPr>
              <a:solidFill>
                <a:srgbClr val="E6E5E5"/>
              </a:solidFill>
            </c:spPr>
            <c:extLst>
              <c:ext xmlns:c16="http://schemas.microsoft.com/office/drawing/2014/chart" uri="{C3380CC4-5D6E-409C-BE32-E72D297353CC}">
                <c16:uniqueId val="{00000049-902D-4251-AC41-C6D4CBCA5CD6}"/>
              </c:ext>
            </c:extLst>
          </c:dPt>
          <c:dPt>
            <c:idx val="37"/>
            <c:invertIfNegative val="1"/>
            <c:bubble3D val="0"/>
            <c:spPr>
              <a:solidFill>
                <a:srgbClr val="E6E5E5"/>
              </a:solidFill>
            </c:spPr>
            <c:extLst>
              <c:ext xmlns:c16="http://schemas.microsoft.com/office/drawing/2014/chart" uri="{C3380CC4-5D6E-409C-BE32-E72D297353CC}">
                <c16:uniqueId val="{0000004B-902D-4251-AC41-C6D4CBCA5CD6}"/>
              </c:ext>
            </c:extLst>
          </c:dPt>
          <c:dPt>
            <c:idx val="38"/>
            <c:invertIfNegative val="1"/>
            <c:bubble3D val="0"/>
            <c:spPr>
              <a:solidFill>
                <a:srgbClr val="E6E5E5"/>
              </a:solidFill>
            </c:spPr>
            <c:extLst>
              <c:ext xmlns:c16="http://schemas.microsoft.com/office/drawing/2014/chart" uri="{C3380CC4-5D6E-409C-BE32-E72D297353CC}">
                <c16:uniqueId val="{0000004D-902D-4251-AC41-C6D4CBCA5CD6}"/>
              </c:ext>
            </c:extLst>
          </c:dPt>
          <c:dPt>
            <c:idx val="39"/>
            <c:invertIfNegative val="1"/>
            <c:bubble3D val="0"/>
            <c:spPr>
              <a:solidFill>
                <a:srgbClr val="E6E5E5"/>
              </a:solidFill>
            </c:spPr>
            <c:extLst>
              <c:ext xmlns:c16="http://schemas.microsoft.com/office/drawing/2014/chart" uri="{C3380CC4-5D6E-409C-BE32-E72D297353CC}">
                <c16:uniqueId val="{0000004F-902D-4251-AC41-C6D4CBCA5CD6}"/>
              </c:ext>
            </c:extLst>
          </c:dPt>
          <c:dPt>
            <c:idx val="40"/>
            <c:invertIfNegative val="1"/>
            <c:bubble3D val="0"/>
            <c:spPr>
              <a:solidFill>
                <a:srgbClr val="E6E5E5"/>
              </a:solidFill>
            </c:spPr>
            <c:extLst>
              <c:ext xmlns:c16="http://schemas.microsoft.com/office/drawing/2014/chart" uri="{C3380CC4-5D6E-409C-BE32-E72D297353CC}">
                <c16:uniqueId val="{00000051-902D-4251-AC41-C6D4CBCA5CD6}"/>
              </c:ext>
            </c:extLst>
          </c:dPt>
          <c:dPt>
            <c:idx val="41"/>
            <c:invertIfNegative val="1"/>
            <c:bubble3D val="0"/>
            <c:spPr>
              <a:solidFill>
                <a:srgbClr val="E6E5E5"/>
              </a:solidFill>
            </c:spPr>
            <c:extLst>
              <c:ext xmlns:c16="http://schemas.microsoft.com/office/drawing/2014/chart" uri="{C3380CC4-5D6E-409C-BE32-E72D297353CC}">
                <c16:uniqueId val="{00000053-902D-4251-AC41-C6D4CBCA5CD6}"/>
              </c:ext>
            </c:extLst>
          </c:dPt>
          <c:dPt>
            <c:idx val="42"/>
            <c:invertIfNegative val="1"/>
            <c:bubble3D val="0"/>
            <c:spPr>
              <a:solidFill>
                <a:srgbClr val="E6E5E5"/>
              </a:solidFill>
            </c:spPr>
            <c:extLst>
              <c:ext xmlns:c16="http://schemas.microsoft.com/office/drawing/2014/chart" uri="{C3380CC4-5D6E-409C-BE32-E72D297353CC}">
                <c16:uniqueId val="{00000055-902D-4251-AC41-C6D4CBCA5CD6}"/>
              </c:ext>
            </c:extLst>
          </c:dPt>
          <c:dPt>
            <c:idx val="43"/>
            <c:invertIfNegative val="1"/>
            <c:bubble3D val="0"/>
            <c:spPr>
              <a:solidFill>
                <a:srgbClr val="E6E5E5"/>
              </a:solidFill>
            </c:spPr>
            <c:extLst>
              <c:ext xmlns:c16="http://schemas.microsoft.com/office/drawing/2014/chart" uri="{C3380CC4-5D6E-409C-BE32-E72D297353CC}">
                <c16:uniqueId val="{00000057-902D-4251-AC41-C6D4CBCA5CD6}"/>
              </c:ext>
            </c:extLst>
          </c:dPt>
          <c:dPt>
            <c:idx val="44"/>
            <c:invertIfNegative val="0"/>
            <c:bubble3D val="0"/>
            <c:spPr>
              <a:solidFill>
                <a:srgbClr val="E6E5E5"/>
              </a:solidFill>
              <a:ln>
                <a:noFill/>
              </a:ln>
              <a:effectLst/>
            </c:spPr>
            <c:extLst>
              <c:ext xmlns:c16="http://schemas.microsoft.com/office/drawing/2014/chart" uri="{C3380CC4-5D6E-409C-BE32-E72D297353CC}">
                <c16:uniqueId val="{00000059-902D-4251-AC41-C6D4CBCA5CD6}"/>
              </c:ext>
            </c:extLst>
          </c:dPt>
          <c:dPt>
            <c:idx val="45"/>
            <c:invertIfNegative val="1"/>
            <c:bubble3D val="0"/>
            <c:spPr>
              <a:solidFill>
                <a:srgbClr val="E6E5E5"/>
              </a:solidFill>
            </c:spPr>
            <c:extLst>
              <c:ext xmlns:c16="http://schemas.microsoft.com/office/drawing/2014/chart" uri="{C3380CC4-5D6E-409C-BE32-E72D297353CC}">
                <c16:uniqueId val="{0000005B-902D-4251-AC41-C6D4CBCA5CD6}"/>
              </c:ext>
            </c:extLst>
          </c:dPt>
          <c:dPt>
            <c:idx val="46"/>
            <c:invertIfNegative val="1"/>
            <c:bubble3D val="0"/>
            <c:spPr>
              <a:solidFill>
                <a:srgbClr val="E6E5E5"/>
              </a:solidFill>
            </c:spPr>
            <c:extLst>
              <c:ext xmlns:c16="http://schemas.microsoft.com/office/drawing/2014/chart" uri="{C3380CC4-5D6E-409C-BE32-E72D297353CC}">
                <c16:uniqueId val="{0000005D-902D-4251-AC41-C6D4CBCA5CD6}"/>
              </c:ext>
            </c:extLst>
          </c:dPt>
          <c:dPt>
            <c:idx val="47"/>
            <c:invertIfNegative val="1"/>
            <c:bubble3D val="0"/>
            <c:spPr>
              <a:solidFill>
                <a:srgbClr val="E6E5E5"/>
              </a:solidFill>
            </c:spPr>
            <c:extLst>
              <c:ext xmlns:c16="http://schemas.microsoft.com/office/drawing/2014/chart" uri="{C3380CC4-5D6E-409C-BE32-E72D297353CC}">
                <c16:uniqueId val="{0000005F-902D-4251-AC41-C6D4CBCA5CD6}"/>
              </c:ext>
            </c:extLst>
          </c:dPt>
          <c:dPt>
            <c:idx val="48"/>
            <c:invertIfNegative val="1"/>
            <c:bubble3D val="0"/>
            <c:spPr>
              <a:solidFill>
                <a:srgbClr val="E6E5E5"/>
              </a:solidFill>
            </c:spPr>
            <c:extLst>
              <c:ext xmlns:c16="http://schemas.microsoft.com/office/drawing/2014/chart" uri="{C3380CC4-5D6E-409C-BE32-E72D297353CC}">
                <c16:uniqueId val="{00000061-902D-4251-AC41-C6D4CBCA5CD6}"/>
              </c:ext>
            </c:extLst>
          </c:dPt>
          <c:dPt>
            <c:idx val="49"/>
            <c:invertIfNegative val="0"/>
            <c:bubble3D val="0"/>
            <c:spPr>
              <a:solidFill>
                <a:srgbClr val="E6E5E5"/>
              </a:solidFill>
              <a:ln>
                <a:noFill/>
              </a:ln>
              <a:effectLst/>
            </c:spPr>
            <c:extLst>
              <c:ext xmlns:c16="http://schemas.microsoft.com/office/drawing/2014/chart" uri="{C3380CC4-5D6E-409C-BE32-E72D297353CC}">
                <c16:uniqueId val="{00000063-902D-4251-AC41-C6D4CBCA5CD6}"/>
              </c:ext>
            </c:extLst>
          </c:dPt>
          <c:dPt>
            <c:idx val="50"/>
            <c:invertIfNegative val="0"/>
            <c:bubble3D val="0"/>
            <c:spPr>
              <a:solidFill>
                <a:srgbClr val="E6E5E5"/>
              </a:solidFill>
              <a:ln>
                <a:noFill/>
              </a:ln>
              <a:effectLst/>
            </c:spPr>
            <c:extLst>
              <c:ext xmlns:c16="http://schemas.microsoft.com/office/drawing/2014/chart" uri="{C3380CC4-5D6E-409C-BE32-E72D297353CC}">
                <c16:uniqueId val="{00000065-902D-4251-AC41-C6D4CBCA5CD6}"/>
              </c:ext>
            </c:extLst>
          </c:dPt>
          <c:dPt>
            <c:idx val="51"/>
            <c:invertIfNegative val="1"/>
            <c:bubble3D val="0"/>
            <c:spPr>
              <a:solidFill>
                <a:srgbClr val="E6E5E5"/>
              </a:solidFill>
            </c:spPr>
            <c:extLst>
              <c:ext xmlns:c16="http://schemas.microsoft.com/office/drawing/2014/chart" uri="{C3380CC4-5D6E-409C-BE32-E72D297353CC}">
                <c16:uniqueId val="{00000067-902D-4251-AC41-C6D4CBCA5CD6}"/>
              </c:ext>
            </c:extLst>
          </c:dPt>
          <c:dPt>
            <c:idx val="52"/>
            <c:invertIfNegative val="1"/>
            <c:bubble3D val="0"/>
            <c:spPr>
              <a:solidFill>
                <a:srgbClr val="E6E5E5"/>
              </a:solidFill>
            </c:spPr>
            <c:extLst>
              <c:ext xmlns:c16="http://schemas.microsoft.com/office/drawing/2014/chart" uri="{C3380CC4-5D6E-409C-BE32-E72D297353CC}">
                <c16:uniqueId val="{00000069-902D-4251-AC41-C6D4CBCA5CD6}"/>
              </c:ext>
            </c:extLst>
          </c:dPt>
          <c:dPt>
            <c:idx val="53"/>
            <c:invertIfNegative val="1"/>
            <c:bubble3D val="0"/>
            <c:spPr>
              <a:solidFill>
                <a:srgbClr val="E6E5E5"/>
              </a:solidFill>
            </c:spPr>
            <c:extLst>
              <c:ext xmlns:c16="http://schemas.microsoft.com/office/drawing/2014/chart" uri="{C3380CC4-5D6E-409C-BE32-E72D297353CC}">
                <c16:uniqueId val="{0000006B-B2E8-4080-83D6-EECA18439E6A}"/>
              </c:ext>
            </c:extLst>
          </c:dPt>
          <c:dPt>
            <c:idx val="54"/>
            <c:invertIfNegative val="1"/>
            <c:bubble3D val="0"/>
            <c:spPr>
              <a:solidFill>
                <a:srgbClr val="E6E5E5"/>
              </a:solidFill>
            </c:spPr>
            <c:extLst>
              <c:ext xmlns:c16="http://schemas.microsoft.com/office/drawing/2014/chart" uri="{C3380CC4-5D6E-409C-BE32-E72D297353CC}">
                <c16:uniqueId val="{0000006D-B2E8-4080-83D6-EECA18439E6A}"/>
              </c:ext>
            </c:extLst>
          </c:dPt>
          <c:dPt>
            <c:idx val="55"/>
            <c:invertIfNegative val="1"/>
            <c:bubble3D val="0"/>
            <c:spPr>
              <a:solidFill>
                <a:srgbClr val="E6E5E5"/>
              </a:solidFill>
            </c:spPr>
            <c:extLst>
              <c:ext xmlns:c16="http://schemas.microsoft.com/office/drawing/2014/chart" uri="{C3380CC4-5D6E-409C-BE32-E72D297353CC}">
                <c16:uniqueId val="{0000006F-B2E8-4080-83D6-EECA18439E6A}"/>
              </c:ext>
            </c:extLst>
          </c:dPt>
          <c:dPt>
            <c:idx val="56"/>
            <c:invertIfNegative val="1"/>
            <c:bubble3D val="0"/>
            <c:spPr>
              <a:solidFill>
                <a:srgbClr val="E6E5E5"/>
              </a:solidFill>
            </c:spPr>
            <c:extLst>
              <c:ext xmlns:c16="http://schemas.microsoft.com/office/drawing/2014/chart" uri="{C3380CC4-5D6E-409C-BE32-E72D297353CC}">
                <c16:uniqueId val="{00000071-B2E8-4080-83D6-EECA18439E6A}"/>
              </c:ext>
            </c:extLst>
          </c:dPt>
          <c:dPt>
            <c:idx val="57"/>
            <c:invertIfNegative val="1"/>
            <c:bubble3D val="0"/>
            <c:spPr>
              <a:solidFill>
                <a:srgbClr val="E6E5E5"/>
              </a:solidFill>
            </c:spPr>
            <c:extLst>
              <c:ext xmlns:c16="http://schemas.microsoft.com/office/drawing/2014/chart" uri="{C3380CC4-5D6E-409C-BE32-E72D297353CC}">
                <c16:uniqueId val="{00000073-B2E8-4080-83D6-EECA18439E6A}"/>
              </c:ext>
            </c:extLst>
          </c:dPt>
          <c:dPt>
            <c:idx val="58"/>
            <c:invertIfNegative val="1"/>
            <c:bubble3D val="0"/>
            <c:spPr>
              <a:solidFill>
                <a:srgbClr val="E6E5E5"/>
              </a:solidFill>
            </c:spPr>
            <c:extLst>
              <c:ext xmlns:c16="http://schemas.microsoft.com/office/drawing/2014/chart" uri="{C3380CC4-5D6E-409C-BE32-E72D297353CC}">
                <c16:uniqueId val="{00000075-B2E8-4080-83D6-EECA18439E6A}"/>
              </c:ext>
            </c:extLst>
          </c:dPt>
          <c:dPt>
            <c:idx val="59"/>
            <c:invertIfNegative val="1"/>
            <c:bubble3D val="0"/>
            <c:spPr>
              <a:solidFill>
                <a:srgbClr val="E6E5E5"/>
              </a:solidFill>
            </c:spPr>
            <c:extLst>
              <c:ext xmlns:c16="http://schemas.microsoft.com/office/drawing/2014/chart" uri="{C3380CC4-5D6E-409C-BE32-E72D297353CC}">
                <c16:uniqueId val="{00000077-B2E8-4080-83D6-EECA18439E6A}"/>
              </c:ext>
            </c:extLst>
          </c:dPt>
          <c:dPt>
            <c:idx val="60"/>
            <c:invertIfNegative val="1"/>
            <c:bubble3D val="0"/>
            <c:spPr>
              <a:solidFill>
                <a:srgbClr val="E6E5E5"/>
              </a:solidFill>
            </c:spPr>
            <c:extLst>
              <c:ext xmlns:c16="http://schemas.microsoft.com/office/drawing/2014/chart" uri="{C3380CC4-5D6E-409C-BE32-E72D297353CC}">
                <c16:uniqueId val="{00000079-B2E8-4080-83D6-EECA18439E6A}"/>
              </c:ext>
            </c:extLst>
          </c:dPt>
          <c:dPt>
            <c:idx val="61"/>
            <c:invertIfNegative val="1"/>
            <c:bubble3D val="0"/>
            <c:spPr>
              <a:solidFill>
                <a:srgbClr val="E6E5E5"/>
              </a:solidFill>
            </c:spPr>
            <c:extLst>
              <c:ext xmlns:c16="http://schemas.microsoft.com/office/drawing/2014/chart" uri="{C3380CC4-5D6E-409C-BE32-E72D297353CC}">
                <c16:uniqueId val="{0000007B-B2E8-4080-83D6-EECA18439E6A}"/>
              </c:ext>
            </c:extLst>
          </c:dPt>
          <c:dPt>
            <c:idx val="62"/>
            <c:invertIfNegative val="1"/>
            <c:bubble3D val="0"/>
            <c:spPr>
              <a:solidFill>
                <a:srgbClr val="E6E5E5"/>
              </a:solidFill>
            </c:spPr>
            <c:extLst>
              <c:ext xmlns:c16="http://schemas.microsoft.com/office/drawing/2014/chart" uri="{C3380CC4-5D6E-409C-BE32-E72D297353CC}">
                <c16:uniqueId val="{0000007D-B2E8-4080-83D6-EECA18439E6A}"/>
              </c:ext>
            </c:extLst>
          </c:dPt>
          <c:dPt>
            <c:idx val="63"/>
            <c:invertIfNegative val="1"/>
            <c:bubble3D val="0"/>
            <c:spPr>
              <a:solidFill>
                <a:srgbClr val="E6E5E5"/>
              </a:solidFill>
            </c:spPr>
            <c:extLst>
              <c:ext xmlns:c16="http://schemas.microsoft.com/office/drawing/2014/chart" uri="{C3380CC4-5D6E-409C-BE32-E72D297353CC}">
                <c16:uniqueId val="{0000007F-B2E8-4080-83D6-EECA18439E6A}"/>
              </c:ext>
            </c:extLst>
          </c:dPt>
          <c:dPt>
            <c:idx val="64"/>
            <c:invertIfNegative val="1"/>
            <c:bubble3D val="0"/>
            <c:spPr>
              <a:solidFill>
                <a:srgbClr val="E6E5E5"/>
              </a:solidFill>
            </c:spPr>
            <c:extLst>
              <c:ext xmlns:c16="http://schemas.microsoft.com/office/drawing/2014/chart" uri="{C3380CC4-5D6E-409C-BE32-E72D297353CC}">
                <c16:uniqueId val="{00000081-B2E8-4080-83D6-EECA18439E6A}"/>
              </c:ext>
            </c:extLst>
          </c:dPt>
          <c:dPt>
            <c:idx val="65"/>
            <c:invertIfNegative val="1"/>
            <c:bubble3D val="0"/>
            <c:spPr>
              <a:solidFill>
                <a:srgbClr val="E6E5E5"/>
              </a:solidFill>
            </c:spPr>
            <c:extLst>
              <c:ext xmlns:c16="http://schemas.microsoft.com/office/drawing/2014/chart" uri="{C3380CC4-5D6E-409C-BE32-E72D297353CC}">
                <c16:uniqueId val="{00000083-B2E8-4080-83D6-EECA18439E6A}"/>
              </c:ext>
            </c:extLst>
          </c:dPt>
          <c:dPt>
            <c:idx val="66"/>
            <c:invertIfNegative val="1"/>
            <c:bubble3D val="0"/>
            <c:spPr>
              <a:solidFill>
                <a:srgbClr val="E6E5E5"/>
              </a:solidFill>
            </c:spPr>
            <c:extLst>
              <c:ext xmlns:c16="http://schemas.microsoft.com/office/drawing/2014/chart" uri="{C3380CC4-5D6E-409C-BE32-E72D297353CC}">
                <c16:uniqueId val="{00000085-B2E8-4080-83D6-EECA18439E6A}"/>
              </c:ext>
            </c:extLst>
          </c:dPt>
          <c:dPt>
            <c:idx val="67"/>
            <c:invertIfNegative val="1"/>
            <c:bubble3D val="0"/>
            <c:spPr>
              <a:solidFill>
                <a:srgbClr val="E6E5E5"/>
              </a:solidFill>
            </c:spPr>
            <c:extLst>
              <c:ext xmlns:c16="http://schemas.microsoft.com/office/drawing/2014/chart" uri="{C3380CC4-5D6E-409C-BE32-E72D297353CC}">
                <c16:uniqueId val="{00000087-B2E8-4080-83D6-EECA18439E6A}"/>
              </c:ext>
            </c:extLst>
          </c:dPt>
          <c:dPt>
            <c:idx val="68"/>
            <c:invertIfNegative val="1"/>
            <c:bubble3D val="0"/>
            <c:spPr>
              <a:solidFill>
                <a:srgbClr val="E6E5E5"/>
              </a:solidFill>
            </c:spPr>
            <c:extLst>
              <c:ext xmlns:c16="http://schemas.microsoft.com/office/drawing/2014/chart" uri="{C3380CC4-5D6E-409C-BE32-E72D297353CC}">
                <c16:uniqueId val="{00000089-B2E8-4080-83D6-EECA18439E6A}"/>
              </c:ext>
            </c:extLst>
          </c:dPt>
          <c:dPt>
            <c:idx val="69"/>
            <c:invertIfNegative val="1"/>
            <c:bubble3D val="0"/>
            <c:spPr>
              <a:solidFill>
                <a:srgbClr val="E6E5E5"/>
              </a:solidFill>
            </c:spPr>
            <c:extLst>
              <c:ext xmlns:c16="http://schemas.microsoft.com/office/drawing/2014/chart" uri="{C3380CC4-5D6E-409C-BE32-E72D297353CC}">
                <c16:uniqueId val="{0000008B-B2E8-4080-83D6-EECA18439E6A}"/>
              </c:ext>
            </c:extLst>
          </c:dPt>
          <c:dPt>
            <c:idx val="70"/>
            <c:invertIfNegative val="1"/>
            <c:bubble3D val="0"/>
            <c:spPr>
              <a:solidFill>
                <a:srgbClr val="E6E5E5"/>
              </a:solidFill>
            </c:spPr>
            <c:extLst>
              <c:ext xmlns:c16="http://schemas.microsoft.com/office/drawing/2014/chart" uri="{C3380CC4-5D6E-409C-BE32-E72D297353CC}">
                <c16:uniqueId val="{0000008D-B2E8-4080-83D6-EECA18439E6A}"/>
              </c:ext>
            </c:extLst>
          </c:dPt>
          <c:dPt>
            <c:idx val="71"/>
            <c:invertIfNegative val="1"/>
            <c:bubble3D val="0"/>
            <c:spPr>
              <a:solidFill>
                <a:srgbClr val="E6E5E5"/>
              </a:solidFill>
            </c:spPr>
            <c:extLst>
              <c:ext xmlns:c16="http://schemas.microsoft.com/office/drawing/2014/chart" uri="{C3380CC4-5D6E-409C-BE32-E72D297353CC}">
                <c16:uniqueId val="{0000008F-B2E8-4080-83D6-EECA18439E6A}"/>
              </c:ext>
            </c:extLst>
          </c:dPt>
          <c:dPt>
            <c:idx val="72"/>
            <c:invertIfNegative val="1"/>
            <c:bubble3D val="0"/>
            <c:spPr>
              <a:solidFill>
                <a:srgbClr val="E6E5E5"/>
              </a:solidFill>
            </c:spPr>
            <c:extLst>
              <c:ext xmlns:c16="http://schemas.microsoft.com/office/drawing/2014/chart" uri="{C3380CC4-5D6E-409C-BE32-E72D297353CC}">
                <c16:uniqueId val="{00000091-B2E8-4080-83D6-EECA18439E6A}"/>
              </c:ext>
            </c:extLst>
          </c:dPt>
          <c:dPt>
            <c:idx val="73"/>
            <c:invertIfNegative val="1"/>
            <c:bubble3D val="0"/>
            <c:spPr>
              <a:solidFill>
                <a:srgbClr val="E6E5E5"/>
              </a:solidFill>
            </c:spPr>
            <c:extLst>
              <c:ext xmlns:c16="http://schemas.microsoft.com/office/drawing/2014/chart" uri="{C3380CC4-5D6E-409C-BE32-E72D297353CC}">
                <c16:uniqueId val="{00000093-B2E8-4080-83D6-EECA18439E6A}"/>
              </c:ext>
            </c:extLst>
          </c:dPt>
          <c:dPt>
            <c:idx val="74"/>
            <c:invertIfNegative val="1"/>
            <c:bubble3D val="0"/>
            <c:spPr>
              <a:solidFill>
                <a:srgbClr val="E6E5E5"/>
              </a:solidFill>
            </c:spPr>
            <c:extLst>
              <c:ext xmlns:c16="http://schemas.microsoft.com/office/drawing/2014/chart" uri="{C3380CC4-5D6E-409C-BE32-E72D297353CC}">
                <c16:uniqueId val="{00000095-B2E8-4080-83D6-EECA18439E6A}"/>
              </c:ext>
            </c:extLst>
          </c:dPt>
          <c:dPt>
            <c:idx val="75"/>
            <c:invertIfNegative val="1"/>
            <c:bubble3D val="0"/>
            <c:spPr>
              <a:solidFill>
                <a:srgbClr val="E6E5E5"/>
              </a:solidFill>
            </c:spPr>
            <c:extLst>
              <c:ext xmlns:c16="http://schemas.microsoft.com/office/drawing/2014/chart" uri="{C3380CC4-5D6E-409C-BE32-E72D297353CC}">
                <c16:uniqueId val="{00000097-B2E8-4080-83D6-EECA18439E6A}"/>
              </c:ext>
            </c:extLst>
          </c:dPt>
          <c:dPt>
            <c:idx val="76"/>
            <c:invertIfNegative val="1"/>
            <c:bubble3D val="0"/>
            <c:spPr>
              <a:solidFill>
                <a:srgbClr val="E6E5E5"/>
              </a:solidFill>
            </c:spPr>
            <c:extLst>
              <c:ext xmlns:c16="http://schemas.microsoft.com/office/drawing/2014/chart" uri="{C3380CC4-5D6E-409C-BE32-E72D297353CC}">
                <c16:uniqueId val="{00000099-B2E8-4080-83D6-EECA18439E6A}"/>
              </c:ext>
            </c:extLst>
          </c:dPt>
          <c:dPt>
            <c:idx val="77"/>
            <c:invertIfNegative val="1"/>
            <c:bubble3D val="0"/>
            <c:spPr>
              <a:solidFill>
                <a:srgbClr val="E6E5E5"/>
              </a:solidFill>
            </c:spPr>
            <c:extLst>
              <c:ext xmlns:c16="http://schemas.microsoft.com/office/drawing/2014/chart" uri="{C3380CC4-5D6E-409C-BE32-E72D297353CC}">
                <c16:uniqueId val="{0000009B-B2E8-4080-83D6-EECA18439E6A}"/>
              </c:ext>
            </c:extLst>
          </c:dPt>
          <c:dPt>
            <c:idx val="78"/>
            <c:invertIfNegative val="1"/>
            <c:bubble3D val="0"/>
            <c:spPr>
              <a:solidFill>
                <a:srgbClr val="E6E5E5"/>
              </a:solidFill>
            </c:spPr>
            <c:extLst>
              <c:ext xmlns:c16="http://schemas.microsoft.com/office/drawing/2014/chart" uri="{C3380CC4-5D6E-409C-BE32-E72D297353CC}">
                <c16:uniqueId val="{0000009D-B2E8-4080-83D6-EECA18439E6A}"/>
              </c:ext>
            </c:extLst>
          </c:dPt>
          <c:dPt>
            <c:idx val="79"/>
            <c:invertIfNegative val="1"/>
            <c:bubble3D val="0"/>
            <c:spPr>
              <a:solidFill>
                <a:srgbClr val="E6E5E5"/>
              </a:solidFill>
            </c:spPr>
            <c:extLst>
              <c:ext xmlns:c16="http://schemas.microsoft.com/office/drawing/2014/chart" uri="{C3380CC4-5D6E-409C-BE32-E72D297353CC}">
                <c16:uniqueId val="{0000009F-B2E8-4080-83D6-EECA18439E6A}"/>
              </c:ext>
            </c:extLst>
          </c:dPt>
          <c:dPt>
            <c:idx val="80"/>
            <c:invertIfNegative val="1"/>
            <c:bubble3D val="0"/>
            <c:spPr>
              <a:solidFill>
                <a:srgbClr val="E6E5E5"/>
              </a:solidFill>
            </c:spPr>
            <c:extLst>
              <c:ext xmlns:c16="http://schemas.microsoft.com/office/drawing/2014/chart" uri="{C3380CC4-5D6E-409C-BE32-E72D297353CC}">
                <c16:uniqueId val="{000000A1-B2E8-4080-83D6-EECA18439E6A}"/>
              </c:ext>
            </c:extLst>
          </c:dPt>
          <c:dPt>
            <c:idx val="81"/>
            <c:invertIfNegative val="1"/>
            <c:bubble3D val="0"/>
            <c:spPr>
              <a:solidFill>
                <a:srgbClr val="E6E5E5"/>
              </a:solidFill>
            </c:spPr>
            <c:extLst>
              <c:ext xmlns:c16="http://schemas.microsoft.com/office/drawing/2014/chart" uri="{C3380CC4-5D6E-409C-BE32-E72D297353CC}">
                <c16:uniqueId val="{000000A3-B2E8-4080-83D6-EECA18439E6A}"/>
              </c:ext>
            </c:extLst>
          </c:dPt>
          <c:dPt>
            <c:idx val="82"/>
            <c:invertIfNegative val="1"/>
            <c:bubble3D val="0"/>
            <c:spPr>
              <a:solidFill>
                <a:srgbClr val="E6E5E5"/>
              </a:solidFill>
            </c:spPr>
            <c:extLst>
              <c:ext xmlns:c16="http://schemas.microsoft.com/office/drawing/2014/chart" uri="{C3380CC4-5D6E-409C-BE32-E72D297353CC}">
                <c16:uniqueId val="{000000A5-B2E8-4080-83D6-EECA18439E6A}"/>
              </c:ext>
            </c:extLst>
          </c:dPt>
          <c:dPt>
            <c:idx val="83"/>
            <c:invertIfNegative val="1"/>
            <c:bubble3D val="0"/>
            <c:spPr>
              <a:solidFill>
                <a:srgbClr val="E6E5E5"/>
              </a:solidFill>
            </c:spPr>
            <c:extLst>
              <c:ext xmlns:c16="http://schemas.microsoft.com/office/drawing/2014/chart" uri="{C3380CC4-5D6E-409C-BE32-E72D297353CC}">
                <c16:uniqueId val="{000000A7-B2E8-4080-83D6-EECA18439E6A}"/>
              </c:ext>
            </c:extLst>
          </c:dPt>
          <c:dPt>
            <c:idx val="84"/>
            <c:invertIfNegative val="1"/>
            <c:bubble3D val="0"/>
            <c:spPr>
              <a:solidFill>
                <a:srgbClr val="E6E5E5"/>
              </a:solidFill>
            </c:spPr>
            <c:extLst>
              <c:ext xmlns:c16="http://schemas.microsoft.com/office/drawing/2014/chart" uri="{C3380CC4-5D6E-409C-BE32-E72D297353CC}">
                <c16:uniqueId val="{000000A9-B2E8-4080-83D6-EECA18439E6A}"/>
              </c:ext>
            </c:extLst>
          </c:dPt>
          <c:dPt>
            <c:idx val="85"/>
            <c:invertIfNegative val="1"/>
            <c:bubble3D val="0"/>
            <c:spPr>
              <a:solidFill>
                <a:srgbClr val="E6E5E5"/>
              </a:solidFill>
            </c:spPr>
            <c:extLst>
              <c:ext xmlns:c16="http://schemas.microsoft.com/office/drawing/2014/chart" uri="{C3380CC4-5D6E-409C-BE32-E72D297353CC}">
                <c16:uniqueId val="{000000AB-B2E8-4080-83D6-EECA18439E6A}"/>
              </c:ext>
            </c:extLst>
          </c:dPt>
          <c:dPt>
            <c:idx val="86"/>
            <c:invertIfNegative val="1"/>
            <c:bubble3D val="0"/>
            <c:spPr>
              <a:solidFill>
                <a:srgbClr val="E6E5E5"/>
              </a:solidFill>
            </c:spPr>
            <c:extLst>
              <c:ext xmlns:c16="http://schemas.microsoft.com/office/drawing/2014/chart" uri="{C3380CC4-5D6E-409C-BE32-E72D297353CC}">
                <c16:uniqueId val="{000000AD-B2E8-4080-83D6-EECA18439E6A}"/>
              </c:ext>
            </c:extLst>
          </c:dPt>
          <c:dPt>
            <c:idx val="87"/>
            <c:invertIfNegative val="1"/>
            <c:bubble3D val="0"/>
            <c:spPr>
              <a:solidFill>
                <a:srgbClr val="E6E5E5"/>
              </a:solidFill>
            </c:spPr>
            <c:extLst>
              <c:ext xmlns:c16="http://schemas.microsoft.com/office/drawing/2014/chart" uri="{C3380CC4-5D6E-409C-BE32-E72D297353CC}">
                <c16:uniqueId val="{000000AF-B2E8-4080-83D6-EECA18439E6A}"/>
              </c:ext>
            </c:extLst>
          </c:dPt>
          <c:dPt>
            <c:idx val="88"/>
            <c:invertIfNegative val="1"/>
            <c:bubble3D val="0"/>
            <c:spPr>
              <a:solidFill>
                <a:srgbClr val="E6E5E5"/>
              </a:solidFill>
            </c:spPr>
            <c:extLst>
              <c:ext xmlns:c16="http://schemas.microsoft.com/office/drawing/2014/chart" uri="{C3380CC4-5D6E-409C-BE32-E72D297353CC}">
                <c16:uniqueId val="{000000B1-B2E8-4080-83D6-EECA18439E6A}"/>
              </c:ext>
            </c:extLst>
          </c:dPt>
          <c:dPt>
            <c:idx val="89"/>
            <c:invertIfNegative val="1"/>
            <c:bubble3D val="0"/>
            <c:spPr>
              <a:solidFill>
                <a:srgbClr val="E6E5E5"/>
              </a:solidFill>
            </c:spPr>
            <c:extLst>
              <c:ext xmlns:c16="http://schemas.microsoft.com/office/drawing/2014/chart" uri="{C3380CC4-5D6E-409C-BE32-E72D297353CC}">
                <c16:uniqueId val="{000000B3-B2E8-4080-83D6-EECA18439E6A}"/>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902D-4251-AC41-C6D4CBCA5CD6}"/>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902D-4251-AC41-C6D4CBCA5CD6}"/>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902D-4251-AC41-C6D4CBCA5CD6}"/>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902D-4251-AC41-C6D4CBCA5CD6}"/>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902D-4251-AC41-C6D4CBCA5CD6}"/>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902D-4251-AC41-C6D4CBCA5CD6}"/>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902D-4251-AC41-C6D4CBCA5CD6}"/>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902D-4251-AC41-C6D4CBCA5CD6}"/>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902D-4251-AC41-C6D4CBCA5CD6}"/>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02D-4251-AC41-C6D4CBCA5CD6}"/>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02D-4251-AC41-C6D4CBCA5CD6}"/>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902D-4251-AC41-C6D4CBCA5CD6}"/>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902D-4251-AC41-C6D4CBCA5CD6}"/>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902D-4251-AC41-C6D4CBCA5CD6}"/>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902D-4251-AC41-C6D4CBCA5CD6}"/>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902D-4251-AC41-C6D4CBCA5CD6}"/>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902D-4251-AC41-C6D4CBCA5CD6}"/>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902D-4251-AC41-C6D4CBCA5CD6}"/>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902D-4251-AC41-C6D4CBCA5CD6}"/>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902D-4251-AC41-C6D4CBCA5CD6}"/>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902D-4251-AC41-C6D4CBCA5CD6}"/>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902D-4251-AC41-C6D4CBCA5CD6}"/>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902D-4251-AC41-C6D4CBCA5CD6}"/>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902D-4251-AC41-C6D4CBCA5CD6}"/>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902D-4251-AC41-C6D4CBCA5CD6}"/>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902D-4251-AC41-C6D4CBCA5CD6}"/>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902D-4251-AC41-C6D4CBCA5CD6}"/>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902D-4251-AC41-C6D4CBCA5CD6}"/>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902D-4251-AC41-C6D4CBCA5CD6}"/>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902D-4251-AC41-C6D4CBCA5CD6}"/>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902D-4251-AC41-C6D4CBCA5CD6}"/>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902D-4251-AC41-C6D4CBCA5CD6}"/>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902D-4251-AC41-C6D4CBCA5CD6}"/>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902D-4251-AC41-C6D4CBCA5CD6}"/>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902D-4251-AC41-C6D4CBCA5CD6}"/>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902D-4251-AC41-C6D4CBCA5CD6}"/>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902D-4251-AC41-C6D4CBCA5CD6}"/>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902D-4251-AC41-C6D4CBCA5CD6}"/>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902D-4251-AC41-C6D4CBCA5CD6}"/>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902D-4251-AC41-C6D4CBCA5CD6}"/>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902D-4251-AC41-C6D4CBCA5CD6}"/>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902D-4251-AC41-C6D4CBCA5CD6}"/>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902D-4251-AC41-C6D4CBCA5CD6}"/>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902D-4251-AC41-C6D4CBCA5CD6}"/>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902D-4251-AC41-C6D4CBCA5CD6}"/>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902D-4251-AC41-C6D4CBCA5CD6}"/>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902D-4251-AC41-C6D4CBCA5CD6}"/>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902D-4251-AC41-C6D4CBCA5CD6}"/>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902D-4251-AC41-C6D4CBCA5CD6}"/>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902D-4251-AC41-C6D4CBCA5CD6}"/>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902D-4251-AC41-C6D4CBCA5CD6}"/>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902D-4251-AC41-C6D4CBCA5CD6}"/>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902D-4251-AC41-C6D4CBCA5CD6}"/>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B2E8-4080-83D6-EECA18439E6A}"/>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B2E8-4080-83D6-EECA18439E6A}"/>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B2E8-4080-83D6-EECA18439E6A}"/>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B2E8-4080-83D6-EECA18439E6A}"/>
                </c:ext>
              </c:extLst>
            </c:dLbl>
            <c:dLbl>
              <c:idx val="5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B2E8-4080-83D6-EECA18439E6A}"/>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B2E8-4080-83D6-EECA18439E6A}"/>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B2E8-4080-83D6-EECA18439E6A}"/>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B2E8-4080-83D6-EECA18439E6A}"/>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B2E8-4080-83D6-EECA18439E6A}"/>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B2E8-4080-83D6-EECA18439E6A}"/>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B2E8-4080-83D6-EECA18439E6A}"/>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B2E8-4080-83D6-EECA18439E6A}"/>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B2E8-4080-83D6-EECA18439E6A}"/>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B2E8-4080-83D6-EECA18439E6A}"/>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B2E8-4080-83D6-EECA18439E6A}"/>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B2E8-4080-83D6-EECA18439E6A}"/>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B2E8-4080-83D6-EECA18439E6A}"/>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B2E8-4080-83D6-EECA18439E6A}"/>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B2E8-4080-83D6-EECA18439E6A}"/>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B2E8-4080-83D6-EECA18439E6A}"/>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B2E8-4080-83D6-EECA18439E6A}"/>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B2E8-4080-83D6-EECA18439E6A}"/>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B2E8-4080-83D6-EECA18439E6A}"/>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B2E8-4080-83D6-EECA18439E6A}"/>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B2E8-4080-83D6-EECA18439E6A}"/>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B2E8-4080-83D6-EECA18439E6A}"/>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B2E8-4080-83D6-EECA18439E6A}"/>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B2E8-4080-83D6-EECA18439E6A}"/>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B2E8-4080-83D6-EECA18439E6A}"/>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B2E8-4080-83D6-EECA18439E6A}"/>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B2E8-4080-83D6-EECA18439E6A}"/>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B2E8-4080-83D6-EECA18439E6A}"/>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B2E8-4080-83D6-EECA18439E6A}"/>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B2E8-4080-83D6-EECA18439E6A}"/>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B2E8-4080-83D6-EECA18439E6A}"/>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B2E8-4080-83D6-EECA18439E6A}"/>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9</c:f>
              <c:strCache>
                <c:ptCount val="78"/>
                <c:pt idx="0">
                  <c:v>Galaxy Jewels 1.4kg</c:v>
                </c:pt>
                <c:pt idx="1">
                  <c:v>Ferrero Rocher 300g</c:v>
                </c:pt>
                <c:pt idx="2">
                  <c:v>Galaxy Smooth Milk Chocolate 36g x 24</c:v>
                </c:pt>
                <c:pt idx="3">
                  <c:v>Galaxy Jewels 900g</c:v>
                </c:pt>
                <c:pt idx="4">
                  <c:v>Galaxy Jewels 650g</c:v>
                </c:pt>
                <c:pt idx="5">
                  <c:v>Cadbury Dairy Milk Minis Selection 500g</c:v>
                </c:pt>
                <c:pt idx="6">
                  <c:v>Kit Kat 17.7g x 18</c:v>
                </c:pt>
                <c:pt idx="7">
                  <c:v>Kinder Bueno Milk&amp;Hazelnut 43g</c:v>
                </c:pt>
                <c:pt idx="8">
                  <c:v>Tiffany Break Supa 38gx12</c:v>
                </c:pt>
                <c:pt idx="9">
                  <c:v>Snickers 50gx6</c:v>
                </c:pt>
                <c:pt idx="10">
                  <c:v>Tiffany Break 24x15.5g</c:v>
                </c:pt>
                <c:pt idx="11">
                  <c:v>Tiffany Break Mini Fun 384g</c:v>
                </c:pt>
                <c:pt idx="12">
                  <c:v>Kinder Bueno Milk&amp;Hazelnut 43gx10</c:v>
                </c:pt>
                <c:pt idx="13">
                  <c:v>Mackintosh Quality Street Chocolate 600g</c:v>
                </c:pt>
                <c:pt idx="14">
                  <c:v>Snickers Bar 50g</c:v>
                </c:pt>
                <c:pt idx="15">
                  <c:v>Maltesers Chocolate 175g</c:v>
                </c:pt>
                <c:pt idx="16">
                  <c:v>Tiffany Break 31gx12</c:v>
                </c:pt>
                <c:pt idx="17">
                  <c:v>Tiffany Break Delight 25gx12</c:v>
                </c:pt>
                <c:pt idx="18">
                  <c:v>Snickers Minis Bag 252g</c:v>
                </c:pt>
                <c:pt idx="19">
                  <c:v>Cadbury Miniatures Box 400g</c:v>
                </c:pt>
                <c:pt idx="20">
                  <c:v>Bounty Bar 57g</c:v>
                </c:pt>
                <c:pt idx="21">
                  <c:v>Galaxy Smooth Milk Minis 237.5g</c:v>
                </c:pt>
                <c:pt idx="22">
                  <c:v>Bounty Bar 57g x 5</c:v>
                </c:pt>
                <c:pt idx="23">
                  <c:v>Kinder Maxi Chocolate 21gx11 (10+1)</c:v>
                </c:pt>
                <c:pt idx="24">
                  <c:v>Ferrero Rocher 200g</c:v>
                </c:pt>
                <c:pt idx="25">
                  <c:v>Ferrero Raffaello 150g box </c:v>
                </c:pt>
                <c:pt idx="26">
                  <c:v>Galaxy Hazelnut Minis 237.5g</c:v>
                </c:pt>
                <c:pt idx="27">
                  <c:v>Twix 50gx5</c:v>
                </c:pt>
                <c:pt idx="28">
                  <c:v>Twix Bar 50g</c:v>
                </c:pt>
                <c:pt idx="29">
                  <c:v>Maltesers Chocolate 37g</c:v>
                </c:pt>
                <c:pt idx="30">
                  <c:v>Snickers Miniatures 150g</c:v>
                </c:pt>
                <c:pt idx="31">
                  <c:v>Cadbury Flake Minis Bag 159.5g</c:v>
                </c:pt>
                <c:pt idx="32">
                  <c:v>M&amp;M's Peanut 165g</c:v>
                </c:pt>
                <c:pt idx="33">
                  <c:v>Twix Miniatures 150g</c:v>
                </c:pt>
                <c:pt idx="34">
                  <c:v>Cadbury Timeout Minis Wafer 247.2g</c:v>
                </c:pt>
                <c:pt idx="35">
                  <c:v>Toblerone Milk Chocolate 200g</c:v>
                </c:pt>
                <c:pt idx="36">
                  <c:v>Galaxy Smooth Milk Minis 162.5g</c:v>
                </c:pt>
                <c:pt idx="37">
                  <c:v>Mars 45g x 6</c:v>
                </c:pt>
                <c:pt idx="38">
                  <c:v>Bounty Miniatures 150g</c:v>
                </c:pt>
                <c:pt idx="39">
                  <c:v>Kinder Chocolate Bar 8x12.5g</c:v>
                </c:pt>
                <c:pt idx="40">
                  <c:v>Galaxy Smooth Dark Chocolate 40g</c:v>
                </c:pt>
                <c:pt idx="41">
                  <c:v>Mars Bar 51g </c:v>
                </c:pt>
                <c:pt idx="42">
                  <c:v>Hershey's Kisses Special Selection Assorted 325g</c:v>
                </c:pt>
                <c:pt idx="43">
                  <c:v>Galaxy Hazelnut Chocolate 36g</c:v>
                </c:pt>
                <c:pt idx="44">
                  <c:v>Galaxy Smooth Milk Chocolate 36g</c:v>
                </c:pt>
                <c:pt idx="45">
                  <c:v>Galaxy Caramel Bar 40g</c:v>
                </c:pt>
                <c:pt idx="46">
                  <c:v>Kinder Chocolate Bar 50g</c:v>
                </c:pt>
                <c:pt idx="47">
                  <c:v>Kinder Bueno White 39g</c:v>
                </c:pt>
                <c:pt idx="48">
                  <c:v>Hershey's Kisses Classic Selection Assorted 325g</c:v>
                </c:pt>
                <c:pt idx="49">
                  <c:v>Galaxy Crispy Milk Chocolate 36g</c:v>
                </c:pt>
                <c:pt idx="50">
                  <c:v> Reeses Peanut Butter Cup Mini 340g </c:v>
                </c:pt>
                <c:pt idx="51">
                  <c:v>Kit Kat 17.7g</c:v>
                </c:pt>
                <c:pt idx="52">
                  <c:v> Reeses Peanut Butter Cup 42g x 6</c:v>
                </c:pt>
                <c:pt idx="53">
                  <c:v>Reeses Peanut Butter Cups 46g</c:v>
                </c:pt>
                <c:pt idx="54">
                  <c:v>Reeses Peanut Butter Cup Mini 215g</c:v>
                </c:pt>
                <c:pt idx="55">
                  <c:v>M&amp;M's Milk Chocolate 30.6g</c:v>
                </c:pt>
                <c:pt idx="56">
                  <c:v>Godiva Double Chocolate Bar 35g</c:v>
                </c:pt>
                <c:pt idx="57">
                  <c:v>Galaxy Smooth Milk Chocolate 80g</c:v>
                </c:pt>
                <c:pt idx="58">
                  <c:v>Galaxy Ripple Bar 33g</c:v>
                </c:pt>
                <c:pt idx="59">
                  <c:v>Hershey's Chocobites Cookies 'n Creme 90g</c:v>
                </c:pt>
                <c:pt idx="60">
                  <c:v>Hershey's Kisses Special Selection Assorted 100g</c:v>
                </c:pt>
                <c:pt idx="61">
                  <c:v>Hershey's Chocobites Salted Caramel 81g</c:v>
                </c:pt>
                <c:pt idx="62">
                  <c:v>Hershey's Cookies N' Chocolate 40g</c:v>
                </c:pt>
                <c:pt idx="63">
                  <c:v>Reeses Block 90g</c:v>
                </c:pt>
                <c:pt idx="64">
                  <c:v>Reeses Nut Bar 47g</c:v>
                </c:pt>
                <c:pt idx="65">
                  <c:v>Hershey's Kisses Classic Selection Assorted 100g</c:v>
                </c:pt>
                <c:pt idx="66">
                  <c:v>Hershey's Cookies 'n Creme Creations Salted Caramel 38g</c:v>
                </c:pt>
                <c:pt idx="67">
                  <c:v>Hershey's Cookies N' Crème 12.76g</c:v>
                </c:pt>
                <c:pt idx="68">
                  <c:v> Reeses Wafer Sticks 42g</c:v>
                </c:pt>
                <c:pt idx="69">
                  <c:v>Hershey's Choco Tubes Cookies N' Creme 18g</c:v>
                </c:pt>
                <c:pt idx="70">
                  <c:v> Reeses Peanut Butter Cup Mini 500G</c:v>
                </c:pt>
                <c:pt idx="71">
                  <c:v>Reeses Pieces 180g</c:v>
                </c:pt>
                <c:pt idx="72">
                  <c:v>Reeses Mini King Size 71g</c:v>
                </c:pt>
                <c:pt idx="73">
                  <c:v>Hershey's Cookies 'n Creme Block 90g</c:v>
                </c:pt>
                <c:pt idx="74">
                  <c:v>Hersheys Kisses Classic Selection Assorted 600G</c:v>
                </c:pt>
                <c:pt idx="75">
                  <c:v>Hershey's Cookies 'n Creme 40Gx 4</c:v>
                </c:pt>
                <c:pt idx="76">
                  <c:v>Hershey's Variety Pack 40Gx3</c:v>
                </c:pt>
                <c:pt idx="77">
                  <c:v>Reeses Fast break 51g</c:v>
                </c:pt>
              </c:strCache>
            </c:strRef>
          </c:cat>
          <c:val>
            <c:numRef>
              <c:f>Sheet1!$B$2:$B$79</c:f>
              <c:numCache>
                <c:formatCode>General</c:formatCode>
                <c:ptCount val="78"/>
                <c:pt idx="0">
                  <c:v>8.7534810601232665E-2</c:v>
                </c:pt>
                <c:pt idx="1">
                  <c:v>5.7559500892221442E-2</c:v>
                </c:pt>
                <c:pt idx="2">
                  <c:v>5.2484576460387768E-2</c:v>
                </c:pt>
                <c:pt idx="3">
                  <c:v>5.2431668272041182E-2</c:v>
                </c:pt>
                <c:pt idx="4">
                  <c:v>4.868892335715206E-2</c:v>
                </c:pt>
                <c:pt idx="5">
                  <c:v>3.9883127665807053E-2</c:v>
                </c:pt>
                <c:pt idx="6">
                  <c:v>2.9310751584451511E-2</c:v>
                </c:pt>
                <c:pt idx="7">
                  <c:v>2.7693958481604788E-2</c:v>
                </c:pt>
                <c:pt idx="8">
                  <c:v>2.520913477236672E-2</c:v>
                </c:pt>
                <c:pt idx="9">
                  <c:v>2.4955217813546149E-2</c:v>
                </c:pt>
                <c:pt idx="10">
                  <c:v>2.4411629377003408E-2</c:v>
                </c:pt>
                <c:pt idx="11">
                  <c:v>2.432162347521807E-2</c:v>
                </c:pt>
                <c:pt idx="12">
                  <c:v>2.2631346863859841E-2</c:v>
                </c:pt>
                <c:pt idx="13">
                  <c:v>2.2425372973408079E-2</c:v>
                </c:pt>
                <c:pt idx="14">
                  <c:v>2.1309215636296241E-2</c:v>
                </c:pt>
                <c:pt idx="15">
                  <c:v>2.0959753622360241E-2</c:v>
                </c:pt>
                <c:pt idx="16">
                  <c:v>2.0800319571241239E-2</c:v>
                </c:pt>
                <c:pt idx="17">
                  <c:v>1.7970810967835201E-2</c:v>
                </c:pt>
                <c:pt idx="18">
                  <c:v>1.6850758622753849E-2</c:v>
                </c:pt>
                <c:pt idx="19">
                  <c:v>1.596269816570935E-2</c:v>
                </c:pt>
                <c:pt idx="20">
                  <c:v>1.5112238409568249E-2</c:v>
                </c:pt>
                <c:pt idx="21">
                  <c:v>1.461542990237732E-2</c:v>
                </c:pt>
                <c:pt idx="22">
                  <c:v>1.4334284118613001E-2</c:v>
                </c:pt>
                <c:pt idx="23">
                  <c:v>1.430940527615138E-2</c:v>
                </c:pt>
                <c:pt idx="24">
                  <c:v>1.4289080781313281E-2</c:v>
                </c:pt>
                <c:pt idx="25">
                  <c:v>1.403814668354727E-2</c:v>
                </c:pt>
                <c:pt idx="26">
                  <c:v>1.330105136333818E-2</c:v>
                </c:pt>
                <c:pt idx="27">
                  <c:v>1.279435495102535E-2</c:v>
                </c:pt>
                <c:pt idx="28">
                  <c:v>1.1555834851677259E-2</c:v>
                </c:pt>
                <c:pt idx="29">
                  <c:v>1.1353549481144559E-2</c:v>
                </c:pt>
                <c:pt idx="30">
                  <c:v>1.086773292425431E-2</c:v>
                </c:pt>
                <c:pt idx="31">
                  <c:v>1.0487758880938881E-2</c:v>
                </c:pt>
                <c:pt idx="32">
                  <c:v>1.043360818931305E-2</c:v>
                </c:pt>
                <c:pt idx="33">
                  <c:v>1.021010493667055E-2</c:v>
                </c:pt>
                <c:pt idx="34">
                  <c:v>1.0000357436865779E-2</c:v>
                </c:pt>
                <c:pt idx="35">
                  <c:v>9.6856196504729163E-3</c:v>
                </c:pt>
                <c:pt idx="36">
                  <c:v>9.406623878718887E-3</c:v>
                </c:pt>
                <c:pt idx="37">
                  <c:v>8.1035583272461749E-3</c:v>
                </c:pt>
                <c:pt idx="38">
                  <c:v>7.5495692266556828E-3</c:v>
                </c:pt>
                <c:pt idx="39">
                  <c:v>7.4420449325245048E-3</c:v>
                </c:pt>
                <c:pt idx="40">
                  <c:v>7.2277216112720663E-3</c:v>
                </c:pt>
                <c:pt idx="41">
                  <c:v>7.1673392735173798E-3</c:v>
                </c:pt>
                <c:pt idx="42">
                  <c:v>6.7869153080573506E-3</c:v>
                </c:pt>
                <c:pt idx="43">
                  <c:v>6.6451374901548904E-3</c:v>
                </c:pt>
                <c:pt idx="44">
                  <c:v>6.5885098340167552E-3</c:v>
                </c:pt>
                <c:pt idx="45">
                  <c:v>6.1118889102816784E-3</c:v>
                </c:pt>
                <c:pt idx="46">
                  <c:v>5.4493931229054396E-3</c:v>
                </c:pt>
                <c:pt idx="47">
                  <c:v>5.4360110602241834E-3</c:v>
                </c:pt>
                <c:pt idx="48">
                  <c:v>5.072109933842715E-3</c:v>
                </c:pt>
                <c:pt idx="49">
                  <c:v>4.8778405380791113E-3</c:v>
                </c:pt>
                <c:pt idx="50">
                  <c:v>4.8293537084955207E-3</c:v>
                </c:pt>
                <c:pt idx="51">
                  <c:v>4.756436351299226E-3</c:v>
                </c:pt>
                <c:pt idx="52">
                  <c:v>4.6147312769180401E-3</c:v>
                </c:pt>
                <c:pt idx="53">
                  <c:v>4.5051743706602341E-3</c:v>
                </c:pt>
                <c:pt idx="54">
                  <c:v>4.4076916789279564E-3</c:v>
                </c:pt>
                <c:pt idx="55">
                  <c:v>4.0239190321588224E-3</c:v>
                </c:pt>
                <c:pt idx="56">
                  <c:v>3.9206240800433037E-3</c:v>
                </c:pt>
                <c:pt idx="57">
                  <c:v>3.4990833523240289E-3</c:v>
                </c:pt>
                <c:pt idx="58">
                  <c:v>3.3187734201093398E-3</c:v>
                </c:pt>
                <c:pt idx="59">
                  <c:v>2.7137303220649859E-3</c:v>
                </c:pt>
                <c:pt idx="60">
                  <c:v>2.541702375438945E-3</c:v>
                </c:pt>
                <c:pt idx="61">
                  <c:v>2.4340625382641319E-3</c:v>
                </c:pt>
                <c:pt idx="62">
                  <c:v>2.4219716916852839E-3</c:v>
                </c:pt>
                <c:pt idx="63">
                  <c:v>2.1593638402186001E-3</c:v>
                </c:pt>
                <c:pt idx="64">
                  <c:v>1.6564163558322471E-3</c:v>
                </c:pt>
                <c:pt idx="65">
                  <c:v>1.534050800512053E-3</c:v>
                </c:pt>
                <c:pt idx="66">
                  <c:v>8.8861505707664911E-4</c:v>
                </c:pt>
                <c:pt idx="67">
                  <c:v>7.8139805979037706E-4</c:v>
                </c:pt>
                <c:pt idx="68">
                  <c:v>2.7164883385527279E-4</c:v>
                </c:pt>
                <c:pt idx="69">
                  <c:v>7.2832393059720158E-5</c:v>
                </c:pt>
                <c:pt idx="70">
                  <c:v>0</c:v>
                </c:pt>
                <c:pt idx="71">
                  <c:v>0</c:v>
                </c:pt>
                <c:pt idx="72">
                  <c:v>0</c:v>
                </c:pt>
                <c:pt idx="73">
                  <c:v>0</c:v>
                </c:pt>
                <c:pt idx="74">
                  <c:v>0</c:v>
                </c:pt>
                <c:pt idx="75">
                  <c:v>0</c:v>
                </c:pt>
                <c:pt idx="76">
                  <c:v>0</c:v>
                </c:pt>
                <c:pt idx="77">
                  <c:v>0</c:v>
                </c:pt>
              </c:numCache>
            </c:numRef>
          </c:val>
          <c:extLst>
            <c:ext xmlns:c16="http://schemas.microsoft.com/office/drawing/2014/chart" uri="{C3380CC4-5D6E-409C-BE32-E72D297353CC}">
              <c16:uniqueId val="{0000006A-902D-4251-AC41-C6D4CBCA5CD6}"/>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ershey's Cookies 'n Creme Creations Salted Caramel 38g</c:v>
                </c:pt>
              </c:strCache>
            </c:strRef>
          </c:tx>
          <c:spPr>
            <a:solidFill>
              <a:schemeClr val="bg2"/>
            </a:solidFill>
            <a:ln>
              <a:noFill/>
            </a:ln>
            <a:effectLst/>
          </c:spPr>
          <c:invertIfNegative val="0"/>
          <c:dPt>
            <c:idx val="0"/>
            <c:invertIfNegative val="0"/>
            <c:bubble3D val="0"/>
            <c:spPr>
              <a:solidFill>
                <a:srgbClr val="E6E5E5"/>
              </a:solidFill>
              <a:ln>
                <a:noFill/>
              </a:ln>
              <a:effectLst/>
            </c:spPr>
            <c:extLst>
              <c:ext xmlns:c16="http://schemas.microsoft.com/office/drawing/2014/chart" uri="{C3380CC4-5D6E-409C-BE32-E72D297353CC}">
                <c16:uniqueId val="{00000001-999B-42C0-A7D9-A2057CE05A51}"/>
              </c:ext>
            </c:extLst>
          </c:dPt>
          <c:dPt>
            <c:idx val="1"/>
            <c:invertIfNegative val="1"/>
            <c:bubble3D val="0"/>
            <c:spPr>
              <a:solidFill>
                <a:srgbClr val="E6E5E5"/>
              </a:solidFill>
            </c:spPr>
            <c:extLst>
              <c:ext xmlns:c16="http://schemas.microsoft.com/office/drawing/2014/chart" uri="{C3380CC4-5D6E-409C-BE32-E72D297353CC}">
                <c16:uniqueId val="{00000003-999B-42C0-A7D9-A2057CE05A51}"/>
              </c:ext>
            </c:extLst>
          </c:dPt>
          <c:dPt>
            <c:idx val="2"/>
            <c:invertIfNegative val="1"/>
            <c:bubble3D val="0"/>
            <c:spPr>
              <a:solidFill>
                <a:srgbClr val="E6E5E5"/>
              </a:solidFill>
            </c:spPr>
            <c:extLst>
              <c:ext xmlns:c16="http://schemas.microsoft.com/office/drawing/2014/chart" uri="{C3380CC4-5D6E-409C-BE32-E72D297353CC}">
                <c16:uniqueId val="{00000005-999B-42C0-A7D9-A2057CE05A51}"/>
              </c:ext>
            </c:extLst>
          </c:dPt>
          <c:dPt>
            <c:idx val="3"/>
            <c:invertIfNegative val="0"/>
            <c:bubble3D val="0"/>
            <c:spPr>
              <a:solidFill>
                <a:srgbClr val="E6E5E5"/>
              </a:solidFill>
              <a:ln>
                <a:noFill/>
              </a:ln>
              <a:effectLst/>
            </c:spPr>
            <c:extLst>
              <c:ext xmlns:c16="http://schemas.microsoft.com/office/drawing/2014/chart" uri="{C3380CC4-5D6E-409C-BE32-E72D297353CC}">
                <c16:uniqueId val="{00000007-999B-42C0-A7D9-A2057CE05A51}"/>
              </c:ext>
            </c:extLst>
          </c:dPt>
          <c:dPt>
            <c:idx val="4"/>
            <c:invertIfNegative val="1"/>
            <c:bubble3D val="0"/>
            <c:spPr>
              <a:solidFill>
                <a:srgbClr val="E6E5E5"/>
              </a:solidFill>
            </c:spPr>
            <c:extLst>
              <c:ext xmlns:c16="http://schemas.microsoft.com/office/drawing/2014/chart" uri="{C3380CC4-5D6E-409C-BE32-E72D297353CC}">
                <c16:uniqueId val="{00000009-999B-42C0-A7D9-A2057CE05A51}"/>
              </c:ext>
            </c:extLst>
          </c:dPt>
          <c:dPt>
            <c:idx val="5"/>
            <c:invertIfNegative val="1"/>
            <c:bubble3D val="0"/>
            <c:spPr>
              <a:solidFill>
                <a:srgbClr val="E6E5E5"/>
              </a:solidFill>
            </c:spPr>
            <c:extLst>
              <c:ext xmlns:c16="http://schemas.microsoft.com/office/drawing/2014/chart" uri="{C3380CC4-5D6E-409C-BE32-E72D297353CC}">
                <c16:uniqueId val="{0000000B-999B-42C0-A7D9-A2057CE05A51}"/>
              </c:ext>
            </c:extLst>
          </c:dPt>
          <c:dPt>
            <c:idx val="6"/>
            <c:invertIfNegative val="1"/>
            <c:bubble3D val="0"/>
            <c:spPr>
              <a:solidFill>
                <a:srgbClr val="E6E5E5"/>
              </a:solidFill>
            </c:spPr>
            <c:extLst>
              <c:ext xmlns:c16="http://schemas.microsoft.com/office/drawing/2014/chart" uri="{C3380CC4-5D6E-409C-BE32-E72D297353CC}">
                <c16:uniqueId val="{0000000D-999B-42C0-A7D9-A2057CE05A51}"/>
              </c:ext>
            </c:extLst>
          </c:dPt>
          <c:dPt>
            <c:idx val="7"/>
            <c:invertIfNegative val="1"/>
            <c:bubble3D val="0"/>
            <c:spPr>
              <a:solidFill>
                <a:srgbClr val="E6E5E5"/>
              </a:solidFill>
            </c:spPr>
            <c:extLst>
              <c:ext xmlns:c16="http://schemas.microsoft.com/office/drawing/2014/chart" uri="{C3380CC4-5D6E-409C-BE32-E72D297353CC}">
                <c16:uniqueId val="{0000000F-999B-42C0-A7D9-A2057CE05A51}"/>
              </c:ext>
            </c:extLst>
          </c:dPt>
          <c:dPt>
            <c:idx val="8"/>
            <c:invertIfNegative val="1"/>
            <c:bubble3D val="0"/>
            <c:spPr>
              <a:solidFill>
                <a:srgbClr val="E6E5E5"/>
              </a:solidFill>
            </c:spPr>
            <c:extLst>
              <c:ext xmlns:c16="http://schemas.microsoft.com/office/drawing/2014/chart" uri="{C3380CC4-5D6E-409C-BE32-E72D297353CC}">
                <c16:uniqueId val="{00000011-999B-42C0-A7D9-A2057CE05A51}"/>
              </c:ext>
            </c:extLst>
          </c:dPt>
          <c:dPt>
            <c:idx val="9"/>
            <c:invertIfNegative val="1"/>
            <c:bubble3D val="0"/>
            <c:spPr>
              <a:solidFill>
                <a:srgbClr val="E6E5E5"/>
              </a:solidFill>
            </c:spPr>
            <c:extLst>
              <c:ext xmlns:c16="http://schemas.microsoft.com/office/drawing/2014/chart" uri="{C3380CC4-5D6E-409C-BE32-E72D297353CC}">
                <c16:uniqueId val="{00000013-999B-42C0-A7D9-A2057CE05A51}"/>
              </c:ext>
            </c:extLst>
          </c:dPt>
          <c:dPt>
            <c:idx val="10"/>
            <c:invertIfNegative val="1"/>
            <c:bubble3D val="0"/>
            <c:spPr>
              <a:solidFill>
                <a:srgbClr val="E6E5E5"/>
              </a:solidFill>
            </c:spPr>
            <c:extLst>
              <c:ext xmlns:c16="http://schemas.microsoft.com/office/drawing/2014/chart" uri="{C3380CC4-5D6E-409C-BE32-E72D297353CC}">
                <c16:uniqueId val="{00000015-999B-42C0-A7D9-A2057CE05A51}"/>
              </c:ext>
            </c:extLst>
          </c:dPt>
          <c:dPt>
            <c:idx val="11"/>
            <c:invertIfNegative val="1"/>
            <c:bubble3D val="0"/>
            <c:spPr>
              <a:solidFill>
                <a:srgbClr val="E6E5E5"/>
              </a:solidFill>
            </c:spPr>
            <c:extLst>
              <c:ext xmlns:c16="http://schemas.microsoft.com/office/drawing/2014/chart" uri="{C3380CC4-5D6E-409C-BE32-E72D297353CC}">
                <c16:uniqueId val="{00000017-999B-42C0-A7D9-A2057CE05A51}"/>
              </c:ext>
            </c:extLst>
          </c:dPt>
          <c:dPt>
            <c:idx val="12"/>
            <c:invertIfNegative val="1"/>
            <c:bubble3D val="0"/>
            <c:spPr>
              <a:solidFill>
                <a:srgbClr val="E6E5E5"/>
              </a:solidFill>
            </c:spPr>
            <c:extLst>
              <c:ext xmlns:c16="http://schemas.microsoft.com/office/drawing/2014/chart" uri="{C3380CC4-5D6E-409C-BE32-E72D297353CC}">
                <c16:uniqueId val="{00000019-999B-42C0-A7D9-A2057CE05A51}"/>
              </c:ext>
            </c:extLst>
          </c:dPt>
          <c:dPt>
            <c:idx val="13"/>
            <c:invertIfNegative val="1"/>
            <c:bubble3D val="0"/>
            <c:spPr>
              <a:solidFill>
                <a:srgbClr val="E6E5E5"/>
              </a:solidFill>
            </c:spPr>
            <c:extLst>
              <c:ext xmlns:c16="http://schemas.microsoft.com/office/drawing/2014/chart" uri="{C3380CC4-5D6E-409C-BE32-E72D297353CC}">
                <c16:uniqueId val="{0000001B-999B-42C0-A7D9-A2057CE05A51}"/>
              </c:ext>
            </c:extLst>
          </c:dPt>
          <c:dPt>
            <c:idx val="14"/>
            <c:invertIfNegative val="0"/>
            <c:bubble3D val="0"/>
            <c:spPr>
              <a:solidFill>
                <a:srgbClr val="E6E5E5"/>
              </a:solidFill>
              <a:ln>
                <a:noFill/>
              </a:ln>
              <a:effectLst/>
            </c:spPr>
            <c:extLst>
              <c:ext xmlns:c16="http://schemas.microsoft.com/office/drawing/2014/chart" uri="{C3380CC4-5D6E-409C-BE32-E72D297353CC}">
                <c16:uniqueId val="{0000001D-999B-42C0-A7D9-A2057CE05A51}"/>
              </c:ext>
            </c:extLst>
          </c:dPt>
          <c:dPt>
            <c:idx val="15"/>
            <c:invertIfNegative val="1"/>
            <c:bubble3D val="0"/>
            <c:spPr>
              <a:solidFill>
                <a:srgbClr val="E6E5E5"/>
              </a:solidFill>
            </c:spPr>
            <c:extLst>
              <c:ext xmlns:c16="http://schemas.microsoft.com/office/drawing/2014/chart" uri="{C3380CC4-5D6E-409C-BE32-E72D297353CC}">
                <c16:uniqueId val="{0000001F-999B-42C0-A7D9-A2057CE05A51}"/>
              </c:ext>
            </c:extLst>
          </c:dPt>
          <c:dPt>
            <c:idx val="16"/>
            <c:invertIfNegative val="1"/>
            <c:bubble3D val="0"/>
            <c:spPr>
              <a:solidFill>
                <a:srgbClr val="E6E5E5"/>
              </a:solidFill>
            </c:spPr>
            <c:extLst>
              <c:ext xmlns:c16="http://schemas.microsoft.com/office/drawing/2014/chart" uri="{C3380CC4-5D6E-409C-BE32-E72D297353CC}">
                <c16:uniqueId val="{00000021-999B-42C0-A7D9-A2057CE05A51}"/>
              </c:ext>
            </c:extLst>
          </c:dPt>
          <c:dPt>
            <c:idx val="17"/>
            <c:invertIfNegative val="0"/>
            <c:bubble3D val="0"/>
            <c:spPr>
              <a:solidFill>
                <a:srgbClr val="E6E5E5"/>
              </a:solidFill>
              <a:ln>
                <a:noFill/>
              </a:ln>
              <a:effectLst/>
            </c:spPr>
            <c:extLst>
              <c:ext xmlns:c16="http://schemas.microsoft.com/office/drawing/2014/chart" uri="{C3380CC4-5D6E-409C-BE32-E72D297353CC}">
                <c16:uniqueId val="{00000023-999B-42C0-A7D9-A2057CE05A51}"/>
              </c:ext>
            </c:extLst>
          </c:dPt>
          <c:dPt>
            <c:idx val="18"/>
            <c:invertIfNegative val="1"/>
            <c:bubble3D val="0"/>
            <c:spPr>
              <a:solidFill>
                <a:srgbClr val="E6E5E5"/>
              </a:solidFill>
            </c:spPr>
            <c:extLst>
              <c:ext xmlns:c16="http://schemas.microsoft.com/office/drawing/2014/chart" uri="{C3380CC4-5D6E-409C-BE32-E72D297353CC}">
                <c16:uniqueId val="{00000025-999B-42C0-A7D9-A2057CE05A51}"/>
              </c:ext>
            </c:extLst>
          </c:dPt>
          <c:dPt>
            <c:idx val="19"/>
            <c:invertIfNegative val="1"/>
            <c:bubble3D val="0"/>
            <c:spPr>
              <a:solidFill>
                <a:srgbClr val="E6E5E5"/>
              </a:solidFill>
            </c:spPr>
            <c:extLst>
              <c:ext xmlns:c16="http://schemas.microsoft.com/office/drawing/2014/chart" uri="{C3380CC4-5D6E-409C-BE32-E72D297353CC}">
                <c16:uniqueId val="{00000027-999B-42C0-A7D9-A2057CE05A51}"/>
              </c:ext>
            </c:extLst>
          </c:dPt>
          <c:dPt>
            <c:idx val="20"/>
            <c:invertIfNegative val="1"/>
            <c:bubble3D val="0"/>
            <c:spPr>
              <a:solidFill>
                <a:srgbClr val="E6E5E5"/>
              </a:solidFill>
            </c:spPr>
            <c:extLst>
              <c:ext xmlns:c16="http://schemas.microsoft.com/office/drawing/2014/chart" uri="{C3380CC4-5D6E-409C-BE32-E72D297353CC}">
                <c16:uniqueId val="{00000029-999B-42C0-A7D9-A2057CE05A51}"/>
              </c:ext>
            </c:extLst>
          </c:dPt>
          <c:dPt>
            <c:idx val="21"/>
            <c:invertIfNegative val="1"/>
            <c:bubble3D val="0"/>
            <c:spPr>
              <a:solidFill>
                <a:srgbClr val="E6E5E5"/>
              </a:solidFill>
            </c:spPr>
            <c:extLst>
              <c:ext xmlns:c16="http://schemas.microsoft.com/office/drawing/2014/chart" uri="{C3380CC4-5D6E-409C-BE32-E72D297353CC}">
                <c16:uniqueId val="{0000002B-999B-42C0-A7D9-A2057CE05A51}"/>
              </c:ext>
            </c:extLst>
          </c:dPt>
          <c:dPt>
            <c:idx val="22"/>
            <c:invertIfNegative val="1"/>
            <c:bubble3D val="0"/>
            <c:spPr>
              <a:solidFill>
                <a:srgbClr val="E6E5E5"/>
              </a:solidFill>
            </c:spPr>
            <c:extLst>
              <c:ext xmlns:c16="http://schemas.microsoft.com/office/drawing/2014/chart" uri="{C3380CC4-5D6E-409C-BE32-E72D297353CC}">
                <c16:uniqueId val="{0000002D-999B-42C0-A7D9-A2057CE05A51}"/>
              </c:ext>
            </c:extLst>
          </c:dPt>
          <c:dPt>
            <c:idx val="23"/>
            <c:invertIfNegative val="1"/>
            <c:bubble3D val="0"/>
            <c:spPr>
              <a:solidFill>
                <a:srgbClr val="E6E5E5"/>
              </a:solidFill>
            </c:spPr>
            <c:extLst>
              <c:ext xmlns:c16="http://schemas.microsoft.com/office/drawing/2014/chart" uri="{C3380CC4-5D6E-409C-BE32-E72D297353CC}">
                <c16:uniqueId val="{0000002F-999B-42C0-A7D9-A2057CE05A51}"/>
              </c:ext>
            </c:extLst>
          </c:dPt>
          <c:dPt>
            <c:idx val="24"/>
            <c:invertIfNegative val="1"/>
            <c:bubble3D val="0"/>
            <c:spPr>
              <a:solidFill>
                <a:srgbClr val="E6E5E5"/>
              </a:solidFill>
            </c:spPr>
            <c:extLst>
              <c:ext xmlns:c16="http://schemas.microsoft.com/office/drawing/2014/chart" uri="{C3380CC4-5D6E-409C-BE32-E72D297353CC}">
                <c16:uniqueId val="{00000031-999B-42C0-A7D9-A2057CE05A51}"/>
              </c:ext>
            </c:extLst>
          </c:dPt>
          <c:dPt>
            <c:idx val="25"/>
            <c:invertIfNegative val="1"/>
            <c:bubble3D val="0"/>
            <c:spPr>
              <a:solidFill>
                <a:srgbClr val="E6E5E5"/>
              </a:solidFill>
            </c:spPr>
            <c:extLst>
              <c:ext xmlns:c16="http://schemas.microsoft.com/office/drawing/2014/chart" uri="{C3380CC4-5D6E-409C-BE32-E72D297353CC}">
                <c16:uniqueId val="{00000033-999B-42C0-A7D9-A2057CE05A51}"/>
              </c:ext>
            </c:extLst>
          </c:dPt>
          <c:dPt>
            <c:idx val="26"/>
            <c:invertIfNegative val="1"/>
            <c:bubble3D val="0"/>
            <c:spPr>
              <a:solidFill>
                <a:srgbClr val="E6E5E5"/>
              </a:solidFill>
            </c:spPr>
            <c:extLst>
              <c:ext xmlns:c16="http://schemas.microsoft.com/office/drawing/2014/chart" uri="{C3380CC4-5D6E-409C-BE32-E72D297353CC}">
                <c16:uniqueId val="{00000035-999B-42C0-A7D9-A2057CE05A51}"/>
              </c:ext>
            </c:extLst>
          </c:dPt>
          <c:dPt>
            <c:idx val="27"/>
            <c:invertIfNegative val="1"/>
            <c:bubble3D val="0"/>
            <c:spPr>
              <a:solidFill>
                <a:srgbClr val="E6E5E5"/>
              </a:solidFill>
            </c:spPr>
            <c:extLst>
              <c:ext xmlns:c16="http://schemas.microsoft.com/office/drawing/2014/chart" uri="{C3380CC4-5D6E-409C-BE32-E72D297353CC}">
                <c16:uniqueId val="{00000037-999B-42C0-A7D9-A2057CE05A51}"/>
              </c:ext>
            </c:extLst>
          </c:dPt>
          <c:dPt>
            <c:idx val="28"/>
            <c:invertIfNegative val="1"/>
            <c:bubble3D val="0"/>
            <c:spPr>
              <a:solidFill>
                <a:srgbClr val="E6E5E5"/>
              </a:solidFill>
            </c:spPr>
            <c:extLst>
              <c:ext xmlns:c16="http://schemas.microsoft.com/office/drawing/2014/chart" uri="{C3380CC4-5D6E-409C-BE32-E72D297353CC}">
                <c16:uniqueId val="{00000039-999B-42C0-A7D9-A2057CE05A51}"/>
              </c:ext>
            </c:extLst>
          </c:dPt>
          <c:dPt>
            <c:idx val="29"/>
            <c:invertIfNegative val="1"/>
            <c:bubble3D val="0"/>
            <c:spPr>
              <a:solidFill>
                <a:srgbClr val="E6E5E5"/>
              </a:solidFill>
            </c:spPr>
            <c:extLst>
              <c:ext xmlns:c16="http://schemas.microsoft.com/office/drawing/2014/chart" uri="{C3380CC4-5D6E-409C-BE32-E72D297353CC}">
                <c16:uniqueId val="{0000003B-999B-42C0-A7D9-A2057CE05A51}"/>
              </c:ext>
            </c:extLst>
          </c:dPt>
          <c:dPt>
            <c:idx val="30"/>
            <c:invertIfNegative val="1"/>
            <c:bubble3D val="0"/>
            <c:spPr>
              <a:solidFill>
                <a:srgbClr val="E6E5E5"/>
              </a:solidFill>
            </c:spPr>
            <c:extLst>
              <c:ext xmlns:c16="http://schemas.microsoft.com/office/drawing/2014/chart" uri="{C3380CC4-5D6E-409C-BE32-E72D297353CC}">
                <c16:uniqueId val="{0000003D-999B-42C0-A7D9-A2057CE05A51}"/>
              </c:ext>
            </c:extLst>
          </c:dPt>
          <c:dPt>
            <c:idx val="31"/>
            <c:invertIfNegative val="1"/>
            <c:bubble3D val="0"/>
            <c:spPr>
              <a:solidFill>
                <a:srgbClr val="E6E5E5"/>
              </a:solidFill>
            </c:spPr>
            <c:extLst>
              <c:ext xmlns:c16="http://schemas.microsoft.com/office/drawing/2014/chart" uri="{C3380CC4-5D6E-409C-BE32-E72D297353CC}">
                <c16:uniqueId val="{0000003F-999B-42C0-A7D9-A2057CE05A51}"/>
              </c:ext>
            </c:extLst>
          </c:dPt>
          <c:dPt>
            <c:idx val="32"/>
            <c:invertIfNegative val="0"/>
            <c:bubble3D val="0"/>
            <c:spPr>
              <a:solidFill>
                <a:srgbClr val="E6E5E5"/>
              </a:solidFill>
              <a:ln>
                <a:noFill/>
              </a:ln>
              <a:effectLst/>
            </c:spPr>
            <c:extLst>
              <c:ext xmlns:c16="http://schemas.microsoft.com/office/drawing/2014/chart" uri="{C3380CC4-5D6E-409C-BE32-E72D297353CC}">
                <c16:uniqueId val="{00000041-999B-42C0-A7D9-A2057CE05A51}"/>
              </c:ext>
            </c:extLst>
          </c:dPt>
          <c:dPt>
            <c:idx val="33"/>
            <c:invertIfNegative val="1"/>
            <c:bubble3D val="0"/>
            <c:spPr>
              <a:solidFill>
                <a:srgbClr val="E6E5E5"/>
              </a:solidFill>
            </c:spPr>
            <c:extLst>
              <c:ext xmlns:c16="http://schemas.microsoft.com/office/drawing/2014/chart" uri="{C3380CC4-5D6E-409C-BE32-E72D297353CC}">
                <c16:uniqueId val="{00000043-999B-42C0-A7D9-A2057CE05A51}"/>
              </c:ext>
            </c:extLst>
          </c:dPt>
          <c:dPt>
            <c:idx val="34"/>
            <c:invertIfNegative val="1"/>
            <c:bubble3D val="0"/>
            <c:spPr>
              <a:solidFill>
                <a:srgbClr val="E6E5E5"/>
              </a:solidFill>
            </c:spPr>
            <c:extLst>
              <c:ext xmlns:c16="http://schemas.microsoft.com/office/drawing/2014/chart" uri="{C3380CC4-5D6E-409C-BE32-E72D297353CC}">
                <c16:uniqueId val="{00000045-999B-42C0-A7D9-A2057CE05A51}"/>
              </c:ext>
            </c:extLst>
          </c:dPt>
          <c:dPt>
            <c:idx val="35"/>
            <c:invertIfNegative val="1"/>
            <c:bubble3D val="0"/>
            <c:spPr>
              <a:solidFill>
                <a:srgbClr val="E6E5E5"/>
              </a:solidFill>
            </c:spPr>
            <c:extLst>
              <c:ext xmlns:c16="http://schemas.microsoft.com/office/drawing/2014/chart" uri="{C3380CC4-5D6E-409C-BE32-E72D297353CC}">
                <c16:uniqueId val="{00000047-999B-42C0-A7D9-A2057CE05A51}"/>
              </c:ext>
            </c:extLst>
          </c:dPt>
          <c:dPt>
            <c:idx val="36"/>
            <c:invertIfNegative val="1"/>
            <c:bubble3D val="0"/>
            <c:spPr>
              <a:solidFill>
                <a:srgbClr val="E6E5E5"/>
              </a:solidFill>
            </c:spPr>
            <c:extLst>
              <c:ext xmlns:c16="http://schemas.microsoft.com/office/drawing/2014/chart" uri="{C3380CC4-5D6E-409C-BE32-E72D297353CC}">
                <c16:uniqueId val="{00000049-999B-42C0-A7D9-A2057CE05A51}"/>
              </c:ext>
            </c:extLst>
          </c:dPt>
          <c:dPt>
            <c:idx val="37"/>
            <c:invertIfNegative val="1"/>
            <c:bubble3D val="0"/>
            <c:spPr>
              <a:solidFill>
                <a:srgbClr val="E6E5E5"/>
              </a:solidFill>
            </c:spPr>
            <c:extLst>
              <c:ext xmlns:c16="http://schemas.microsoft.com/office/drawing/2014/chart" uri="{C3380CC4-5D6E-409C-BE32-E72D297353CC}">
                <c16:uniqueId val="{0000004B-999B-42C0-A7D9-A2057CE05A51}"/>
              </c:ext>
            </c:extLst>
          </c:dPt>
          <c:dPt>
            <c:idx val="38"/>
            <c:invertIfNegative val="1"/>
            <c:bubble3D val="0"/>
            <c:spPr>
              <a:solidFill>
                <a:srgbClr val="E6E5E5"/>
              </a:solidFill>
            </c:spPr>
            <c:extLst>
              <c:ext xmlns:c16="http://schemas.microsoft.com/office/drawing/2014/chart" uri="{C3380CC4-5D6E-409C-BE32-E72D297353CC}">
                <c16:uniqueId val="{0000004D-999B-42C0-A7D9-A2057CE05A51}"/>
              </c:ext>
            </c:extLst>
          </c:dPt>
          <c:dPt>
            <c:idx val="39"/>
            <c:invertIfNegative val="1"/>
            <c:bubble3D val="0"/>
            <c:spPr>
              <a:solidFill>
                <a:srgbClr val="E6E5E5"/>
              </a:solidFill>
            </c:spPr>
            <c:extLst>
              <c:ext xmlns:c16="http://schemas.microsoft.com/office/drawing/2014/chart" uri="{C3380CC4-5D6E-409C-BE32-E72D297353CC}">
                <c16:uniqueId val="{0000004F-999B-42C0-A7D9-A2057CE05A51}"/>
              </c:ext>
            </c:extLst>
          </c:dPt>
          <c:dPt>
            <c:idx val="40"/>
            <c:invertIfNegative val="1"/>
            <c:bubble3D val="0"/>
            <c:spPr>
              <a:solidFill>
                <a:srgbClr val="E6E5E5"/>
              </a:solidFill>
            </c:spPr>
            <c:extLst>
              <c:ext xmlns:c16="http://schemas.microsoft.com/office/drawing/2014/chart" uri="{C3380CC4-5D6E-409C-BE32-E72D297353CC}">
                <c16:uniqueId val="{00000051-999B-42C0-A7D9-A2057CE05A51}"/>
              </c:ext>
            </c:extLst>
          </c:dPt>
          <c:dPt>
            <c:idx val="41"/>
            <c:invertIfNegative val="1"/>
            <c:bubble3D val="0"/>
            <c:spPr>
              <a:solidFill>
                <a:srgbClr val="E6E5E5"/>
              </a:solidFill>
            </c:spPr>
            <c:extLst>
              <c:ext xmlns:c16="http://schemas.microsoft.com/office/drawing/2014/chart" uri="{C3380CC4-5D6E-409C-BE32-E72D297353CC}">
                <c16:uniqueId val="{00000053-999B-42C0-A7D9-A2057CE05A51}"/>
              </c:ext>
            </c:extLst>
          </c:dPt>
          <c:dPt>
            <c:idx val="42"/>
            <c:invertIfNegative val="1"/>
            <c:bubble3D val="0"/>
            <c:spPr>
              <a:solidFill>
                <a:srgbClr val="E6E5E5"/>
              </a:solidFill>
            </c:spPr>
            <c:extLst>
              <c:ext xmlns:c16="http://schemas.microsoft.com/office/drawing/2014/chart" uri="{C3380CC4-5D6E-409C-BE32-E72D297353CC}">
                <c16:uniqueId val="{00000055-999B-42C0-A7D9-A2057CE05A51}"/>
              </c:ext>
            </c:extLst>
          </c:dPt>
          <c:dPt>
            <c:idx val="43"/>
            <c:invertIfNegative val="1"/>
            <c:bubble3D val="0"/>
            <c:spPr>
              <a:solidFill>
                <a:srgbClr val="E6E5E5"/>
              </a:solidFill>
            </c:spPr>
            <c:extLst>
              <c:ext xmlns:c16="http://schemas.microsoft.com/office/drawing/2014/chart" uri="{C3380CC4-5D6E-409C-BE32-E72D297353CC}">
                <c16:uniqueId val="{00000057-999B-42C0-A7D9-A2057CE05A51}"/>
              </c:ext>
            </c:extLst>
          </c:dPt>
          <c:dPt>
            <c:idx val="44"/>
            <c:invertIfNegative val="0"/>
            <c:bubble3D val="0"/>
            <c:spPr>
              <a:solidFill>
                <a:srgbClr val="E6E5E5"/>
              </a:solidFill>
              <a:ln>
                <a:noFill/>
              </a:ln>
              <a:effectLst/>
            </c:spPr>
            <c:extLst>
              <c:ext xmlns:c16="http://schemas.microsoft.com/office/drawing/2014/chart" uri="{C3380CC4-5D6E-409C-BE32-E72D297353CC}">
                <c16:uniqueId val="{00000059-999B-42C0-A7D9-A2057CE05A51}"/>
              </c:ext>
            </c:extLst>
          </c:dPt>
          <c:dPt>
            <c:idx val="45"/>
            <c:invertIfNegative val="1"/>
            <c:bubble3D val="0"/>
            <c:spPr>
              <a:solidFill>
                <a:srgbClr val="E6E5E5"/>
              </a:solidFill>
            </c:spPr>
            <c:extLst>
              <c:ext xmlns:c16="http://schemas.microsoft.com/office/drawing/2014/chart" uri="{C3380CC4-5D6E-409C-BE32-E72D297353CC}">
                <c16:uniqueId val="{0000005B-999B-42C0-A7D9-A2057CE05A51}"/>
              </c:ext>
            </c:extLst>
          </c:dPt>
          <c:dPt>
            <c:idx val="46"/>
            <c:invertIfNegative val="1"/>
            <c:bubble3D val="0"/>
            <c:spPr>
              <a:solidFill>
                <a:srgbClr val="E6E5E5"/>
              </a:solidFill>
            </c:spPr>
            <c:extLst>
              <c:ext xmlns:c16="http://schemas.microsoft.com/office/drawing/2014/chart" uri="{C3380CC4-5D6E-409C-BE32-E72D297353CC}">
                <c16:uniqueId val="{0000005D-999B-42C0-A7D9-A2057CE05A51}"/>
              </c:ext>
            </c:extLst>
          </c:dPt>
          <c:dPt>
            <c:idx val="47"/>
            <c:invertIfNegative val="1"/>
            <c:bubble3D val="0"/>
            <c:spPr>
              <a:solidFill>
                <a:srgbClr val="E6E5E5"/>
              </a:solidFill>
            </c:spPr>
            <c:extLst>
              <c:ext xmlns:c16="http://schemas.microsoft.com/office/drawing/2014/chart" uri="{C3380CC4-5D6E-409C-BE32-E72D297353CC}">
                <c16:uniqueId val="{0000005F-999B-42C0-A7D9-A2057CE05A51}"/>
              </c:ext>
            </c:extLst>
          </c:dPt>
          <c:dPt>
            <c:idx val="48"/>
            <c:invertIfNegative val="1"/>
            <c:bubble3D val="0"/>
            <c:spPr>
              <a:solidFill>
                <a:srgbClr val="E6E5E5"/>
              </a:solidFill>
            </c:spPr>
            <c:extLst>
              <c:ext xmlns:c16="http://schemas.microsoft.com/office/drawing/2014/chart" uri="{C3380CC4-5D6E-409C-BE32-E72D297353CC}">
                <c16:uniqueId val="{00000061-999B-42C0-A7D9-A2057CE05A51}"/>
              </c:ext>
            </c:extLst>
          </c:dPt>
          <c:dPt>
            <c:idx val="49"/>
            <c:invertIfNegative val="0"/>
            <c:bubble3D val="0"/>
            <c:spPr>
              <a:solidFill>
                <a:srgbClr val="E6E5E5"/>
              </a:solidFill>
              <a:ln>
                <a:noFill/>
              </a:ln>
              <a:effectLst/>
            </c:spPr>
            <c:extLst>
              <c:ext xmlns:c16="http://schemas.microsoft.com/office/drawing/2014/chart" uri="{C3380CC4-5D6E-409C-BE32-E72D297353CC}">
                <c16:uniqueId val="{00000063-999B-42C0-A7D9-A2057CE05A51}"/>
              </c:ext>
            </c:extLst>
          </c:dPt>
          <c:dPt>
            <c:idx val="50"/>
            <c:invertIfNegative val="0"/>
            <c:bubble3D val="0"/>
            <c:spPr>
              <a:solidFill>
                <a:srgbClr val="E6E5E5"/>
              </a:solidFill>
              <a:ln>
                <a:noFill/>
              </a:ln>
              <a:effectLst/>
            </c:spPr>
            <c:extLst>
              <c:ext xmlns:c16="http://schemas.microsoft.com/office/drawing/2014/chart" uri="{C3380CC4-5D6E-409C-BE32-E72D297353CC}">
                <c16:uniqueId val="{00000065-999B-42C0-A7D9-A2057CE05A51}"/>
              </c:ext>
            </c:extLst>
          </c:dPt>
          <c:dPt>
            <c:idx val="51"/>
            <c:invertIfNegative val="1"/>
            <c:bubble3D val="0"/>
            <c:spPr>
              <a:solidFill>
                <a:srgbClr val="E6E5E5"/>
              </a:solidFill>
            </c:spPr>
            <c:extLst>
              <c:ext xmlns:c16="http://schemas.microsoft.com/office/drawing/2014/chart" uri="{C3380CC4-5D6E-409C-BE32-E72D297353CC}">
                <c16:uniqueId val="{00000067-999B-42C0-A7D9-A2057CE05A51}"/>
              </c:ext>
            </c:extLst>
          </c:dPt>
          <c:dPt>
            <c:idx val="52"/>
            <c:invertIfNegative val="1"/>
            <c:bubble3D val="0"/>
            <c:spPr>
              <a:solidFill>
                <a:srgbClr val="E6E5E5"/>
              </a:solidFill>
            </c:spPr>
            <c:extLst>
              <c:ext xmlns:c16="http://schemas.microsoft.com/office/drawing/2014/chart" uri="{C3380CC4-5D6E-409C-BE32-E72D297353CC}">
                <c16:uniqueId val="{00000069-999B-42C0-A7D9-A2057CE05A51}"/>
              </c:ext>
            </c:extLst>
          </c:dPt>
          <c:dPt>
            <c:idx val="53"/>
            <c:invertIfNegative val="1"/>
            <c:bubble3D val="0"/>
            <c:spPr>
              <a:solidFill>
                <a:srgbClr val="E6E5E5"/>
              </a:solidFill>
            </c:spPr>
            <c:extLst>
              <c:ext xmlns:c16="http://schemas.microsoft.com/office/drawing/2014/chart" uri="{C3380CC4-5D6E-409C-BE32-E72D297353CC}">
                <c16:uniqueId val="{0000006B-999B-42C0-A7D9-A2057CE05A51}"/>
              </c:ext>
            </c:extLst>
          </c:dPt>
          <c:dPt>
            <c:idx val="54"/>
            <c:invertIfNegative val="1"/>
            <c:bubble3D val="0"/>
            <c:spPr>
              <a:solidFill>
                <a:srgbClr val="E6E5E5"/>
              </a:solidFill>
            </c:spPr>
            <c:extLst>
              <c:ext xmlns:c16="http://schemas.microsoft.com/office/drawing/2014/chart" uri="{C3380CC4-5D6E-409C-BE32-E72D297353CC}">
                <c16:uniqueId val="{0000006D-999B-42C0-A7D9-A2057CE05A51}"/>
              </c:ext>
            </c:extLst>
          </c:dPt>
          <c:dPt>
            <c:idx val="55"/>
            <c:invertIfNegative val="1"/>
            <c:bubble3D val="0"/>
            <c:spPr>
              <a:solidFill>
                <a:srgbClr val="E6E5E5"/>
              </a:solidFill>
            </c:spPr>
            <c:extLst>
              <c:ext xmlns:c16="http://schemas.microsoft.com/office/drawing/2014/chart" uri="{C3380CC4-5D6E-409C-BE32-E72D297353CC}">
                <c16:uniqueId val="{0000006F-999B-42C0-A7D9-A2057CE05A51}"/>
              </c:ext>
            </c:extLst>
          </c:dPt>
          <c:dPt>
            <c:idx val="56"/>
            <c:invertIfNegative val="1"/>
            <c:bubble3D val="0"/>
            <c:spPr>
              <a:solidFill>
                <a:srgbClr val="E6E5E5"/>
              </a:solidFill>
            </c:spPr>
            <c:extLst>
              <c:ext xmlns:c16="http://schemas.microsoft.com/office/drawing/2014/chart" uri="{C3380CC4-5D6E-409C-BE32-E72D297353CC}">
                <c16:uniqueId val="{00000071-999B-42C0-A7D9-A2057CE05A51}"/>
              </c:ext>
            </c:extLst>
          </c:dPt>
          <c:dPt>
            <c:idx val="57"/>
            <c:invertIfNegative val="1"/>
            <c:bubble3D val="0"/>
            <c:spPr>
              <a:solidFill>
                <a:srgbClr val="E6E5E5"/>
              </a:solidFill>
            </c:spPr>
            <c:extLst>
              <c:ext xmlns:c16="http://schemas.microsoft.com/office/drawing/2014/chart" uri="{C3380CC4-5D6E-409C-BE32-E72D297353CC}">
                <c16:uniqueId val="{00000073-999B-42C0-A7D9-A2057CE05A51}"/>
              </c:ext>
            </c:extLst>
          </c:dPt>
          <c:dPt>
            <c:idx val="58"/>
            <c:invertIfNegative val="1"/>
            <c:bubble3D val="0"/>
            <c:spPr>
              <a:solidFill>
                <a:srgbClr val="E6E5E5"/>
              </a:solidFill>
            </c:spPr>
            <c:extLst>
              <c:ext xmlns:c16="http://schemas.microsoft.com/office/drawing/2014/chart" uri="{C3380CC4-5D6E-409C-BE32-E72D297353CC}">
                <c16:uniqueId val="{00000075-999B-42C0-A7D9-A2057CE05A51}"/>
              </c:ext>
            </c:extLst>
          </c:dPt>
          <c:dPt>
            <c:idx val="59"/>
            <c:invertIfNegative val="1"/>
            <c:bubble3D val="0"/>
            <c:spPr>
              <a:solidFill>
                <a:srgbClr val="E6E5E5"/>
              </a:solidFill>
            </c:spPr>
            <c:extLst>
              <c:ext xmlns:c16="http://schemas.microsoft.com/office/drawing/2014/chart" uri="{C3380CC4-5D6E-409C-BE32-E72D297353CC}">
                <c16:uniqueId val="{00000077-999B-42C0-A7D9-A2057CE05A51}"/>
              </c:ext>
            </c:extLst>
          </c:dPt>
          <c:dPt>
            <c:idx val="60"/>
            <c:invertIfNegative val="1"/>
            <c:bubble3D val="0"/>
            <c:spPr>
              <a:solidFill>
                <a:srgbClr val="E6E5E5"/>
              </a:solidFill>
            </c:spPr>
            <c:extLst>
              <c:ext xmlns:c16="http://schemas.microsoft.com/office/drawing/2014/chart" uri="{C3380CC4-5D6E-409C-BE32-E72D297353CC}">
                <c16:uniqueId val="{00000079-999B-42C0-A7D9-A2057CE05A51}"/>
              </c:ext>
            </c:extLst>
          </c:dPt>
          <c:dPt>
            <c:idx val="61"/>
            <c:invertIfNegative val="1"/>
            <c:bubble3D val="0"/>
            <c:spPr>
              <a:solidFill>
                <a:srgbClr val="E6E5E5"/>
              </a:solidFill>
            </c:spPr>
            <c:extLst>
              <c:ext xmlns:c16="http://schemas.microsoft.com/office/drawing/2014/chart" uri="{C3380CC4-5D6E-409C-BE32-E72D297353CC}">
                <c16:uniqueId val="{0000007B-999B-42C0-A7D9-A2057CE05A51}"/>
              </c:ext>
            </c:extLst>
          </c:dPt>
          <c:dPt>
            <c:idx val="62"/>
            <c:invertIfNegative val="1"/>
            <c:bubble3D val="0"/>
            <c:spPr>
              <a:solidFill>
                <a:srgbClr val="E6E5E5"/>
              </a:solidFill>
            </c:spPr>
            <c:extLst>
              <c:ext xmlns:c16="http://schemas.microsoft.com/office/drawing/2014/chart" uri="{C3380CC4-5D6E-409C-BE32-E72D297353CC}">
                <c16:uniqueId val="{0000007D-999B-42C0-A7D9-A2057CE05A51}"/>
              </c:ext>
            </c:extLst>
          </c:dPt>
          <c:dPt>
            <c:idx val="63"/>
            <c:invertIfNegative val="1"/>
            <c:bubble3D val="0"/>
            <c:spPr>
              <a:solidFill>
                <a:srgbClr val="E6E5E5"/>
              </a:solidFill>
            </c:spPr>
            <c:extLst>
              <c:ext xmlns:c16="http://schemas.microsoft.com/office/drawing/2014/chart" uri="{C3380CC4-5D6E-409C-BE32-E72D297353CC}">
                <c16:uniqueId val="{0000007F-999B-42C0-A7D9-A2057CE05A51}"/>
              </c:ext>
            </c:extLst>
          </c:dPt>
          <c:dPt>
            <c:idx val="64"/>
            <c:invertIfNegative val="1"/>
            <c:bubble3D val="0"/>
            <c:spPr>
              <a:solidFill>
                <a:srgbClr val="E6E5E5"/>
              </a:solidFill>
            </c:spPr>
            <c:extLst>
              <c:ext xmlns:c16="http://schemas.microsoft.com/office/drawing/2014/chart" uri="{C3380CC4-5D6E-409C-BE32-E72D297353CC}">
                <c16:uniqueId val="{00000081-999B-42C0-A7D9-A2057CE05A51}"/>
              </c:ext>
            </c:extLst>
          </c:dPt>
          <c:dPt>
            <c:idx val="65"/>
            <c:invertIfNegative val="1"/>
            <c:bubble3D val="0"/>
            <c:spPr>
              <a:solidFill>
                <a:srgbClr val="E6E5E5"/>
              </a:solidFill>
            </c:spPr>
            <c:extLst>
              <c:ext xmlns:c16="http://schemas.microsoft.com/office/drawing/2014/chart" uri="{C3380CC4-5D6E-409C-BE32-E72D297353CC}">
                <c16:uniqueId val="{00000083-999B-42C0-A7D9-A2057CE05A51}"/>
              </c:ext>
            </c:extLst>
          </c:dPt>
          <c:dPt>
            <c:idx val="66"/>
            <c:invertIfNegative val="1"/>
            <c:bubble3D val="0"/>
            <c:spPr>
              <a:solidFill>
                <a:srgbClr val="E6E5E5"/>
              </a:solidFill>
            </c:spPr>
            <c:extLst>
              <c:ext xmlns:c16="http://schemas.microsoft.com/office/drawing/2014/chart" uri="{C3380CC4-5D6E-409C-BE32-E72D297353CC}">
                <c16:uniqueId val="{00000085-999B-42C0-A7D9-A2057CE05A51}"/>
              </c:ext>
            </c:extLst>
          </c:dPt>
          <c:dPt>
            <c:idx val="67"/>
            <c:invertIfNegative val="1"/>
            <c:bubble3D val="0"/>
            <c:spPr>
              <a:solidFill>
                <a:srgbClr val="E6E5E5"/>
              </a:solidFill>
            </c:spPr>
            <c:extLst>
              <c:ext xmlns:c16="http://schemas.microsoft.com/office/drawing/2014/chart" uri="{C3380CC4-5D6E-409C-BE32-E72D297353CC}">
                <c16:uniqueId val="{00000087-999B-42C0-A7D9-A2057CE05A51}"/>
              </c:ext>
            </c:extLst>
          </c:dPt>
          <c:dPt>
            <c:idx val="68"/>
            <c:invertIfNegative val="1"/>
            <c:bubble3D val="0"/>
            <c:spPr>
              <a:solidFill>
                <a:srgbClr val="E6E5E5"/>
              </a:solidFill>
            </c:spPr>
            <c:extLst>
              <c:ext xmlns:c16="http://schemas.microsoft.com/office/drawing/2014/chart" uri="{C3380CC4-5D6E-409C-BE32-E72D297353CC}">
                <c16:uniqueId val="{00000089-999B-42C0-A7D9-A2057CE05A51}"/>
              </c:ext>
            </c:extLst>
          </c:dPt>
          <c:dPt>
            <c:idx val="69"/>
            <c:invertIfNegative val="1"/>
            <c:bubble3D val="0"/>
            <c:spPr>
              <a:solidFill>
                <a:srgbClr val="E6E5E5"/>
              </a:solidFill>
            </c:spPr>
            <c:extLst>
              <c:ext xmlns:c16="http://schemas.microsoft.com/office/drawing/2014/chart" uri="{C3380CC4-5D6E-409C-BE32-E72D297353CC}">
                <c16:uniqueId val="{0000008B-999B-42C0-A7D9-A2057CE05A51}"/>
              </c:ext>
            </c:extLst>
          </c:dPt>
          <c:dPt>
            <c:idx val="70"/>
            <c:invertIfNegative val="1"/>
            <c:bubble3D val="0"/>
            <c:spPr>
              <a:solidFill>
                <a:srgbClr val="E6E5E5"/>
              </a:solidFill>
            </c:spPr>
            <c:extLst>
              <c:ext xmlns:c16="http://schemas.microsoft.com/office/drawing/2014/chart" uri="{C3380CC4-5D6E-409C-BE32-E72D297353CC}">
                <c16:uniqueId val="{0000008D-999B-42C0-A7D9-A2057CE05A51}"/>
              </c:ext>
            </c:extLst>
          </c:dPt>
          <c:dPt>
            <c:idx val="71"/>
            <c:invertIfNegative val="1"/>
            <c:bubble3D val="0"/>
            <c:spPr>
              <a:solidFill>
                <a:srgbClr val="E6E5E5"/>
              </a:solidFill>
            </c:spPr>
            <c:extLst>
              <c:ext xmlns:c16="http://schemas.microsoft.com/office/drawing/2014/chart" uri="{C3380CC4-5D6E-409C-BE32-E72D297353CC}">
                <c16:uniqueId val="{0000008F-999B-42C0-A7D9-A2057CE05A51}"/>
              </c:ext>
            </c:extLst>
          </c:dPt>
          <c:dPt>
            <c:idx val="72"/>
            <c:invertIfNegative val="1"/>
            <c:bubble3D val="0"/>
            <c:spPr>
              <a:solidFill>
                <a:srgbClr val="E6E5E5"/>
              </a:solidFill>
            </c:spPr>
            <c:extLst>
              <c:ext xmlns:c16="http://schemas.microsoft.com/office/drawing/2014/chart" uri="{C3380CC4-5D6E-409C-BE32-E72D297353CC}">
                <c16:uniqueId val="{00000091-999B-42C0-A7D9-A2057CE05A51}"/>
              </c:ext>
            </c:extLst>
          </c:dPt>
          <c:dPt>
            <c:idx val="73"/>
            <c:invertIfNegative val="1"/>
            <c:bubble3D val="0"/>
            <c:spPr>
              <a:solidFill>
                <a:srgbClr val="E6E5E5"/>
              </a:solidFill>
            </c:spPr>
            <c:extLst>
              <c:ext xmlns:c16="http://schemas.microsoft.com/office/drawing/2014/chart" uri="{C3380CC4-5D6E-409C-BE32-E72D297353CC}">
                <c16:uniqueId val="{00000093-999B-42C0-A7D9-A2057CE05A51}"/>
              </c:ext>
            </c:extLst>
          </c:dPt>
          <c:dPt>
            <c:idx val="74"/>
            <c:invertIfNegative val="1"/>
            <c:bubble3D val="0"/>
            <c:spPr>
              <a:solidFill>
                <a:srgbClr val="E6E5E5"/>
              </a:solidFill>
            </c:spPr>
            <c:extLst>
              <c:ext xmlns:c16="http://schemas.microsoft.com/office/drawing/2014/chart" uri="{C3380CC4-5D6E-409C-BE32-E72D297353CC}">
                <c16:uniqueId val="{00000095-999B-42C0-A7D9-A2057CE05A51}"/>
              </c:ext>
            </c:extLst>
          </c:dPt>
          <c:dPt>
            <c:idx val="75"/>
            <c:invertIfNegative val="1"/>
            <c:bubble3D val="0"/>
            <c:spPr>
              <a:solidFill>
                <a:srgbClr val="E6E5E5"/>
              </a:solidFill>
            </c:spPr>
            <c:extLst>
              <c:ext xmlns:c16="http://schemas.microsoft.com/office/drawing/2014/chart" uri="{C3380CC4-5D6E-409C-BE32-E72D297353CC}">
                <c16:uniqueId val="{00000097-999B-42C0-A7D9-A2057CE05A51}"/>
              </c:ext>
            </c:extLst>
          </c:dPt>
          <c:dPt>
            <c:idx val="76"/>
            <c:invertIfNegative val="1"/>
            <c:bubble3D val="0"/>
            <c:spPr>
              <a:solidFill>
                <a:srgbClr val="E6E5E5"/>
              </a:solidFill>
            </c:spPr>
            <c:extLst>
              <c:ext xmlns:c16="http://schemas.microsoft.com/office/drawing/2014/chart" uri="{C3380CC4-5D6E-409C-BE32-E72D297353CC}">
                <c16:uniqueId val="{00000099-999B-42C0-A7D9-A2057CE05A51}"/>
              </c:ext>
            </c:extLst>
          </c:dPt>
          <c:dPt>
            <c:idx val="77"/>
            <c:invertIfNegative val="1"/>
            <c:bubble3D val="0"/>
            <c:spPr>
              <a:solidFill>
                <a:srgbClr val="E6E5E5"/>
              </a:solidFill>
            </c:spPr>
            <c:extLst>
              <c:ext xmlns:c16="http://schemas.microsoft.com/office/drawing/2014/chart" uri="{C3380CC4-5D6E-409C-BE32-E72D297353CC}">
                <c16:uniqueId val="{0000009B-999B-42C0-A7D9-A2057CE05A51}"/>
              </c:ext>
            </c:extLst>
          </c:dPt>
          <c:dPt>
            <c:idx val="78"/>
            <c:invertIfNegative val="1"/>
            <c:bubble3D val="0"/>
            <c:spPr>
              <a:solidFill>
                <a:srgbClr val="E6E5E5"/>
              </a:solidFill>
            </c:spPr>
            <c:extLst>
              <c:ext xmlns:c16="http://schemas.microsoft.com/office/drawing/2014/chart" uri="{C3380CC4-5D6E-409C-BE32-E72D297353CC}">
                <c16:uniqueId val="{0000009D-999B-42C0-A7D9-A2057CE05A51}"/>
              </c:ext>
            </c:extLst>
          </c:dPt>
          <c:dPt>
            <c:idx val="79"/>
            <c:invertIfNegative val="1"/>
            <c:bubble3D val="0"/>
            <c:spPr>
              <a:solidFill>
                <a:srgbClr val="E6E5E5"/>
              </a:solidFill>
            </c:spPr>
            <c:extLst>
              <c:ext xmlns:c16="http://schemas.microsoft.com/office/drawing/2014/chart" uri="{C3380CC4-5D6E-409C-BE32-E72D297353CC}">
                <c16:uniqueId val="{0000009F-999B-42C0-A7D9-A2057CE05A51}"/>
              </c:ext>
            </c:extLst>
          </c:dPt>
          <c:dPt>
            <c:idx val="80"/>
            <c:invertIfNegative val="1"/>
            <c:bubble3D val="0"/>
            <c:spPr>
              <a:solidFill>
                <a:srgbClr val="E6E5E5"/>
              </a:solidFill>
            </c:spPr>
            <c:extLst>
              <c:ext xmlns:c16="http://schemas.microsoft.com/office/drawing/2014/chart" uri="{C3380CC4-5D6E-409C-BE32-E72D297353CC}">
                <c16:uniqueId val="{000000A1-999B-42C0-A7D9-A2057CE05A51}"/>
              </c:ext>
            </c:extLst>
          </c:dPt>
          <c:dPt>
            <c:idx val="81"/>
            <c:invertIfNegative val="1"/>
            <c:bubble3D val="0"/>
            <c:spPr>
              <a:solidFill>
                <a:srgbClr val="E6E5E5"/>
              </a:solidFill>
            </c:spPr>
            <c:extLst>
              <c:ext xmlns:c16="http://schemas.microsoft.com/office/drawing/2014/chart" uri="{C3380CC4-5D6E-409C-BE32-E72D297353CC}">
                <c16:uniqueId val="{000000A3-999B-42C0-A7D9-A2057CE05A51}"/>
              </c:ext>
            </c:extLst>
          </c:dPt>
          <c:dPt>
            <c:idx val="82"/>
            <c:invertIfNegative val="1"/>
            <c:bubble3D val="0"/>
            <c:spPr>
              <a:solidFill>
                <a:srgbClr val="E6E5E5"/>
              </a:solidFill>
            </c:spPr>
            <c:extLst>
              <c:ext xmlns:c16="http://schemas.microsoft.com/office/drawing/2014/chart" uri="{C3380CC4-5D6E-409C-BE32-E72D297353CC}">
                <c16:uniqueId val="{000000A5-999B-42C0-A7D9-A2057CE05A51}"/>
              </c:ext>
            </c:extLst>
          </c:dPt>
          <c:dPt>
            <c:idx val="83"/>
            <c:invertIfNegative val="1"/>
            <c:bubble3D val="0"/>
            <c:spPr>
              <a:solidFill>
                <a:srgbClr val="E6E5E5"/>
              </a:solidFill>
            </c:spPr>
            <c:extLst>
              <c:ext xmlns:c16="http://schemas.microsoft.com/office/drawing/2014/chart" uri="{C3380CC4-5D6E-409C-BE32-E72D297353CC}">
                <c16:uniqueId val="{000000A7-999B-42C0-A7D9-A2057CE05A51}"/>
              </c:ext>
            </c:extLst>
          </c:dPt>
          <c:dPt>
            <c:idx val="84"/>
            <c:invertIfNegative val="1"/>
            <c:bubble3D val="0"/>
            <c:spPr>
              <a:solidFill>
                <a:srgbClr val="E6E5E5"/>
              </a:solidFill>
            </c:spPr>
            <c:extLst>
              <c:ext xmlns:c16="http://schemas.microsoft.com/office/drawing/2014/chart" uri="{C3380CC4-5D6E-409C-BE32-E72D297353CC}">
                <c16:uniqueId val="{000000A9-999B-42C0-A7D9-A2057CE05A51}"/>
              </c:ext>
            </c:extLst>
          </c:dPt>
          <c:dPt>
            <c:idx val="85"/>
            <c:invertIfNegative val="1"/>
            <c:bubble3D val="0"/>
            <c:spPr>
              <a:solidFill>
                <a:srgbClr val="E6E5E5"/>
              </a:solidFill>
            </c:spPr>
            <c:extLst>
              <c:ext xmlns:c16="http://schemas.microsoft.com/office/drawing/2014/chart" uri="{C3380CC4-5D6E-409C-BE32-E72D297353CC}">
                <c16:uniqueId val="{000000AB-999B-42C0-A7D9-A2057CE05A51}"/>
              </c:ext>
            </c:extLst>
          </c:dPt>
          <c:dPt>
            <c:idx val="86"/>
            <c:invertIfNegative val="1"/>
            <c:bubble3D val="0"/>
            <c:spPr>
              <a:solidFill>
                <a:srgbClr val="E6E5E5"/>
              </a:solidFill>
            </c:spPr>
            <c:extLst>
              <c:ext xmlns:c16="http://schemas.microsoft.com/office/drawing/2014/chart" uri="{C3380CC4-5D6E-409C-BE32-E72D297353CC}">
                <c16:uniqueId val="{000000AD-999B-42C0-A7D9-A2057CE05A51}"/>
              </c:ext>
            </c:extLst>
          </c:dPt>
          <c:dPt>
            <c:idx val="87"/>
            <c:invertIfNegative val="1"/>
            <c:bubble3D val="0"/>
            <c:spPr>
              <a:solidFill>
                <a:srgbClr val="E6E5E5"/>
              </a:solidFill>
            </c:spPr>
            <c:extLst>
              <c:ext xmlns:c16="http://schemas.microsoft.com/office/drawing/2014/chart" uri="{C3380CC4-5D6E-409C-BE32-E72D297353CC}">
                <c16:uniqueId val="{000000AF-999B-42C0-A7D9-A2057CE05A51}"/>
              </c:ext>
            </c:extLst>
          </c:dPt>
          <c:dPt>
            <c:idx val="88"/>
            <c:invertIfNegative val="1"/>
            <c:bubble3D val="0"/>
            <c:spPr>
              <a:solidFill>
                <a:srgbClr val="E6E5E5"/>
              </a:solidFill>
            </c:spPr>
            <c:extLst>
              <c:ext xmlns:c16="http://schemas.microsoft.com/office/drawing/2014/chart" uri="{C3380CC4-5D6E-409C-BE32-E72D297353CC}">
                <c16:uniqueId val="{000000B1-999B-42C0-A7D9-A2057CE05A51}"/>
              </c:ext>
            </c:extLst>
          </c:dPt>
          <c:dPt>
            <c:idx val="89"/>
            <c:invertIfNegative val="1"/>
            <c:bubble3D val="0"/>
            <c:spPr>
              <a:solidFill>
                <a:srgbClr val="E6E5E5"/>
              </a:solidFill>
            </c:spPr>
            <c:extLst>
              <c:ext xmlns:c16="http://schemas.microsoft.com/office/drawing/2014/chart" uri="{C3380CC4-5D6E-409C-BE32-E72D297353CC}">
                <c16:uniqueId val="{000000B3-999B-42C0-A7D9-A2057CE05A51}"/>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999B-42C0-A7D9-A2057CE05A51}"/>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999B-42C0-A7D9-A2057CE05A51}"/>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999B-42C0-A7D9-A2057CE05A51}"/>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999B-42C0-A7D9-A2057CE05A51}"/>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999B-42C0-A7D9-A2057CE05A51}"/>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999B-42C0-A7D9-A2057CE05A51}"/>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999B-42C0-A7D9-A2057CE05A51}"/>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999B-42C0-A7D9-A2057CE05A51}"/>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999B-42C0-A7D9-A2057CE05A51}"/>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99B-42C0-A7D9-A2057CE05A51}"/>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99B-42C0-A7D9-A2057CE05A51}"/>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999B-42C0-A7D9-A2057CE05A51}"/>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999B-42C0-A7D9-A2057CE05A51}"/>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999B-42C0-A7D9-A2057CE05A51}"/>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999B-42C0-A7D9-A2057CE05A51}"/>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999B-42C0-A7D9-A2057CE05A51}"/>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999B-42C0-A7D9-A2057CE05A51}"/>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999B-42C0-A7D9-A2057CE05A51}"/>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999B-42C0-A7D9-A2057CE05A51}"/>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999B-42C0-A7D9-A2057CE05A51}"/>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999B-42C0-A7D9-A2057CE05A51}"/>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999B-42C0-A7D9-A2057CE05A51}"/>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999B-42C0-A7D9-A2057CE05A51}"/>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999B-42C0-A7D9-A2057CE05A51}"/>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999B-42C0-A7D9-A2057CE05A51}"/>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999B-42C0-A7D9-A2057CE05A51}"/>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999B-42C0-A7D9-A2057CE05A51}"/>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999B-42C0-A7D9-A2057CE05A51}"/>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999B-42C0-A7D9-A2057CE05A51}"/>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999B-42C0-A7D9-A2057CE05A51}"/>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999B-42C0-A7D9-A2057CE05A51}"/>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999B-42C0-A7D9-A2057CE05A51}"/>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999B-42C0-A7D9-A2057CE05A51}"/>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999B-42C0-A7D9-A2057CE05A51}"/>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999B-42C0-A7D9-A2057CE05A51}"/>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999B-42C0-A7D9-A2057CE05A51}"/>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999B-42C0-A7D9-A2057CE05A51}"/>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999B-42C0-A7D9-A2057CE05A51}"/>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999B-42C0-A7D9-A2057CE05A51}"/>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999B-42C0-A7D9-A2057CE05A51}"/>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999B-42C0-A7D9-A2057CE05A51}"/>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999B-42C0-A7D9-A2057CE05A51}"/>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999B-42C0-A7D9-A2057CE05A51}"/>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999B-42C0-A7D9-A2057CE05A51}"/>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999B-42C0-A7D9-A2057CE05A51}"/>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999B-42C0-A7D9-A2057CE05A51}"/>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999B-42C0-A7D9-A2057CE05A51}"/>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999B-42C0-A7D9-A2057CE05A51}"/>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999B-42C0-A7D9-A2057CE05A51}"/>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999B-42C0-A7D9-A2057CE05A51}"/>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999B-42C0-A7D9-A2057CE05A51}"/>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999B-42C0-A7D9-A2057CE05A51}"/>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999B-42C0-A7D9-A2057CE05A51}"/>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999B-42C0-A7D9-A2057CE05A51}"/>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999B-42C0-A7D9-A2057CE05A51}"/>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999B-42C0-A7D9-A2057CE05A51}"/>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999B-42C0-A7D9-A2057CE05A51}"/>
                </c:ext>
              </c:extLst>
            </c:dLbl>
            <c:dLbl>
              <c:idx val="5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999B-42C0-A7D9-A2057CE05A51}"/>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999B-42C0-A7D9-A2057CE05A51}"/>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999B-42C0-A7D9-A2057CE05A51}"/>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999B-42C0-A7D9-A2057CE05A51}"/>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999B-42C0-A7D9-A2057CE05A51}"/>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999B-42C0-A7D9-A2057CE05A51}"/>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999B-42C0-A7D9-A2057CE05A51}"/>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999B-42C0-A7D9-A2057CE05A51}"/>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999B-42C0-A7D9-A2057CE05A51}"/>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999B-42C0-A7D9-A2057CE05A51}"/>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999B-42C0-A7D9-A2057CE05A51}"/>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999B-42C0-A7D9-A2057CE05A51}"/>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999B-42C0-A7D9-A2057CE05A51}"/>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999B-42C0-A7D9-A2057CE05A51}"/>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999B-42C0-A7D9-A2057CE05A51}"/>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999B-42C0-A7D9-A2057CE05A51}"/>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999B-42C0-A7D9-A2057CE05A51}"/>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999B-42C0-A7D9-A2057CE05A51}"/>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999B-42C0-A7D9-A2057CE05A51}"/>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999B-42C0-A7D9-A2057CE05A51}"/>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999B-42C0-A7D9-A2057CE05A51}"/>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999B-42C0-A7D9-A2057CE05A51}"/>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999B-42C0-A7D9-A2057CE05A51}"/>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999B-42C0-A7D9-A2057CE05A51}"/>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999B-42C0-A7D9-A2057CE05A51}"/>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999B-42C0-A7D9-A2057CE05A51}"/>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999B-42C0-A7D9-A2057CE05A51}"/>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999B-42C0-A7D9-A2057CE05A51}"/>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999B-42C0-A7D9-A2057CE05A51}"/>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999B-42C0-A7D9-A2057CE05A51}"/>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999B-42C0-A7D9-A2057CE05A51}"/>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999B-42C0-A7D9-A2057CE05A51}"/>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9</c:f>
              <c:strCache>
                <c:ptCount val="78"/>
                <c:pt idx="0">
                  <c:v>Galaxy Jewels 1.4kg</c:v>
                </c:pt>
                <c:pt idx="1">
                  <c:v>Ferrero Rocher 300g</c:v>
                </c:pt>
                <c:pt idx="2">
                  <c:v>Galaxy Smooth Milk Chocolate 36g x 24</c:v>
                </c:pt>
                <c:pt idx="3">
                  <c:v>Galaxy Jewels 900g</c:v>
                </c:pt>
                <c:pt idx="4">
                  <c:v>Galaxy Jewels 650g</c:v>
                </c:pt>
                <c:pt idx="5">
                  <c:v>Cadbury Dairy Milk Minis Selection 500g</c:v>
                </c:pt>
                <c:pt idx="6">
                  <c:v>Kit Kat 17.7g x 18</c:v>
                </c:pt>
                <c:pt idx="7">
                  <c:v>Kinder Bueno Milk&amp;Hazelnut 43g</c:v>
                </c:pt>
                <c:pt idx="8">
                  <c:v>Tiffany Break Supa 38gx12</c:v>
                </c:pt>
                <c:pt idx="9">
                  <c:v>Snickers 50gx6</c:v>
                </c:pt>
                <c:pt idx="10">
                  <c:v>Tiffany Break 24x15.5g</c:v>
                </c:pt>
                <c:pt idx="11">
                  <c:v>Tiffany Break Mini Fun 384g</c:v>
                </c:pt>
                <c:pt idx="12">
                  <c:v>Kinder Bueno Milk&amp;Hazelnut 43gx10</c:v>
                </c:pt>
                <c:pt idx="13">
                  <c:v>Mackintosh Quality Street Chocolate 600g</c:v>
                </c:pt>
                <c:pt idx="14">
                  <c:v>Snickers Bar 50g</c:v>
                </c:pt>
                <c:pt idx="15">
                  <c:v>Maltesers Chocolate 175g</c:v>
                </c:pt>
                <c:pt idx="16">
                  <c:v>Tiffany Break 31gx12</c:v>
                </c:pt>
                <c:pt idx="17">
                  <c:v>Tiffany Break Delight 25gx12</c:v>
                </c:pt>
                <c:pt idx="18">
                  <c:v>Snickers Minis Bag 252g</c:v>
                </c:pt>
                <c:pt idx="19">
                  <c:v>Cadbury Miniatures Box 400g</c:v>
                </c:pt>
                <c:pt idx="20">
                  <c:v>Bounty Bar 57g</c:v>
                </c:pt>
                <c:pt idx="21">
                  <c:v>Galaxy Smooth Milk Minis 237.5g</c:v>
                </c:pt>
                <c:pt idx="22">
                  <c:v>Bounty Bar 57g x 5</c:v>
                </c:pt>
                <c:pt idx="23">
                  <c:v>Kinder Maxi Chocolate 21gx11 (10+1)</c:v>
                </c:pt>
                <c:pt idx="24">
                  <c:v>Ferrero Rocher 200g</c:v>
                </c:pt>
                <c:pt idx="25">
                  <c:v>Ferrero Raffaello 150g box </c:v>
                </c:pt>
                <c:pt idx="26">
                  <c:v>Galaxy Hazelnut Minis 237.5g</c:v>
                </c:pt>
                <c:pt idx="27">
                  <c:v>Twix 50gx5</c:v>
                </c:pt>
                <c:pt idx="28">
                  <c:v>Twix Bar 50g</c:v>
                </c:pt>
                <c:pt idx="29">
                  <c:v>Maltesers Chocolate 37g</c:v>
                </c:pt>
                <c:pt idx="30">
                  <c:v>Snickers Miniatures 150g</c:v>
                </c:pt>
                <c:pt idx="31">
                  <c:v>Cadbury Flake Minis Bag 159.5g</c:v>
                </c:pt>
                <c:pt idx="32">
                  <c:v>M&amp;M's Peanut 165g</c:v>
                </c:pt>
                <c:pt idx="33">
                  <c:v>Twix Miniatures 150g</c:v>
                </c:pt>
                <c:pt idx="34">
                  <c:v>Cadbury Timeout Minis Wafer 247.2g</c:v>
                </c:pt>
                <c:pt idx="35">
                  <c:v>Toblerone Milk Chocolate 200g</c:v>
                </c:pt>
                <c:pt idx="36">
                  <c:v>Galaxy Smooth Milk Minis 162.5g</c:v>
                </c:pt>
                <c:pt idx="37">
                  <c:v>Mars 45g x 6</c:v>
                </c:pt>
                <c:pt idx="38">
                  <c:v>Bounty Miniatures 150g</c:v>
                </c:pt>
                <c:pt idx="39">
                  <c:v>Kinder Chocolate Bar 8x12.5g</c:v>
                </c:pt>
                <c:pt idx="40">
                  <c:v>Galaxy Smooth Dark Chocolate 40g</c:v>
                </c:pt>
                <c:pt idx="41">
                  <c:v>Mars Bar 51g </c:v>
                </c:pt>
                <c:pt idx="42">
                  <c:v>Hershey's Kisses Special Selection Assorted 325g</c:v>
                </c:pt>
                <c:pt idx="43">
                  <c:v>Galaxy Hazelnut Chocolate 36g</c:v>
                </c:pt>
                <c:pt idx="44">
                  <c:v>Galaxy Smooth Milk Chocolate 36g</c:v>
                </c:pt>
                <c:pt idx="45">
                  <c:v>Galaxy Caramel Bar 40g</c:v>
                </c:pt>
                <c:pt idx="46">
                  <c:v>Kinder Chocolate Bar 50g</c:v>
                </c:pt>
                <c:pt idx="47">
                  <c:v>Kinder Bueno White 39g</c:v>
                </c:pt>
                <c:pt idx="48">
                  <c:v>Hershey's Kisses Classic Selection Assorted 325g</c:v>
                </c:pt>
                <c:pt idx="49">
                  <c:v>Galaxy Crispy Milk Chocolate 36g</c:v>
                </c:pt>
                <c:pt idx="50">
                  <c:v> Reeses Peanut Butter Cup Mini 340g </c:v>
                </c:pt>
                <c:pt idx="51">
                  <c:v>Kit Kat 17.7g</c:v>
                </c:pt>
                <c:pt idx="52">
                  <c:v> Reeses Peanut Butter Cup 42g x 6</c:v>
                </c:pt>
                <c:pt idx="53">
                  <c:v>Reeses Peanut Butter Cups 46g</c:v>
                </c:pt>
                <c:pt idx="54">
                  <c:v>Reeses Peanut Butter Cup Mini 215g</c:v>
                </c:pt>
                <c:pt idx="55">
                  <c:v>M&amp;M's Milk Chocolate 30.6g</c:v>
                </c:pt>
                <c:pt idx="56">
                  <c:v>Godiva Double Chocolate Bar 35g</c:v>
                </c:pt>
                <c:pt idx="57">
                  <c:v>Galaxy Smooth Milk Chocolate 80g</c:v>
                </c:pt>
                <c:pt idx="58">
                  <c:v>Galaxy Ripple Bar 33g</c:v>
                </c:pt>
                <c:pt idx="59">
                  <c:v>Hershey's Chocobites Cookies 'n Creme 90g</c:v>
                </c:pt>
                <c:pt idx="60">
                  <c:v>Hershey's Kisses Special Selection Assorted 100g</c:v>
                </c:pt>
                <c:pt idx="61">
                  <c:v>Hershey's Chocobites Salted Caramel 81g</c:v>
                </c:pt>
                <c:pt idx="62">
                  <c:v>Hershey's Cookies N' Chocolate 40g</c:v>
                </c:pt>
                <c:pt idx="63">
                  <c:v>Reeses Block 90g</c:v>
                </c:pt>
                <c:pt idx="64">
                  <c:v>Reeses Nut Bar 47g</c:v>
                </c:pt>
                <c:pt idx="65">
                  <c:v>Hershey's Kisses Classic Selection Assorted 100g</c:v>
                </c:pt>
                <c:pt idx="66">
                  <c:v>Hershey's Cookies 'n Creme Creations Salted Caramel 38g</c:v>
                </c:pt>
                <c:pt idx="67">
                  <c:v>Hershey's Cookies N' Crème 12.76g</c:v>
                </c:pt>
                <c:pt idx="68">
                  <c:v> Reeses Wafer Sticks 42g</c:v>
                </c:pt>
                <c:pt idx="69">
                  <c:v>Hershey's Choco Tubes Cookies N' Creme 18g</c:v>
                </c:pt>
                <c:pt idx="70">
                  <c:v> Reeses Peanut Butter Cup Mini 500G</c:v>
                </c:pt>
                <c:pt idx="71">
                  <c:v>Reeses Pieces 180g</c:v>
                </c:pt>
                <c:pt idx="72">
                  <c:v>Reeses Mini King Size 71g</c:v>
                </c:pt>
                <c:pt idx="73">
                  <c:v>Hershey's Cookies 'n Creme Block 90g</c:v>
                </c:pt>
                <c:pt idx="74">
                  <c:v>Hersheys Kisses Classic Selection Assorted 600G</c:v>
                </c:pt>
                <c:pt idx="75">
                  <c:v>Hershey's Cookies 'n Creme 40Gx 4</c:v>
                </c:pt>
                <c:pt idx="76">
                  <c:v>Hershey's Variety Pack 40Gx3</c:v>
                </c:pt>
                <c:pt idx="77">
                  <c:v>Reeses Fast break 51g</c:v>
                </c:pt>
              </c:strCache>
            </c:strRef>
          </c:cat>
          <c:val>
            <c:numRef>
              <c:f>Sheet1!$B$2:$B$79</c:f>
              <c:numCache>
                <c:formatCode>General</c:formatCode>
                <c:ptCount val="78"/>
                <c:pt idx="0">
                  <c:v>8.7534810601232665E-2</c:v>
                </c:pt>
                <c:pt idx="1">
                  <c:v>5.7559500892221442E-2</c:v>
                </c:pt>
                <c:pt idx="2">
                  <c:v>5.2484576460387768E-2</c:v>
                </c:pt>
                <c:pt idx="3">
                  <c:v>5.2431668272041182E-2</c:v>
                </c:pt>
                <c:pt idx="4">
                  <c:v>4.868892335715206E-2</c:v>
                </c:pt>
                <c:pt idx="5">
                  <c:v>3.9883127665807053E-2</c:v>
                </c:pt>
                <c:pt idx="6">
                  <c:v>2.9310751584451511E-2</c:v>
                </c:pt>
                <c:pt idx="7">
                  <c:v>2.7693958481604788E-2</c:v>
                </c:pt>
                <c:pt idx="8">
                  <c:v>2.520913477236672E-2</c:v>
                </c:pt>
                <c:pt idx="9">
                  <c:v>2.4955217813546149E-2</c:v>
                </c:pt>
                <c:pt idx="10">
                  <c:v>2.4411629377003408E-2</c:v>
                </c:pt>
                <c:pt idx="11">
                  <c:v>2.432162347521807E-2</c:v>
                </c:pt>
                <c:pt idx="12">
                  <c:v>2.2631346863859841E-2</c:v>
                </c:pt>
                <c:pt idx="13">
                  <c:v>2.2425372973408079E-2</c:v>
                </c:pt>
                <c:pt idx="14">
                  <c:v>2.1309215636296241E-2</c:v>
                </c:pt>
                <c:pt idx="15">
                  <c:v>2.0959753622360241E-2</c:v>
                </c:pt>
                <c:pt idx="16">
                  <c:v>2.0800319571241239E-2</c:v>
                </c:pt>
                <c:pt idx="17">
                  <c:v>1.7970810967835201E-2</c:v>
                </c:pt>
                <c:pt idx="18">
                  <c:v>1.6850758622753849E-2</c:v>
                </c:pt>
                <c:pt idx="19">
                  <c:v>1.596269816570935E-2</c:v>
                </c:pt>
                <c:pt idx="20">
                  <c:v>1.5112238409568249E-2</c:v>
                </c:pt>
                <c:pt idx="21">
                  <c:v>1.461542990237732E-2</c:v>
                </c:pt>
                <c:pt idx="22">
                  <c:v>1.4334284118613001E-2</c:v>
                </c:pt>
                <c:pt idx="23">
                  <c:v>1.430940527615138E-2</c:v>
                </c:pt>
                <c:pt idx="24">
                  <c:v>1.4289080781313281E-2</c:v>
                </c:pt>
                <c:pt idx="25">
                  <c:v>1.403814668354727E-2</c:v>
                </c:pt>
                <c:pt idx="26">
                  <c:v>1.330105136333818E-2</c:v>
                </c:pt>
                <c:pt idx="27">
                  <c:v>1.279435495102535E-2</c:v>
                </c:pt>
                <c:pt idx="28">
                  <c:v>1.1555834851677259E-2</c:v>
                </c:pt>
                <c:pt idx="29">
                  <c:v>1.1353549481144559E-2</c:v>
                </c:pt>
                <c:pt idx="30">
                  <c:v>1.086773292425431E-2</c:v>
                </c:pt>
                <c:pt idx="31">
                  <c:v>1.0487758880938881E-2</c:v>
                </c:pt>
                <c:pt idx="32">
                  <c:v>1.043360818931305E-2</c:v>
                </c:pt>
                <c:pt idx="33">
                  <c:v>1.021010493667055E-2</c:v>
                </c:pt>
                <c:pt idx="34">
                  <c:v>1.0000357436865779E-2</c:v>
                </c:pt>
                <c:pt idx="35">
                  <c:v>9.6856196504729163E-3</c:v>
                </c:pt>
                <c:pt idx="36">
                  <c:v>9.406623878718887E-3</c:v>
                </c:pt>
                <c:pt idx="37">
                  <c:v>8.1035583272461749E-3</c:v>
                </c:pt>
                <c:pt idx="38">
                  <c:v>7.5495692266556828E-3</c:v>
                </c:pt>
                <c:pt idx="39">
                  <c:v>7.4420449325245048E-3</c:v>
                </c:pt>
                <c:pt idx="40">
                  <c:v>7.2277216112720663E-3</c:v>
                </c:pt>
                <c:pt idx="41">
                  <c:v>7.1673392735173798E-3</c:v>
                </c:pt>
                <c:pt idx="42">
                  <c:v>6.7869153080573506E-3</c:v>
                </c:pt>
                <c:pt idx="43">
                  <c:v>6.6451374901548904E-3</c:v>
                </c:pt>
                <c:pt idx="44">
                  <c:v>6.5885098340167552E-3</c:v>
                </c:pt>
                <c:pt idx="45">
                  <c:v>6.1118889102816784E-3</c:v>
                </c:pt>
                <c:pt idx="46">
                  <c:v>5.4493931229054396E-3</c:v>
                </c:pt>
                <c:pt idx="47">
                  <c:v>5.4360110602241834E-3</c:v>
                </c:pt>
                <c:pt idx="48">
                  <c:v>5.072109933842715E-3</c:v>
                </c:pt>
                <c:pt idx="49">
                  <c:v>4.8778405380791113E-3</c:v>
                </c:pt>
                <c:pt idx="50">
                  <c:v>4.8293537084955207E-3</c:v>
                </c:pt>
                <c:pt idx="51">
                  <c:v>4.756436351299226E-3</c:v>
                </c:pt>
                <c:pt idx="52">
                  <c:v>4.6147312769180401E-3</c:v>
                </c:pt>
                <c:pt idx="53">
                  <c:v>4.5051743706602341E-3</c:v>
                </c:pt>
                <c:pt idx="54">
                  <c:v>4.4076916789279564E-3</c:v>
                </c:pt>
                <c:pt idx="55">
                  <c:v>4.0239190321588224E-3</c:v>
                </c:pt>
                <c:pt idx="56">
                  <c:v>3.9206240800433037E-3</c:v>
                </c:pt>
                <c:pt idx="57">
                  <c:v>3.4990833523240289E-3</c:v>
                </c:pt>
                <c:pt idx="58">
                  <c:v>3.3187734201093398E-3</c:v>
                </c:pt>
                <c:pt idx="59">
                  <c:v>2.7137303220649859E-3</c:v>
                </c:pt>
                <c:pt idx="60">
                  <c:v>2.541702375438945E-3</c:v>
                </c:pt>
                <c:pt idx="61">
                  <c:v>2.4340625382641319E-3</c:v>
                </c:pt>
                <c:pt idx="62">
                  <c:v>2.4219716916852839E-3</c:v>
                </c:pt>
                <c:pt idx="63">
                  <c:v>2.1593638402186001E-3</c:v>
                </c:pt>
                <c:pt idx="64">
                  <c:v>1.6564163558322471E-3</c:v>
                </c:pt>
                <c:pt idx="65">
                  <c:v>1.534050800512053E-3</c:v>
                </c:pt>
                <c:pt idx="66">
                  <c:v>8.8861505707664911E-4</c:v>
                </c:pt>
                <c:pt idx="67">
                  <c:v>7.8139805979037706E-4</c:v>
                </c:pt>
                <c:pt idx="68">
                  <c:v>2.7164883385527279E-4</c:v>
                </c:pt>
                <c:pt idx="69">
                  <c:v>7.2832393059720158E-5</c:v>
                </c:pt>
                <c:pt idx="70">
                  <c:v>0</c:v>
                </c:pt>
                <c:pt idx="71">
                  <c:v>0</c:v>
                </c:pt>
                <c:pt idx="72">
                  <c:v>0</c:v>
                </c:pt>
                <c:pt idx="73">
                  <c:v>0</c:v>
                </c:pt>
                <c:pt idx="74">
                  <c:v>0</c:v>
                </c:pt>
                <c:pt idx="75">
                  <c:v>0</c:v>
                </c:pt>
                <c:pt idx="76">
                  <c:v>0</c:v>
                </c:pt>
                <c:pt idx="77">
                  <c:v>0</c:v>
                </c:pt>
              </c:numCache>
            </c:numRef>
          </c:val>
          <c:extLst>
            <c:ext xmlns:c16="http://schemas.microsoft.com/office/drawing/2014/chart" uri="{C3380CC4-5D6E-409C-BE32-E72D297353CC}">
              <c16:uniqueId val="{000000B4-999B-42C0-A7D9-A2057CE05A51}"/>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ershey's Cookies 'n Creme Creations Salted Caramel 38g</c:v>
                </c:pt>
              </c:strCache>
            </c:strRef>
          </c:tx>
          <c:spPr>
            <a:solidFill>
              <a:schemeClr val="bg2"/>
            </a:solidFill>
            <a:ln>
              <a:noFill/>
            </a:ln>
            <a:effectLst/>
          </c:spPr>
          <c:invertIfNegative val="0"/>
          <c:dPt>
            <c:idx val="0"/>
            <c:invertIfNegative val="0"/>
            <c:bubble3D val="0"/>
            <c:spPr>
              <a:solidFill>
                <a:srgbClr val="E6E5E5"/>
              </a:solidFill>
              <a:ln>
                <a:noFill/>
              </a:ln>
              <a:effectLst/>
            </c:spPr>
            <c:extLst>
              <c:ext xmlns:c16="http://schemas.microsoft.com/office/drawing/2014/chart" uri="{C3380CC4-5D6E-409C-BE32-E72D297353CC}">
                <c16:uniqueId val="{00000001-83E0-4716-877A-8084D4846F88}"/>
              </c:ext>
            </c:extLst>
          </c:dPt>
          <c:dPt>
            <c:idx val="1"/>
            <c:invertIfNegative val="1"/>
            <c:bubble3D val="0"/>
            <c:spPr>
              <a:solidFill>
                <a:srgbClr val="E6E5E5"/>
              </a:solidFill>
            </c:spPr>
            <c:extLst>
              <c:ext xmlns:c16="http://schemas.microsoft.com/office/drawing/2014/chart" uri="{C3380CC4-5D6E-409C-BE32-E72D297353CC}">
                <c16:uniqueId val="{00000003-83E0-4716-877A-8084D4846F88}"/>
              </c:ext>
            </c:extLst>
          </c:dPt>
          <c:dPt>
            <c:idx val="2"/>
            <c:invertIfNegative val="1"/>
            <c:bubble3D val="0"/>
            <c:spPr>
              <a:solidFill>
                <a:srgbClr val="E6E5E5"/>
              </a:solidFill>
            </c:spPr>
            <c:extLst>
              <c:ext xmlns:c16="http://schemas.microsoft.com/office/drawing/2014/chart" uri="{C3380CC4-5D6E-409C-BE32-E72D297353CC}">
                <c16:uniqueId val="{00000005-83E0-4716-877A-8084D4846F88}"/>
              </c:ext>
            </c:extLst>
          </c:dPt>
          <c:dPt>
            <c:idx val="3"/>
            <c:invertIfNegative val="0"/>
            <c:bubble3D val="0"/>
            <c:spPr>
              <a:solidFill>
                <a:srgbClr val="E6E5E5"/>
              </a:solidFill>
              <a:ln>
                <a:noFill/>
              </a:ln>
              <a:effectLst/>
            </c:spPr>
            <c:extLst>
              <c:ext xmlns:c16="http://schemas.microsoft.com/office/drawing/2014/chart" uri="{C3380CC4-5D6E-409C-BE32-E72D297353CC}">
                <c16:uniqueId val="{00000007-83E0-4716-877A-8084D4846F88}"/>
              </c:ext>
            </c:extLst>
          </c:dPt>
          <c:dPt>
            <c:idx val="4"/>
            <c:invertIfNegative val="1"/>
            <c:bubble3D val="0"/>
            <c:spPr>
              <a:solidFill>
                <a:srgbClr val="E6E5E5"/>
              </a:solidFill>
            </c:spPr>
            <c:extLst>
              <c:ext xmlns:c16="http://schemas.microsoft.com/office/drawing/2014/chart" uri="{C3380CC4-5D6E-409C-BE32-E72D297353CC}">
                <c16:uniqueId val="{00000009-83E0-4716-877A-8084D4846F88}"/>
              </c:ext>
            </c:extLst>
          </c:dPt>
          <c:dPt>
            <c:idx val="5"/>
            <c:invertIfNegative val="1"/>
            <c:bubble3D val="0"/>
            <c:spPr>
              <a:solidFill>
                <a:srgbClr val="E6E5E5"/>
              </a:solidFill>
            </c:spPr>
            <c:extLst>
              <c:ext xmlns:c16="http://schemas.microsoft.com/office/drawing/2014/chart" uri="{C3380CC4-5D6E-409C-BE32-E72D297353CC}">
                <c16:uniqueId val="{0000000B-83E0-4716-877A-8084D4846F88}"/>
              </c:ext>
            </c:extLst>
          </c:dPt>
          <c:dPt>
            <c:idx val="6"/>
            <c:invertIfNegative val="1"/>
            <c:bubble3D val="0"/>
            <c:spPr>
              <a:solidFill>
                <a:srgbClr val="E6E5E5"/>
              </a:solidFill>
            </c:spPr>
            <c:extLst>
              <c:ext xmlns:c16="http://schemas.microsoft.com/office/drawing/2014/chart" uri="{C3380CC4-5D6E-409C-BE32-E72D297353CC}">
                <c16:uniqueId val="{0000000D-83E0-4716-877A-8084D4846F88}"/>
              </c:ext>
            </c:extLst>
          </c:dPt>
          <c:dPt>
            <c:idx val="7"/>
            <c:invertIfNegative val="1"/>
            <c:bubble3D val="0"/>
            <c:spPr>
              <a:solidFill>
                <a:srgbClr val="E6E5E5"/>
              </a:solidFill>
            </c:spPr>
            <c:extLst>
              <c:ext xmlns:c16="http://schemas.microsoft.com/office/drawing/2014/chart" uri="{C3380CC4-5D6E-409C-BE32-E72D297353CC}">
                <c16:uniqueId val="{0000000F-83E0-4716-877A-8084D4846F88}"/>
              </c:ext>
            </c:extLst>
          </c:dPt>
          <c:dPt>
            <c:idx val="8"/>
            <c:invertIfNegative val="1"/>
            <c:bubble3D val="0"/>
            <c:spPr>
              <a:solidFill>
                <a:srgbClr val="E6E5E5"/>
              </a:solidFill>
            </c:spPr>
            <c:extLst>
              <c:ext xmlns:c16="http://schemas.microsoft.com/office/drawing/2014/chart" uri="{C3380CC4-5D6E-409C-BE32-E72D297353CC}">
                <c16:uniqueId val="{00000011-83E0-4716-877A-8084D4846F88}"/>
              </c:ext>
            </c:extLst>
          </c:dPt>
          <c:dPt>
            <c:idx val="9"/>
            <c:invertIfNegative val="1"/>
            <c:bubble3D val="0"/>
            <c:spPr>
              <a:solidFill>
                <a:srgbClr val="E6E5E5"/>
              </a:solidFill>
            </c:spPr>
            <c:extLst>
              <c:ext xmlns:c16="http://schemas.microsoft.com/office/drawing/2014/chart" uri="{C3380CC4-5D6E-409C-BE32-E72D297353CC}">
                <c16:uniqueId val="{00000013-83E0-4716-877A-8084D4846F88}"/>
              </c:ext>
            </c:extLst>
          </c:dPt>
          <c:dPt>
            <c:idx val="10"/>
            <c:invertIfNegative val="1"/>
            <c:bubble3D val="0"/>
            <c:spPr>
              <a:solidFill>
                <a:srgbClr val="E6E5E5"/>
              </a:solidFill>
            </c:spPr>
            <c:extLst>
              <c:ext xmlns:c16="http://schemas.microsoft.com/office/drawing/2014/chart" uri="{C3380CC4-5D6E-409C-BE32-E72D297353CC}">
                <c16:uniqueId val="{00000015-83E0-4716-877A-8084D4846F88}"/>
              </c:ext>
            </c:extLst>
          </c:dPt>
          <c:dPt>
            <c:idx val="11"/>
            <c:invertIfNegative val="1"/>
            <c:bubble3D val="0"/>
            <c:spPr>
              <a:solidFill>
                <a:srgbClr val="E6E5E5"/>
              </a:solidFill>
            </c:spPr>
            <c:extLst>
              <c:ext xmlns:c16="http://schemas.microsoft.com/office/drawing/2014/chart" uri="{C3380CC4-5D6E-409C-BE32-E72D297353CC}">
                <c16:uniqueId val="{00000017-83E0-4716-877A-8084D4846F88}"/>
              </c:ext>
            </c:extLst>
          </c:dPt>
          <c:dPt>
            <c:idx val="12"/>
            <c:invertIfNegative val="1"/>
            <c:bubble3D val="0"/>
            <c:spPr>
              <a:solidFill>
                <a:srgbClr val="E6E5E5"/>
              </a:solidFill>
            </c:spPr>
            <c:extLst>
              <c:ext xmlns:c16="http://schemas.microsoft.com/office/drawing/2014/chart" uri="{C3380CC4-5D6E-409C-BE32-E72D297353CC}">
                <c16:uniqueId val="{00000019-83E0-4716-877A-8084D4846F88}"/>
              </c:ext>
            </c:extLst>
          </c:dPt>
          <c:dPt>
            <c:idx val="13"/>
            <c:invertIfNegative val="1"/>
            <c:bubble3D val="0"/>
            <c:spPr>
              <a:solidFill>
                <a:srgbClr val="E6E5E5"/>
              </a:solidFill>
            </c:spPr>
            <c:extLst>
              <c:ext xmlns:c16="http://schemas.microsoft.com/office/drawing/2014/chart" uri="{C3380CC4-5D6E-409C-BE32-E72D297353CC}">
                <c16:uniqueId val="{0000001B-83E0-4716-877A-8084D4846F88}"/>
              </c:ext>
            </c:extLst>
          </c:dPt>
          <c:dPt>
            <c:idx val="14"/>
            <c:invertIfNegative val="0"/>
            <c:bubble3D val="0"/>
            <c:spPr>
              <a:solidFill>
                <a:srgbClr val="E6E5E5"/>
              </a:solidFill>
              <a:ln>
                <a:noFill/>
              </a:ln>
              <a:effectLst/>
            </c:spPr>
            <c:extLst>
              <c:ext xmlns:c16="http://schemas.microsoft.com/office/drawing/2014/chart" uri="{C3380CC4-5D6E-409C-BE32-E72D297353CC}">
                <c16:uniqueId val="{0000001D-83E0-4716-877A-8084D4846F88}"/>
              </c:ext>
            </c:extLst>
          </c:dPt>
          <c:dPt>
            <c:idx val="15"/>
            <c:invertIfNegative val="1"/>
            <c:bubble3D val="0"/>
            <c:spPr>
              <a:solidFill>
                <a:srgbClr val="E6E5E5"/>
              </a:solidFill>
            </c:spPr>
            <c:extLst>
              <c:ext xmlns:c16="http://schemas.microsoft.com/office/drawing/2014/chart" uri="{C3380CC4-5D6E-409C-BE32-E72D297353CC}">
                <c16:uniqueId val="{0000001F-83E0-4716-877A-8084D4846F88}"/>
              </c:ext>
            </c:extLst>
          </c:dPt>
          <c:dPt>
            <c:idx val="16"/>
            <c:invertIfNegative val="1"/>
            <c:bubble3D val="0"/>
            <c:spPr>
              <a:solidFill>
                <a:srgbClr val="E6E5E5"/>
              </a:solidFill>
            </c:spPr>
            <c:extLst>
              <c:ext xmlns:c16="http://schemas.microsoft.com/office/drawing/2014/chart" uri="{C3380CC4-5D6E-409C-BE32-E72D297353CC}">
                <c16:uniqueId val="{00000021-83E0-4716-877A-8084D4846F88}"/>
              </c:ext>
            </c:extLst>
          </c:dPt>
          <c:dPt>
            <c:idx val="17"/>
            <c:invertIfNegative val="0"/>
            <c:bubble3D val="0"/>
            <c:spPr>
              <a:solidFill>
                <a:srgbClr val="E6E5E5"/>
              </a:solidFill>
              <a:ln>
                <a:noFill/>
              </a:ln>
              <a:effectLst/>
            </c:spPr>
            <c:extLst>
              <c:ext xmlns:c16="http://schemas.microsoft.com/office/drawing/2014/chart" uri="{C3380CC4-5D6E-409C-BE32-E72D297353CC}">
                <c16:uniqueId val="{00000023-83E0-4716-877A-8084D4846F88}"/>
              </c:ext>
            </c:extLst>
          </c:dPt>
          <c:dPt>
            <c:idx val="18"/>
            <c:invertIfNegative val="1"/>
            <c:bubble3D val="0"/>
            <c:spPr>
              <a:solidFill>
                <a:srgbClr val="E6E5E5"/>
              </a:solidFill>
            </c:spPr>
            <c:extLst>
              <c:ext xmlns:c16="http://schemas.microsoft.com/office/drawing/2014/chart" uri="{C3380CC4-5D6E-409C-BE32-E72D297353CC}">
                <c16:uniqueId val="{00000025-83E0-4716-877A-8084D4846F88}"/>
              </c:ext>
            </c:extLst>
          </c:dPt>
          <c:dPt>
            <c:idx val="19"/>
            <c:invertIfNegative val="1"/>
            <c:bubble3D val="0"/>
            <c:spPr>
              <a:solidFill>
                <a:srgbClr val="E6E5E5"/>
              </a:solidFill>
            </c:spPr>
            <c:extLst>
              <c:ext xmlns:c16="http://schemas.microsoft.com/office/drawing/2014/chart" uri="{C3380CC4-5D6E-409C-BE32-E72D297353CC}">
                <c16:uniqueId val="{00000027-83E0-4716-877A-8084D4846F88}"/>
              </c:ext>
            </c:extLst>
          </c:dPt>
          <c:dPt>
            <c:idx val="20"/>
            <c:invertIfNegative val="1"/>
            <c:bubble3D val="0"/>
            <c:spPr>
              <a:solidFill>
                <a:srgbClr val="E6E5E5"/>
              </a:solidFill>
            </c:spPr>
            <c:extLst>
              <c:ext xmlns:c16="http://schemas.microsoft.com/office/drawing/2014/chart" uri="{C3380CC4-5D6E-409C-BE32-E72D297353CC}">
                <c16:uniqueId val="{00000029-83E0-4716-877A-8084D4846F88}"/>
              </c:ext>
            </c:extLst>
          </c:dPt>
          <c:dPt>
            <c:idx val="21"/>
            <c:invertIfNegative val="1"/>
            <c:bubble3D val="0"/>
            <c:spPr>
              <a:solidFill>
                <a:srgbClr val="E6E5E5"/>
              </a:solidFill>
            </c:spPr>
            <c:extLst>
              <c:ext xmlns:c16="http://schemas.microsoft.com/office/drawing/2014/chart" uri="{C3380CC4-5D6E-409C-BE32-E72D297353CC}">
                <c16:uniqueId val="{0000002B-83E0-4716-877A-8084D4846F88}"/>
              </c:ext>
            </c:extLst>
          </c:dPt>
          <c:dPt>
            <c:idx val="22"/>
            <c:invertIfNegative val="1"/>
            <c:bubble3D val="0"/>
            <c:spPr>
              <a:solidFill>
                <a:srgbClr val="E6E5E5"/>
              </a:solidFill>
            </c:spPr>
            <c:extLst>
              <c:ext xmlns:c16="http://schemas.microsoft.com/office/drawing/2014/chart" uri="{C3380CC4-5D6E-409C-BE32-E72D297353CC}">
                <c16:uniqueId val="{0000002D-83E0-4716-877A-8084D4846F88}"/>
              </c:ext>
            </c:extLst>
          </c:dPt>
          <c:dPt>
            <c:idx val="23"/>
            <c:invertIfNegative val="1"/>
            <c:bubble3D val="0"/>
            <c:spPr>
              <a:solidFill>
                <a:srgbClr val="E6E5E5"/>
              </a:solidFill>
            </c:spPr>
            <c:extLst>
              <c:ext xmlns:c16="http://schemas.microsoft.com/office/drawing/2014/chart" uri="{C3380CC4-5D6E-409C-BE32-E72D297353CC}">
                <c16:uniqueId val="{0000002F-83E0-4716-877A-8084D4846F88}"/>
              </c:ext>
            </c:extLst>
          </c:dPt>
          <c:dPt>
            <c:idx val="24"/>
            <c:invertIfNegative val="1"/>
            <c:bubble3D val="0"/>
            <c:spPr>
              <a:solidFill>
                <a:srgbClr val="E6E5E5"/>
              </a:solidFill>
            </c:spPr>
            <c:extLst>
              <c:ext xmlns:c16="http://schemas.microsoft.com/office/drawing/2014/chart" uri="{C3380CC4-5D6E-409C-BE32-E72D297353CC}">
                <c16:uniqueId val="{00000031-83E0-4716-877A-8084D4846F88}"/>
              </c:ext>
            </c:extLst>
          </c:dPt>
          <c:dPt>
            <c:idx val="25"/>
            <c:invertIfNegative val="1"/>
            <c:bubble3D val="0"/>
            <c:spPr>
              <a:solidFill>
                <a:srgbClr val="E6E5E5"/>
              </a:solidFill>
            </c:spPr>
            <c:extLst>
              <c:ext xmlns:c16="http://schemas.microsoft.com/office/drawing/2014/chart" uri="{C3380CC4-5D6E-409C-BE32-E72D297353CC}">
                <c16:uniqueId val="{00000033-83E0-4716-877A-8084D4846F88}"/>
              </c:ext>
            </c:extLst>
          </c:dPt>
          <c:dPt>
            <c:idx val="26"/>
            <c:invertIfNegative val="1"/>
            <c:bubble3D val="0"/>
            <c:spPr>
              <a:solidFill>
                <a:srgbClr val="E6E5E5"/>
              </a:solidFill>
            </c:spPr>
            <c:extLst>
              <c:ext xmlns:c16="http://schemas.microsoft.com/office/drawing/2014/chart" uri="{C3380CC4-5D6E-409C-BE32-E72D297353CC}">
                <c16:uniqueId val="{00000035-83E0-4716-877A-8084D4846F88}"/>
              </c:ext>
            </c:extLst>
          </c:dPt>
          <c:dPt>
            <c:idx val="27"/>
            <c:invertIfNegative val="1"/>
            <c:bubble3D val="0"/>
            <c:spPr>
              <a:solidFill>
                <a:srgbClr val="E6E5E5"/>
              </a:solidFill>
            </c:spPr>
            <c:extLst>
              <c:ext xmlns:c16="http://schemas.microsoft.com/office/drawing/2014/chart" uri="{C3380CC4-5D6E-409C-BE32-E72D297353CC}">
                <c16:uniqueId val="{00000037-83E0-4716-877A-8084D4846F88}"/>
              </c:ext>
            </c:extLst>
          </c:dPt>
          <c:dPt>
            <c:idx val="28"/>
            <c:invertIfNegative val="1"/>
            <c:bubble3D val="0"/>
            <c:spPr>
              <a:solidFill>
                <a:srgbClr val="E6E5E5"/>
              </a:solidFill>
            </c:spPr>
            <c:extLst>
              <c:ext xmlns:c16="http://schemas.microsoft.com/office/drawing/2014/chart" uri="{C3380CC4-5D6E-409C-BE32-E72D297353CC}">
                <c16:uniqueId val="{00000039-83E0-4716-877A-8084D4846F88}"/>
              </c:ext>
            </c:extLst>
          </c:dPt>
          <c:dPt>
            <c:idx val="29"/>
            <c:invertIfNegative val="1"/>
            <c:bubble3D val="0"/>
            <c:spPr>
              <a:solidFill>
                <a:srgbClr val="E6E5E5"/>
              </a:solidFill>
            </c:spPr>
            <c:extLst>
              <c:ext xmlns:c16="http://schemas.microsoft.com/office/drawing/2014/chart" uri="{C3380CC4-5D6E-409C-BE32-E72D297353CC}">
                <c16:uniqueId val="{0000003B-83E0-4716-877A-8084D4846F88}"/>
              </c:ext>
            </c:extLst>
          </c:dPt>
          <c:dPt>
            <c:idx val="30"/>
            <c:invertIfNegative val="1"/>
            <c:bubble3D val="0"/>
            <c:spPr>
              <a:solidFill>
                <a:srgbClr val="E6E5E5"/>
              </a:solidFill>
            </c:spPr>
            <c:extLst>
              <c:ext xmlns:c16="http://schemas.microsoft.com/office/drawing/2014/chart" uri="{C3380CC4-5D6E-409C-BE32-E72D297353CC}">
                <c16:uniqueId val="{0000003D-83E0-4716-877A-8084D4846F88}"/>
              </c:ext>
            </c:extLst>
          </c:dPt>
          <c:dPt>
            <c:idx val="31"/>
            <c:invertIfNegative val="1"/>
            <c:bubble3D val="0"/>
            <c:spPr>
              <a:solidFill>
                <a:srgbClr val="E6E5E5"/>
              </a:solidFill>
            </c:spPr>
            <c:extLst>
              <c:ext xmlns:c16="http://schemas.microsoft.com/office/drawing/2014/chart" uri="{C3380CC4-5D6E-409C-BE32-E72D297353CC}">
                <c16:uniqueId val="{0000003F-83E0-4716-877A-8084D4846F88}"/>
              </c:ext>
            </c:extLst>
          </c:dPt>
          <c:dPt>
            <c:idx val="32"/>
            <c:invertIfNegative val="0"/>
            <c:bubble3D val="0"/>
            <c:spPr>
              <a:solidFill>
                <a:srgbClr val="E6E5E5"/>
              </a:solidFill>
              <a:ln>
                <a:noFill/>
              </a:ln>
              <a:effectLst/>
            </c:spPr>
            <c:extLst>
              <c:ext xmlns:c16="http://schemas.microsoft.com/office/drawing/2014/chart" uri="{C3380CC4-5D6E-409C-BE32-E72D297353CC}">
                <c16:uniqueId val="{00000041-83E0-4716-877A-8084D4846F88}"/>
              </c:ext>
            </c:extLst>
          </c:dPt>
          <c:dPt>
            <c:idx val="33"/>
            <c:invertIfNegative val="1"/>
            <c:bubble3D val="0"/>
            <c:spPr>
              <a:solidFill>
                <a:srgbClr val="E6E5E5"/>
              </a:solidFill>
            </c:spPr>
            <c:extLst>
              <c:ext xmlns:c16="http://schemas.microsoft.com/office/drawing/2014/chart" uri="{C3380CC4-5D6E-409C-BE32-E72D297353CC}">
                <c16:uniqueId val="{00000043-83E0-4716-877A-8084D4846F88}"/>
              </c:ext>
            </c:extLst>
          </c:dPt>
          <c:dPt>
            <c:idx val="34"/>
            <c:invertIfNegative val="1"/>
            <c:bubble3D val="0"/>
            <c:spPr>
              <a:solidFill>
                <a:srgbClr val="E6E5E5"/>
              </a:solidFill>
            </c:spPr>
            <c:extLst>
              <c:ext xmlns:c16="http://schemas.microsoft.com/office/drawing/2014/chart" uri="{C3380CC4-5D6E-409C-BE32-E72D297353CC}">
                <c16:uniqueId val="{00000045-83E0-4716-877A-8084D4846F88}"/>
              </c:ext>
            </c:extLst>
          </c:dPt>
          <c:dPt>
            <c:idx val="35"/>
            <c:invertIfNegative val="1"/>
            <c:bubble3D val="0"/>
            <c:spPr>
              <a:solidFill>
                <a:srgbClr val="E6E5E5"/>
              </a:solidFill>
            </c:spPr>
            <c:extLst>
              <c:ext xmlns:c16="http://schemas.microsoft.com/office/drawing/2014/chart" uri="{C3380CC4-5D6E-409C-BE32-E72D297353CC}">
                <c16:uniqueId val="{00000047-83E0-4716-877A-8084D4846F88}"/>
              </c:ext>
            </c:extLst>
          </c:dPt>
          <c:dPt>
            <c:idx val="36"/>
            <c:invertIfNegative val="1"/>
            <c:bubble3D val="0"/>
            <c:spPr>
              <a:solidFill>
                <a:srgbClr val="E6E5E5"/>
              </a:solidFill>
            </c:spPr>
            <c:extLst>
              <c:ext xmlns:c16="http://schemas.microsoft.com/office/drawing/2014/chart" uri="{C3380CC4-5D6E-409C-BE32-E72D297353CC}">
                <c16:uniqueId val="{00000049-83E0-4716-877A-8084D4846F88}"/>
              </c:ext>
            </c:extLst>
          </c:dPt>
          <c:dPt>
            <c:idx val="37"/>
            <c:invertIfNegative val="1"/>
            <c:bubble3D val="0"/>
            <c:spPr>
              <a:solidFill>
                <a:srgbClr val="E6E5E5"/>
              </a:solidFill>
            </c:spPr>
            <c:extLst>
              <c:ext xmlns:c16="http://schemas.microsoft.com/office/drawing/2014/chart" uri="{C3380CC4-5D6E-409C-BE32-E72D297353CC}">
                <c16:uniqueId val="{0000004B-83E0-4716-877A-8084D4846F88}"/>
              </c:ext>
            </c:extLst>
          </c:dPt>
          <c:dPt>
            <c:idx val="38"/>
            <c:invertIfNegative val="1"/>
            <c:bubble3D val="0"/>
            <c:spPr>
              <a:solidFill>
                <a:srgbClr val="E6E5E5"/>
              </a:solidFill>
            </c:spPr>
            <c:extLst>
              <c:ext xmlns:c16="http://schemas.microsoft.com/office/drawing/2014/chart" uri="{C3380CC4-5D6E-409C-BE32-E72D297353CC}">
                <c16:uniqueId val="{0000004D-83E0-4716-877A-8084D4846F88}"/>
              </c:ext>
            </c:extLst>
          </c:dPt>
          <c:dPt>
            <c:idx val="39"/>
            <c:invertIfNegative val="1"/>
            <c:bubble3D val="0"/>
            <c:spPr>
              <a:solidFill>
                <a:srgbClr val="E6E5E5"/>
              </a:solidFill>
            </c:spPr>
            <c:extLst>
              <c:ext xmlns:c16="http://schemas.microsoft.com/office/drawing/2014/chart" uri="{C3380CC4-5D6E-409C-BE32-E72D297353CC}">
                <c16:uniqueId val="{0000004F-83E0-4716-877A-8084D4846F88}"/>
              </c:ext>
            </c:extLst>
          </c:dPt>
          <c:dPt>
            <c:idx val="40"/>
            <c:invertIfNegative val="1"/>
            <c:bubble3D val="0"/>
            <c:spPr>
              <a:solidFill>
                <a:srgbClr val="E6E5E5"/>
              </a:solidFill>
            </c:spPr>
            <c:extLst>
              <c:ext xmlns:c16="http://schemas.microsoft.com/office/drawing/2014/chart" uri="{C3380CC4-5D6E-409C-BE32-E72D297353CC}">
                <c16:uniqueId val="{00000051-83E0-4716-877A-8084D4846F88}"/>
              </c:ext>
            </c:extLst>
          </c:dPt>
          <c:dPt>
            <c:idx val="41"/>
            <c:invertIfNegative val="1"/>
            <c:bubble3D val="0"/>
            <c:spPr>
              <a:solidFill>
                <a:srgbClr val="E6E5E5"/>
              </a:solidFill>
            </c:spPr>
            <c:extLst>
              <c:ext xmlns:c16="http://schemas.microsoft.com/office/drawing/2014/chart" uri="{C3380CC4-5D6E-409C-BE32-E72D297353CC}">
                <c16:uniqueId val="{00000053-83E0-4716-877A-8084D4846F88}"/>
              </c:ext>
            </c:extLst>
          </c:dPt>
          <c:dPt>
            <c:idx val="42"/>
            <c:invertIfNegative val="1"/>
            <c:bubble3D val="0"/>
            <c:spPr>
              <a:solidFill>
                <a:srgbClr val="E6E5E5"/>
              </a:solidFill>
            </c:spPr>
            <c:extLst>
              <c:ext xmlns:c16="http://schemas.microsoft.com/office/drawing/2014/chart" uri="{C3380CC4-5D6E-409C-BE32-E72D297353CC}">
                <c16:uniqueId val="{00000055-83E0-4716-877A-8084D4846F88}"/>
              </c:ext>
            </c:extLst>
          </c:dPt>
          <c:dPt>
            <c:idx val="43"/>
            <c:invertIfNegative val="1"/>
            <c:bubble3D val="0"/>
            <c:spPr>
              <a:solidFill>
                <a:srgbClr val="E6E5E5"/>
              </a:solidFill>
            </c:spPr>
            <c:extLst>
              <c:ext xmlns:c16="http://schemas.microsoft.com/office/drawing/2014/chart" uri="{C3380CC4-5D6E-409C-BE32-E72D297353CC}">
                <c16:uniqueId val="{00000057-83E0-4716-877A-8084D4846F88}"/>
              </c:ext>
            </c:extLst>
          </c:dPt>
          <c:dPt>
            <c:idx val="44"/>
            <c:invertIfNegative val="0"/>
            <c:bubble3D val="0"/>
            <c:spPr>
              <a:solidFill>
                <a:srgbClr val="E6E5E5"/>
              </a:solidFill>
              <a:ln>
                <a:noFill/>
              </a:ln>
              <a:effectLst/>
            </c:spPr>
            <c:extLst>
              <c:ext xmlns:c16="http://schemas.microsoft.com/office/drawing/2014/chart" uri="{C3380CC4-5D6E-409C-BE32-E72D297353CC}">
                <c16:uniqueId val="{00000059-83E0-4716-877A-8084D4846F88}"/>
              </c:ext>
            </c:extLst>
          </c:dPt>
          <c:dPt>
            <c:idx val="45"/>
            <c:invertIfNegative val="1"/>
            <c:bubble3D val="0"/>
            <c:spPr>
              <a:solidFill>
                <a:srgbClr val="E6E5E5"/>
              </a:solidFill>
            </c:spPr>
            <c:extLst>
              <c:ext xmlns:c16="http://schemas.microsoft.com/office/drawing/2014/chart" uri="{C3380CC4-5D6E-409C-BE32-E72D297353CC}">
                <c16:uniqueId val="{0000005B-83E0-4716-877A-8084D4846F88}"/>
              </c:ext>
            </c:extLst>
          </c:dPt>
          <c:dPt>
            <c:idx val="46"/>
            <c:invertIfNegative val="1"/>
            <c:bubble3D val="0"/>
            <c:spPr>
              <a:solidFill>
                <a:srgbClr val="E6E5E5"/>
              </a:solidFill>
            </c:spPr>
            <c:extLst>
              <c:ext xmlns:c16="http://schemas.microsoft.com/office/drawing/2014/chart" uri="{C3380CC4-5D6E-409C-BE32-E72D297353CC}">
                <c16:uniqueId val="{0000005D-83E0-4716-877A-8084D4846F88}"/>
              </c:ext>
            </c:extLst>
          </c:dPt>
          <c:dPt>
            <c:idx val="47"/>
            <c:invertIfNegative val="1"/>
            <c:bubble3D val="0"/>
            <c:spPr>
              <a:solidFill>
                <a:srgbClr val="E6E5E5"/>
              </a:solidFill>
            </c:spPr>
            <c:extLst>
              <c:ext xmlns:c16="http://schemas.microsoft.com/office/drawing/2014/chart" uri="{C3380CC4-5D6E-409C-BE32-E72D297353CC}">
                <c16:uniqueId val="{0000005F-83E0-4716-877A-8084D4846F88}"/>
              </c:ext>
            </c:extLst>
          </c:dPt>
          <c:dPt>
            <c:idx val="48"/>
            <c:invertIfNegative val="1"/>
            <c:bubble3D val="0"/>
            <c:spPr>
              <a:solidFill>
                <a:srgbClr val="E6E5E5"/>
              </a:solidFill>
            </c:spPr>
            <c:extLst>
              <c:ext xmlns:c16="http://schemas.microsoft.com/office/drawing/2014/chart" uri="{C3380CC4-5D6E-409C-BE32-E72D297353CC}">
                <c16:uniqueId val="{00000061-83E0-4716-877A-8084D4846F88}"/>
              </c:ext>
            </c:extLst>
          </c:dPt>
          <c:dPt>
            <c:idx val="49"/>
            <c:invertIfNegative val="0"/>
            <c:bubble3D val="0"/>
            <c:spPr>
              <a:solidFill>
                <a:srgbClr val="E6E5E5"/>
              </a:solidFill>
              <a:ln>
                <a:noFill/>
              </a:ln>
              <a:effectLst/>
            </c:spPr>
            <c:extLst>
              <c:ext xmlns:c16="http://schemas.microsoft.com/office/drawing/2014/chart" uri="{C3380CC4-5D6E-409C-BE32-E72D297353CC}">
                <c16:uniqueId val="{00000063-83E0-4716-877A-8084D4846F88}"/>
              </c:ext>
            </c:extLst>
          </c:dPt>
          <c:dPt>
            <c:idx val="50"/>
            <c:invertIfNegative val="0"/>
            <c:bubble3D val="0"/>
            <c:spPr>
              <a:solidFill>
                <a:srgbClr val="E6E5E5"/>
              </a:solidFill>
              <a:ln>
                <a:noFill/>
              </a:ln>
              <a:effectLst/>
            </c:spPr>
            <c:extLst>
              <c:ext xmlns:c16="http://schemas.microsoft.com/office/drawing/2014/chart" uri="{C3380CC4-5D6E-409C-BE32-E72D297353CC}">
                <c16:uniqueId val="{00000065-83E0-4716-877A-8084D4846F88}"/>
              </c:ext>
            </c:extLst>
          </c:dPt>
          <c:dPt>
            <c:idx val="51"/>
            <c:invertIfNegative val="1"/>
            <c:bubble3D val="0"/>
            <c:spPr>
              <a:solidFill>
                <a:srgbClr val="E6E5E5"/>
              </a:solidFill>
            </c:spPr>
            <c:extLst>
              <c:ext xmlns:c16="http://schemas.microsoft.com/office/drawing/2014/chart" uri="{C3380CC4-5D6E-409C-BE32-E72D297353CC}">
                <c16:uniqueId val="{00000067-83E0-4716-877A-8084D4846F88}"/>
              </c:ext>
            </c:extLst>
          </c:dPt>
          <c:dPt>
            <c:idx val="52"/>
            <c:invertIfNegative val="1"/>
            <c:bubble3D val="0"/>
            <c:spPr>
              <a:solidFill>
                <a:srgbClr val="E6E5E5"/>
              </a:solidFill>
            </c:spPr>
            <c:extLst>
              <c:ext xmlns:c16="http://schemas.microsoft.com/office/drawing/2014/chart" uri="{C3380CC4-5D6E-409C-BE32-E72D297353CC}">
                <c16:uniqueId val="{00000069-83E0-4716-877A-8084D4846F88}"/>
              </c:ext>
            </c:extLst>
          </c:dPt>
          <c:dPt>
            <c:idx val="53"/>
            <c:invertIfNegative val="1"/>
            <c:bubble3D val="0"/>
            <c:spPr>
              <a:solidFill>
                <a:srgbClr val="E6E5E5"/>
              </a:solidFill>
            </c:spPr>
            <c:extLst>
              <c:ext xmlns:c16="http://schemas.microsoft.com/office/drawing/2014/chart" uri="{C3380CC4-5D6E-409C-BE32-E72D297353CC}">
                <c16:uniqueId val="{0000006B-83E0-4716-877A-8084D4846F88}"/>
              </c:ext>
            </c:extLst>
          </c:dPt>
          <c:dPt>
            <c:idx val="54"/>
            <c:invertIfNegative val="1"/>
            <c:bubble3D val="0"/>
            <c:spPr>
              <a:solidFill>
                <a:srgbClr val="E6E5E5"/>
              </a:solidFill>
            </c:spPr>
            <c:extLst>
              <c:ext xmlns:c16="http://schemas.microsoft.com/office/drawing/2014/chart" uri="{C3380CC4-5D6E-409C-BE32-E72D297353CC}">
                <c16:uniqueId val="{0000006D-83E0-4716-877A-8084D4846F88}"/>
              </c:ext>
            </c:extLst>
          </c:dPt>
          <c:dPt>
            <c:idx val="55"/>
            <c:invertIfNegative val="1"/>
            <c:bubble3D val="0"/>
            <c:spPr>
              <a:solidFill>
                <a:srgbClr val="E6E5E5"/>
              </a:solidFill>
            </c:spPr>
            <c:extLst>
              <c:ext xmlns:c16="http://schemas.microsoft.com/office/drawing/2014/chart" uri="{C3380CC4-5D6E-409C-BE32-E72D297353CC}">
                <c16:uniqueId val="{0000006F-83E0-4716-877A-8084D4846F88}"/>
              </c:ext>
            </c:extLst>
          </c:dPt>
          <c:dPt>
            <c:idx val="56"/>
            <c:invertIfNegative val="1"/>
            <c:bubble3D val="0"/>
            <c:spPr>
              <a:solidFill>
                <a:srgbClr val="E6E5E5"/>
              </a:solidFill>
            </c:spPr>
            <c:extLst>
              <c:ext xmlns:c16="http://schemas.microsoft.com/office/drawing/2014/chart" uri="{C3380CC4-5D6E-409C-BE32-E72D297353CC}">
                <c16:uniqueId val="{00000071-83E0-4716-877A-8084D4846F88}"/>
              </c:ext>
            </c:extLst>
          </c:dPt>
          <c:dPt>
            <c:idx val="57"/>
            <c:invertIfNegative val="1"/>
            <c:bubble3D val="0"/>
            <c:spPr>
              <a:solidFill>
                <a:srgbClr val="E6E5E5"/>
              </a:solidFill>
            </c:spPr>
            <c:extLst>
              <c:ext xmlns:c16="http://schemas.microsoft.com/office/drawing/2014/chart" uri="{C3380CC4-5D6E-409C-BE32-E72D297353CC}">
                <c16:uniqueId val="{00000073-83E0-4716-877A-8084D4846F88}"/>
              </c:ext>
            </c:extLst>
          </c:dPt>
          <c:dPt>
            <c:idx val="58"/>
            <c:invertIfNegative val="1"/>
            <c:bubble3D val="0"/>
            <c:spPr>
              <a:solidFill>
                <a:srgbClr val="E6E5E5"/>
              </a:solidFill>
            </c:spPr>
            <c:extLst>
              <c:ext xmlns:c16="http://schemas.microsoft.com/office/drawing/2014/chart" uri="{C3380CC4-5D6E-409C-BE32-E72D297353CC}">
                <c16:uniqueId val="{00000075-83E0-4716-877A-8084D4846F88}"/>
              </c:ext>
            </c:extLst>
          </c:dPt>
          <c:dPt>
            <c:idx val="59"/>
            <c:invertIfNegative val="1"/>
            <c:bubble3D val="0"/>
            <c:spPr>
              <a:solidFill>
                <a:srgbClr val="E6E5E5"/>
              </a:solidFill>
            </c:spPr>
            <c:extLst>
              <c:ext xmlns:c16="http://schemas.microsoft.com/office/drawing/2014/chart" uri="{C3380CC4-5D6E-409C-BE32-E72D297353CC}">
                <c16:uniqueId val="{00000077-83E0-4716-877A-8084D4846F88}"/>
              </c:ext>
            </c:extLst>
          </c:dPt>
          <c:dPt>
            <c:idx val="60"/>
            <c:invertIfNegative val="1"/>
            <c:bubble3D val="0"/>
            <c:spPr>
              <a:solidFill>
                <a:srgbClr val="E6E5E5"/>
              </a:solidFill>
            </c:spPr>
            <c:extLst>
              <c:ext xmlns:c16="http://schemas.microsoft.com/office/drawing/2014/chart" uri="{C3380CC4-5D6E-409C-BE32-E72D297353CC}">
                <c16:uniqueId val="{00000079-83E0-4716-877A-8084D4846F88}"/>
              </c:ext>
            </c:extLst>
          </c:dPt>
          <c:dPt>
            <c:idx val="61"/>
            <c:invertIfNegative val="1"/>
            <c:bubble3D val="0"/>
            <c:spPr>
              <a:solidFill>
                <a:srgbClr val="E6E5E5"/>
              </a:solidFill>
            </c:spPr>
            <c:extLst>
              <c:ext xmlns:c16="http://schemas.microsoft.com/office/drawing/2014/chart" uri="{C3380CC4-5D6E-409C-BE32-E72D297353CC}">
                <c16:uniqueId val="{0000007B-83E0-4716-877A-8084D4846F88}"/>
              </c:ext>
            </c:extLst>
          </c:dPt>
          <c:dPt>
            <c:idx val="62"/>
            <c:invertIfNegative val="1"/>
            <c:bubble3D val="0"/>
            <c:spPr>
              <a:solidFill>
                <a:srgbClr val="E6E5E5"/>
              </a:solidFill>
            </c:spPr>
            <c:extLst>
              <c:ext xmlns:c16="http://schemas.microsoft.com/office/drawing/2014/chart" uri="{C3380CC4-5D6E-409C-BE32-E72D297353CC}">
                <c16:uniqueId val="{0000007D-83E0-4716-877A-8084D4846F88}"/>
              </c:ext>
            </c:extLst>
          </c:dPt>
          <c:dPt>
            <c:idx val="63"/>
            <c:invertIfNegative val="1"/>
            <c:bubble3D val="0"/>
            <c:spPr>
              <a:solidFill>
                <a:srgbClr val="E6E5E5"/>
              </a:solidFill>
            </c:spPr>
            <c:extLst>
              <c:ext xmlns:c16="http://schemas.microsoft.com/office/drawing/2014/chart" uri="{C3380CC4-5D6E-409C-BE32-E72D297353CC}">
                <c16:uniqueId val="{0000007F-83E0-4716-877A-8084D4846F88}"/>
              </c:ext>
            </c:extLst>
          </c:dPt>
          <c:dPt>
            <c:idx val="64"/>
            <c:invertIfNegative val="1"/>
            <c:bubble3D val="0"/>
            <c:spPr>
              <a:solidFill>
                <a:srgbClr val="E6E5E5"/>
              </a:solidFill>
            </c:spPr>
            <c:extLst>
              <c:ext xmlns:c16="http://schemas.microsoft.com/office/drawing/2014/chart" uri="{C3380CC4-5D6E-409C-BE32-E72D297353CC}">
                <c16:uniqueId val="{00000081-83E0-4716-877A-8084D4846F88}"/>
              </c:ext>
            </c:extLst>
          </c:dPt>
          <c:dPt>
            <c:idx val="65"/>
            <c:invertIfNegative val="1"/>
            <c:bubble3D val="0"/>
            <c:spPr>
              <a:solidFill>
                <a:srgbClr val="E6E5E5"/>
              </a:solidFill>
            </c:spPr>
            <c:extLst>
              <c:ext xmlns:c16="http://schemas.microsoft.com/office/drawing/2014/chart" uri="{C3380CC4-5D6E-409C-BE32-E72D297353CC}">
                <c16:uniqueId val="{00000083-83E0-4716-877A-8084D4846F88}"/>
              </c:ext>
            </c:extLst>
          </c:dPt>
          <c:dPt>
            <c:idx val="66"/>
            <c:invertIfNegative val="1"/>
            <c:bubble3D val="0"/>
            <c:spPr>
              <a:solidFill>
                <a:srgbClr val="E6E5E5"/>
              </a:solidFill>
            </c:spPr>
            <c:extLst>
              <c:ext xmlns:c16="http://schemas.microsoft.com/office/drawing/2014/chart" uri="{C3380CC4-5D6E-409C-BE32-E72D297353CC}">
                <c16:uniqueId val="{00000085-83E0-4716-877A-8084D4846F88}"/>
              </c:ext>
            </c:extLst>
          </c:dPt>
          <c:dPt>
            <c:idx val="67"/>
            <c:invertIfNegative val="1"/>
            <c:bubble3D val="0"/>
            <c:spPr>
              <a:solidFill>
                <a:srgbClr val="E6E5E5"/>
              </a:solidFill>
            </c:spPr>
            <c:extLst>
              <c:ext xmlns:c16="http://schemas.microsoft.com/office/drawing/2014/chart" uri="{C3380CC4-5D6E-409C-BE32-E72D297353CC}">
                <c16:uniqueId val="{00000087-83E0-4716-877A-8084D4846F88}"/>
              </c:ext>
            </c:extLst>
          </c:dPt>
          <c:dPt>
            <c:idx val="68"/>
            <c:invertIfNegative val="1"/>
            <c:bubble3D val="0"/>
            <c:spPr>
              <a:solidFill>
                <a:srgbClr val="E6E5E5"/>
              </a:solidFill>
            </c:spPr>
            <c:extLst>
              <c:ext xmlns:c16="http://schemas.microsoft.com/office/drawing/2014/chart" uri="{C3380CC4-5D6E-409C-BE32-E72D297353CC}">
                <c16:uniqueId val="{00000089-83E0-4716-877A-8084D4846F88}"/>
              </c:ext>
            </c:extLst>
          </c:dPt>
          <c:dPt>
            <c:idx val="69"/>
            <c:invertIfNegative val="1"/>
            <c:bubble3D val="0"/>
            <c:spPr>
              <a:solidFill>
                <a:srgbClr val="E6E5E5"/>
              </a:solidFill>
            </c:spPr>
            <c:extLst>
              <c:ext xmlns:c16="http://schemas.microsoft.com/office/drawing/2014/chart" uri="{C3380CC4-5D6E-409C-BE32-E72D297353CC}">
                <c16:uniqueId val="{0000008B-83E0-4716-877A-8084D4846F88}"/>
              </c:ext>
            </c:extLst>
          </c:dPt>
          <c:dPt>
            <c:idx val="70"/>
            <c:invertIfNegative val="1"/>
            <c:bubble3D val="0"/>
            <c:spPr>
              <a:solidFill>
                <a:srgbClr val="E6E5E5"/>
              </a:solidFill>
            </c:spPr>
            <c:extLst>
              <c:ext xmlns:c16="http://schemas.microsoft.com/office/drawing/2014/chart" uri="{C3380CC4-5D6E-409C-BE32-E72D297353CC}">
                <c16:uniqueId val="{0000008D-83E0-4716-877A-8084D4846F88}"/>
              </c:ext>
            </c:extLst>
          </c:dPt>
          <c:dPt>
            <c:idx val="71"/>
            <c:invertIfNegative val="1"/>
            <c:bubble3D val="0"/>
            <c:spPr>
              <a:solidFill>
                <a:srgbClr val="E6E5E5"/>
              </a:solidFill>
            </c:spPr>
            <c:extLst>
              <c:ext xmlns:c16="http://schemas.microsoft.com/office/drawing/2014/chart" uri="{C3380CC4-5D6E-409C-BE32-E72D297353CC}">
                <c16:uniqueId val="{0000008F-83E0-4716-877A-8084D4846F88}"/>
              </c:ext>
            </c:extLst>
          </c:dPt>
          <c:dPt>
            <c:idx val="72"/>
            <c:invertIfNegative val="1"/>
            <c:bubble3D val="0"/>
            <c:spPr>
              <a:solidFill>
                <a:srgbClr val="E6E5E5"/>
              </a:solidFill>
            </c:spPr>
            <c:extLst>
              <c:ext xmlns:c16="http://schemas.microsoft.com/office/drawing/2014/chart" uri="{C3380CC4-5D6E-409C-BE32-E72D297353CC}">
                <c16:uniqueId val="{00000091-83E0-4716-877A-8084D4846F88}"/>
              </c:ext>
            </c:extLst>
          </c:dPt>
          <c:dPt>
            <c:idx val="73"/>
            <c:invertIfNegative val="1"/>
            <c:bubble3D val="0"/>
            <c:spPr>
              <a:solidFill>
                <a:srgbClr val="E6E5E5"/>
              </a:solidFill>
            </c:spPr>
            <c:extLst>
              <c:ext xmlns:c16="http://schemas.microsoft.com/office/drawing/2014/chart" uri="{C3380CC4-5D6E-409C-BE32-E72D297353CC}">
                <c16:uniqueId val="{00000093-83E0-4716-877A-8084D4846F88}"/>
              </c:ext>
            </c:extLst>
          </c:dPt>
          <c:dPt>
            <c:idx val="74"/>
            <c:invertIfNegative val="1"/>
            <c:bubble3D val="0"/>
            <c:spPr>
              <a:solidFill>
                <a:srgbClr val="E6E5E5"/>
              </a:solidFill>
            </c:spPr>
            <c:extLst>
              <c:ext xmlns:c16="http://schemas.microsoft.com/office/drawing/2014/chart" uri="{C3380CC4-5D6E-409C-BE32-E72D297353CC}">
                <c16:uniqueId val="{00000095-83E0-4716-877A-8084D4846F88}"/>
              </c:ext>
            </c:extLst>
          </c:dPt>
          <c:dPt>
            <c:idx val="75"/>
            <c:invertIfNegative val="1"/>
            <c:bubble3D val="0"/>
            <c:spPr>
              <a:solidFill>
                <a:srgbClr val="E6E5E5"/>
              </a:solidFill>
            </c:spPr>
            <c:extLst>
              <c:ext xmlns:c16="http://schemas.microsoft.com/office/drawing/2014/chart" uri="{C3380CC4-5D6E-409C-BE32-E72D297353CC}">
                <c16:uniqueId val="{00000097-83E0-4716-877A-8084D4846F88}"/>
              </c:ext>
            </c:extLst>
          </c:dPt>
          <c:dPt>
            <c:idx val="76"/>
            <c:invertIfNegative val="1"/>
            <c:bubble3D val="0"/>
            <c:spPr>
              <a:solidFill>
                <a:srgbClr val="E6E5E5"/>
              </a:solidFill>
            </c:spPr>
            <c:extLst>
              <c:ext xmlns:c16="http://schemas.microsoft.com/office/drawing/2014/chart" uri="{C3380CC4-5D6E-409C-BE32-E72D297353CC}">
                <c16:uniqueId val="{00000099-83E0-4716-877A-8084D4846F88}"/>
              </c:ext>
            </c:extLst>
          </c:dPt>
          <c:dPt>
            <c:idx val="77"/>
            <c:invertIfNegative val="1"/>
            <c:bubble3D val="0"/>
            <c:spPr>
              <a:solidFill>
                <a:srgbClr val="E6E5E5"/>
              </a:solidFill>
            </c:spPr>
            <c:extLst>
              <c:ext xmlns:c16="http://schemas.microsoft.com/office/drawing/2014/chart" uri="{C3380CC4-5D6E-409C-BE32-E72D297353CC}">
                <c16:uniqueId val="{0000009B-83E0-4716-877A-8084D4846F88}"/>
              </c:ext>
            </c:extLst>
          </c:dPt>
          <c:dPt>
            <c:idx val="78"/>
            <c:invertIfNegative val="1"/>
            <c:bubble3D val="0"/>
            <c:spPr>
              <a:solidFill>
                <a:srgbClr val="E6E5E5"/>
              </a:solidFill>
            </c:spPr>
            <c:extLst>
              <c:ext xmlns:c16="http://schemas.microsoft.com/office/drawing/2014/chart" uri="{C3380CC4-5D6E-409C-BE32-E72D297353CC}">
                <c16:uniqueId val="{0000009D-83E0-4716-877A-8084D4846F88}"/>
              </c:ext>
            </c:extLst>
          </c:dPt>
          <c:dPt>
            <c:idx val="79"/>
            <c:invertIfNegative val="1"/>
            <c:bubble3D val="0"/>
            <c:spPr>
              <a:solidFill>
                <a:srgbClr val="E6E5E5"/>
              </a:solidFill>
            </c:spPr>
            <c:extLst>
              <c:ext xmlns:c16="http://schemas.microsoft.com/office/drawing/2014/chart" uri="{C3380CC4-5D6E-409C-BE32-E72D297353CC}">
                <c16:uniqueId val="{0000009F-83E0-4716-877A-8084D4846F88}"/>
              </c:ext>
            </c:extLst>
          </c:dPt>
          <c:dPt>
            <c:idx val="80"/>
            <c:invertIfNegative val="1"/>
            <c:bubble3D val="0"/>
            <c:spPr>
              <a:solidFill>
                <a:srgbClr val="E6E5E5"/>
              </a:solidFill>
            </c:spPr>
            <c:extLst>
              <c:ext xmlns:c16="http://schemas.microsoft.com/office/drawing/2014/chart" uri="{C3380CC4-5D6E-409C-BE32-E72D297353CC}">
                <c16:uniqueId val="{000000A1-83E0-4716-877A-8084D4846F88}"/>
              </c:ext>
            </c:extLst>
          </c:dPt>
          <c:dPt>
            <c:idx val="81"/>
            <c:invertIfNegative val="1"/>
            <c:bubble3D val="0"/>
            <c:spPr>
              <a:solidFill>
                <a:srgbClr val="E6E5E5"/>
              </a:solidFill>
            </c:spPr>
            <c:extLst>
              <c:ext xmlns:c16="http://schemas.microsoft.com/office/drawing/2014/chart" uri="{C3380CC4-5D6E-409C-BE32-E72D297353CC}">
                <c16:uniqueId val="{000000A3-83E0-4716-877A-8084D4846F88}"/>
              </c:ext>
            </c:extLst>
          </c:dPt>
          <c:dPt>
            <c:idx val="82"/>
            <c:invertIfNegative val="1"/>
            <c:bubble3D val="0"/>
            <c:spPr>
              <a:solidFill>
                <a:srgbClr val="E6E5E5"/>
              </a:solidFill>
            </c:spPr>
            <c:extLst>
              <c:ext xmlns:c16="http://schemas.microsoft.com/office/drawing/2014/chart" uri="{C3380CC4-5D6E-409C-BE32-E72D297353CC}">
                <c16:uniqueId val="{000000A5-83E0-4716-877A-8084D4846F88}"/>
              </c:ext>
            </c:extLst>
          </c:dPt>
          <c:dPt>
            <c:idx val="83"/>
            <c:invertIfNegative val="1"/>
            <c:bubble3D val="0"/>
            <c:spPr>
              <a:solidFill>
                <a:srgbClr val="E6E5E5"/>
              </a:solidFill>
            </c:spPr>
            <c:extLst>
              <c:ext xmlns:c16="http://schemas.microsoft.com/office/drawing/2014/chart" uri="{C3380CC4-5D6E-409C-BE32-E72D297353CC}">
                <c16:uniqueId val="{000000A7-83E0-4716-877A-8084D4846F88}"/>
              </c:ext>
            </c:extLst>
          </c:dPt>
          <c:dPt>
            <c:idx val="84"/>
            <c:invertIfNegative val="1"/>
            <c:bubble3D val="0"/>
            <c:spPr>
              <a:solidFill>
                <a:srgbClr val="E6E5E5"/>
              </a:solidFill>
            </c:spPr>
            <c:extLst>
              <c:ext xmlns:c16="http://schemas.microsoft.com/office/drawing/2014/chart" uri="{C3380CC4-5D6E-409C-BE32-E72D297353CC}">
                <c16:uniqueId val="{000000A9-83E0-4716-877A-8084D4846F88}"/>
              </c:ext>
            </c:extLst>
          </c:dPt>
          <c:dPt>
            <c:idx val="85"/>
            <c:invertIfNegative val="1"/>
            <c:bubble3D val="0"/>
            <c:spPr>
              <a:solidFill>
                <a:srgbClr val="E6E5E5"/>
              </a:solidFill>
            </c:spPr>
            <c:extLst>
              <c:ext xmlns:c16="http://schemas.microsoft.com/office/drawing/2014/chart" uri="{C3380CC4-5D6E-409C-BE32-E72D297353CC}">
                <c16:uniqueId val="{000000AB-83E0-4716-877A-8084D4846F88}"/>
              </c:ext>
            </c:extLst>
          </c:dPt>
          <c:dPt>
            <c:idx val="86"/>
            <c:invertIfNegative val="1"/>
            <c:bubble3D val="0"/>
            <c:spPr>
              <a:solidFill>
                <a:srgbClr val="E6E5E5"/>
              </a:solidFill>
            </c:spPr>
            <c:extLst>
              <c:ext xmlns:c16="http://schemas.microsoft.com/office/drawing/2014/chart" uri="{C3380CC4-5D6E-409C-BE32-E72D297353CC}">
                <c16:uniqueId val="{000000AD-83E0-4716-877A-8084D4846F88}"/>
              </c:ext>
            </c:extLst>
          </c:dPt>
          <c:dPt>
            <c:idx val="87"/>
            <c:invertIfNegative val="1"/>
            <c:bubble3D val="0"/>
            <c:spPr>
              <a:solidFill>
                <a:srgbClr val="E6E5E5"/>
              </a:solidFill>
            </c:spPr>
            <c:extLst>
              <c:ext xmlns:c16="http://schemas.microsoft.com/office/drawing/2014/chart" uri="{C3380CC4-5D6E-409C-BE32-E72D297353CC}">
                <c16:uniqueId val="{000000AF-83E0-4716-877A-8084D4846F88}"/>
              </c:ext>
            </c:extLst>
          </c:dPt>
          <c:dPt>
            <c:idx val="88"/>
            <c:invertIfNegative val="1"/>
            <c:bubble3D val="0"/>
            <c:spPr>
              <a:solidFill>
                <a:srgbClr val="E6E5E5"/>
              </a:solidFill>
            </c:spPr>
            <c:extLst>
              <c:ext xmlns:c16="http://schemas.microsoft.com/office/drawing/2014/chart" uri="{C3380CC4-5D6E-409C-BE32-E72D297353CC}">
                <c16:uniqueId val="{000000B1-83E0-4716-877A-8084D4846F88}"/>
              </c:ext>
            </c:extLst>
          </c:dPt>
          <c:dPt>
            <c:idx val="89"/>
            <c:invertIfNegative val="1"/>
            <c:bubble3D val="0"/>
            <c:spPr>
              <a:solidFill>
                <a:srgbClr val="E6E5E5"/>
              </a:solidFill>
            </c:spPr>
            <c:extLst>
              <c:ext xmlns:c16="http://schemas.microsoft.com/office/drawing/2014/chart" uri="{C3380CC4-5D6E-409C-BE32-E72D297353CC}">
                <c16:uniqueId val="{000000B3-83E0-4716-877A-8084D4846F88}"/>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83E0-4716-877A-8084D4846F88}"/>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83E0-4716-877A-8084D4846F88}"/>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83E0-4716-877A-8084D4846F88}"/>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83E0-4716-877A-8084D4846F88}"/>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83E0-4716-877A-8084D4846F88}"/>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83E0-4716-877A-8084D4846F88}"/>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83E0-4716-877A-8084D4846F88}"/>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83E0-4716-877A-8084D4846F88}"/>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83E0-4716-877A-8084D4846F88}"/>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83E0-4716-877A-8084D4846F88}"/>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83E0-4716-877A-8084D4846F88}"/>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83E0-4716-877A-8084D4846F88}"/>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83E0-4716-877A-8084D4846F88}"/>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83E0-4716-877A-8084D4846F88}"/>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83E0-4716-877A-8084D4846F88}"/>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83E0-4716-877A-8084D4846F88}"/>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83E0-4716-877A-8084D4846F88}"/>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83E0-4716-877A-8084D4846F88}"/>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83E0-4716-877A-8084D4846F88}"/>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83E0-4716-877A-8084D4846F88}"/>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83E0-4716-877A-8084D4846F88}"/>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83E0-4716-877A-8084D4846F88}"/>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83E0-4716-877A-8084D4846F88}"/>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83E0-4716-877A-8084D4846F88}"/>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83E0-4716-877A-8084D4846F88}"/>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83E0-4716-877A-8084D4846F88}"/>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83E0-4716-877A-8084D4846F88}"/>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83E0-4716-877A-8084D4846F88}"/>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83E0-4716-877A-8084D4846F88}"/>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83E0-4716-877A-8084D4846F88}"/>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83E0-4716-877A-8084D4846F88}"/>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83E0-4716-877A-8084D4846F88}"/>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83E0-4716-877A-8084D4846F88}"/>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83E0-4716-877A-8084D4846F88}"/>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83E0-4716-877A-8084D4846F88}"/>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83E0-4716-877A-8084D4846F88}"/>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83E0-4716-877A-8084D4846F88}"/>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83E0-4716-877A-8084D4846F88}"/>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83E0-4716-877A-8084D4846F88}"/>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83E0-4716-877A-8084D4846F88}"/>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83E0-4716-877A-8084D4846F88}"/>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83E0-4716-877A-8084D4846F88}"/>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83E0-4716-877A-8084D4846F88}"/>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83E0-4716-877A-8084D4846F88}"/>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83E0-4716-877A-8084D4846F88}"/>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83E0-4716-877A-8084D4846F88}"/>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83E0-4716-877A-8084D4846F88}"/>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83E0-4716-877A-8084D4846F88}"/>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83E0-4716-877A-8084D4846F88}"/>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83E0-4716-877A-8084D4846F88}"/>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83E0-4716-877A-8084D4846F88}"/>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83E0-4716-877A-8084D4846F88}"/>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83E0-4716-877A-8084D4846F88}"/>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83E0-4716-877A-8084D4846F88}"/>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83E0-4716-877A-8084D4846F88}"/>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83E0-4716-877A-8084D4846F88}"/>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83E0-4716-877A-8084D4846F88}"/>
                </c:ext>
              </c:extLst>
            </c:dLbl>
            <c:dLbl>
              <c:idx val="5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83E0-4716-877A-8084D4846F88}"/>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83E0-4716-877A-8084D4846F88}"/>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83E0-4716-877A-8084D4846F88}"/>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83E0-4716-877A-8084D4846F88}"/>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83E0-4716-877A-8084D4846F88}"/>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83E0-4716-877A-8084D4846F88}"/>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83E0-4716-877A-8084D4846F88}"/>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83E0-4716-877A-8084D4846F88}"/>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83E0-4716-877A-8084D4846F88}"/>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83E0-4716-877A-8084D4846F88}"/>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83E0-4716-877A-8084D4846F88}"/>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83E0-4716-877A-8084D4846F88}"/>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83E0-4716-877A-8084D4846F88}"/>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83E0-4716-877A-8084D4846F88}"/>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83E0-4716-877A-8084D4846F88}"/>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83E0-4716-877A-8084D4846F88}"/>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83E0-4716-877A-8084D4846F88}"/>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83E0-4716-877A-8084D4846F88}"/>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83E0-4716-877A-8084D4846F88}"/>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83E0-4716-877A-8084D4846F88}"/>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83E0-4716-877A-8084D4846F88}"/>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83E0-4716-877A-8084D4846F88}"/>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83E0-4716-877A-8084D4846F88}"/>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83E0-4716-877A-8084D4846F88}"/>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83E0-4716-877A-8084D4846F88}"/>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83E0-4716-877A-8084D4846F88}"/>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83E0-4716-877A-8084D4846F88}"/>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83E0-4716-877A-8084D4846F88}"/>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83E0-4716-877A-8084D4846F88}"/>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83E0-4716-877A-8084D4846F88}"/>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83E0-4716-877A-8084D4846F88}"/>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83E0-4716-877A-8084D4846F88}"/>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9</c:f>
              <c:strCache>
                <c:ptCount val="78"/>
                <c:pt idx="0">
                  <c:v>Galaxy Jewels 1.4kg</c:v>
                </c:pt>
                <c:pt idx="1">
                  <c:v>Ferrero Rocher 300g</c:v>
                </c:pt>
                <c:pt idx="2">
                  <c:v>Galaxy Smooth Milk Chocolate 36g x 24</c:v>
                </c:pt>
                <c:pt idx="3">
                  <c:v>Galaxy Jewels 900g</c:v>
                </c:pt>
                <c:pt idx="4">
                  <c:v>Galaxy Jewels 650g</c:v>
                </c:pt>
                <c:pt idx="5">
                  <c:v>Cadbury Dairy Milk Minis Selection 500g</c:v>
                </c:pt>
                <c:pt idx="6">
                  <c:v>Kit Kat 17.7g x 18</c:v>
                </c:pt>
                <c:pt idx="7">
                  <c:v>Kinder Bueno Milk&amp;Hazelnut 43g</c:v>
                </c:pt>
                <c:pt idx="8">
                  <c:v>Tiffany Break Supa 38gx12</c:v>
                </c:pt>
                <c:pt idx="9">
                  <c:v>Snickers 50gx6</c:v>
                </c:pt>
                <c:pt idx="10">
                  <c:v>Tiffany Break 24x15.5g</c:v>
                </c:pt>
                <c:pt idx="11">
                  <c:v>Tiffany Break Mini Fun 384g</c:v>
                </c:pt>
                <c:pt idx="12">
                  <c:v>Kinder Bueno Milk&amp;Hazelnut 43gx10</c:v>
                </c:pt>
                <c:pt idx="13">
                  <c:v>Mackintosh Quality Street Chocolate 600g</c:v>
                </c:pt>
                <c:pt idx="14">
                  <c:v>Snickers Bar 50g</c:v>
                </c:pt>
                <c:pt idx="15">
                  <c:v>Maltesers Chocolate 175g</c:v>
                </c:pt>
                <c:pt idx="16">
                  <c:v>Tiffany Break 31gx12</c:v>
                </c:pt>
                <c:pt idx="17">
                  <c:v>Tiffany Break Delight 25gx12</c:v>
                </c:pt>
                <c:pt idx="18">
                  <c:v>Snickers Minis Bag 252g</c:v>
                </c:pt>
                <c:pt idx="19">
                  <c:v>Cadbury Miniatures Box 400g</c:v>
                </c:pt>
                <c:pt idx="20">
                  <c:v>Bounty Bar 57g</c:v>
                </c:pt>
                <c:pt idx="21">
                  <c:v>Galaxy Smooth Milk Minis 237.5g</c:v>
                </c:pt>
                <c:pt idx="22">
                  <c:v>Bounty Bar 57g x 5</c:v>
                </c:pt>
                <c:pt idx="23">
                  <c:v>Kinder Maxi Chocolate 21gx11 (10+1)</c:v>
                </c:pt>
                <c:pt idx="24">
                  <c:v>Ferrero Rocher 200g</c:v>
                </c:pt>
                <c:pt idx="25">
                  <c:v>Ferrero Raffaello 150g box </c:v>
                </c:pt>
                <c:pt idx="26">
                  <c:v>Galaxy Hazelnut Minis 237.5g</c:v>
                </c:pt>
                <c:pt idx="27">
                  <c:v>Twix 50gx5</c:v>
                </c:pt>
                <c:pt idx="28">
                  <c:v>Twix Bar 50g</c:v>
                </c:pt>
                <c:pt idx="29">
                  <c:v>Maltesers Chocolate 37g</c:v>
                </c:pt>
                <c:pt idx="30">
                  <c:v>Snickers Miniatures 150g</c:v>
                </c:pt>
                <c:pt idx="31">
                  <c:v>Cadbury Flake Minis Bag 159.5g</c:v>
                </c:pt>
                <c:pt idx="32">
                  <c:v>M&amp;M's Peanut 165g</c:v>
                </c:pt>
                <c:pt idx="33">
                  <c:v>Twix Miniatures 150g</c:v>
                </c:pt>
                <c:pt idx="34">
                  <c:v>Cadbury Timeout Minis Wafer 247.2g</c:v>
                </c:pt>
                <c:pt idx="35">
                  <c:v>Toblerone Milk Chocolate 200g</c:v>
                </c:pt>
                <c:pt idx="36">
                  <c:v>Galaxy Smooth Milk Minis 162.5g</c:v>
                </c:pt>
                <c:pt idx="37">
                  <c:v>Mars 45g x 6</c:v>
                </c:pt>
                <c:pt idx="38">
                  <c:v>Bounty Miniatures 150g</c:v>
                </c:pt>
                <c:pt idx="39">
                  <c:v>Kinder Chocolate Bar 8x12.5g</c:v>
                </c:pt>
                <c:pt idx="40">
                  <c:v>Galaxy Smooth Dark Chocolate 40g</c:v>
                </c:pt>
                <c:pt idx="41">
                  <c:v>Mars Bar 51g </c:v>
                </c:pt>
                <c:pt idx="42">
                  <c:v>Hershey's Kisses Special Selection Assorted 325g</c:v>
                </c:pt>
                <c:pt idx="43">
                  <c:v>Galaxy Hazelnut Chocolate 36g</c:v>
                </c:pt>
                <c:pt idx="44">
                  <c:v>Galaxy Smooth Milk Chocolate 36g</c:v>
                </c:pt>
                <c:pt idx="45">
                  <c:v>Galaxy Caramel Bar 40g</c:v>
                </c:pt>
                <c:pt idx="46">
                  <c:v>Kinder Chocolate Bar 50g</c:v>
                </c:pt>
                <c:pt idx="47">
                  <c:v>Kinder Bueno White 39g</c:v>
                </c:pt>
                <c:pt idx="48">
                  <c:v>Hershey's Kisses Classic Selection Assorted 325g</c:v>
                </c:pt>
                <c:pt idx="49">
                  <c:v>Galaxy Crispy Milk Chocolate 36g</c:v>
                </c:pt>
                <c:pt idx="50">
                  <c:v> Reeses Peanut Butter Cup Mini 340g </c:v>
                </c:pt>
                <c:pt idx="51">
                  <c:v>Kit Kat 17.7g</c:v>
                </c:pt>
                <c:pt idx="52">
                  <c:v> Reeses Peanut Butter Cup 42g x 6</c:v>
                </c:pt>
                <c:pt idx="53">
                  <c:v>Reeses Peanut Butter Cups 46g</c:v>
                </c:pt>
                <c:pt idx="54">
                  <c:v>Reeses Peanut Butter Cup Mini 215g</c:v>
                </c:pt>
                <c:pt idx="55">
                  <c:v>M&amp;M's Milk Chocolate 30.6g</c:v>
                </c:pt>
                <c:pt idx="56">
                  <c:v>Godiva Double Chocolate Bar 35g</c:v>
                </c:pt>
                <c:pt idx="57">
                  <c:v>Galaxy Smooth Milk Chocolate 80g</c:v>
                </c:pt>
                <c:pt idx="58">
                  <c:v>Galaxy Ripple Bar 33g</c:v>
                </c:pt>
                <c:pt idx="59">
                  <c:v>Hershey's Chocobites Cookies 'n Creme 90g</c:v>
                </c:pt>
                <c:pt idx="60">
                  <c:v>Hershey's Kisses Special Selection Assorted 100g</c:v>
                </c:pt>
                <c:pt idx="61">
                  <c:v>Hershey's Chocobites Salted Caramel 81g</c:v>
                </c:pt>
                <c:pt idx="62">
                  <c:v>Hershey's Cookies N' Chocolate 40g</c:v>
                </c:pt>
                <c:pt idx="63">
                  <c:v>Reeses Block 90g</c:v>
                </c:pt>
                <c:pt idx="64">
                  <c:v>Reeses Nut Bar 47g</c:v>
                </c:pt>
                <c:pt idx="65">
                  <c:v>Hershey's Kisses Classic Selection Assorted 100g</c:v>
                </c:pt>
                <c:pt idx="66">
                  <c:v>Hershey's Cookies 'n Creme Creations Salted Caramel 38g</c:v>
                </c:pt>
                <c:pt idx="67">
                  <c:v>Hershey's Cookies N' Crème 12.76g</c:v>
                </c:pt>
                <c:pt idx="68">
                  <c:v> Reeses Wafer Sticks 42g</c:v>
                </c:pt>
                <c:pt idx="69">
                  <c:v>Hershey's Choco Tubes Cookies N' Creme 18g</c:v>
                </c:pt>
                <c:pt idx="70">
                  <c:v> Reeses Peanut Butter Cup Mini 500G</c:v>
                </c:pt>
                <c:pt idx="71">
                  <c:v>Reeses Pieces 180g</c:v>
                </c:pt>
                <c:pt idx="72">
                  <c:v>Reeses Mini King Size 71g</c:v>
                </c:pt>
                <c:pt idx="73">
                  <c:v>Hershey's Cookies 'n Creme Block 90g</c:v>
                </c:pt>
                <c:pt idx="74">
                  <c:v>Hersheys Kisses Classic Selection Assorted 600G</c:v>
                </c:pt>
                <c:pt idx="75">
                  <c:v>Hershey's Cookies 'n Creme 40Gx 4</c:v>
                </c:pt>
                <c:pt idx="76">
                  <c:v>Hershey's Variety Pack 40Gx3</c:v>
                </c:pt>
                <c:pt idx="77">
                  <c:v>Reeses Fast break 51g</c:v>
                </c:pt>
              </c:strCache>
            </c:strRef>
          </c:cat>
          <c:val>
            <c:numRef>
              <c:f>Sheet1!$B$2:$B$79</c:f>
              <c:numCache>
                <c:formatCode>General</c:formatCode>
                <c:ptCount val="78"/>
                <c:pt idx="0">
                  <c:v>8.7534810601232665E-2</c:v>
                </c:pt>
                <c:pt idx="1">
                  <c:v>5.7559500892221442E-2</c:v>
                </c:pt>
                <c:pt idx="2">
                  <c:v>5.2484576460387768E-2</c:v>
                </c:pt>
                <c:pt idx="3">
                  <c:v>5.2431668272041182E-2</c:v>
                </c:pt>
                <c:pt idx="4">
                  <c:v>4.868892335715206E-2</c:v>
                </c:pt>
                <c:pt idx="5">
                  <c:v>3.9883127665807053E-2</c:v>
                </c:pt>
                <c:pt idx="6">
                  <c:v>2.9310751584451511E-2</c:v>
                </c:pt>
                <c:pt idx="7">
                  <c:v>2.7693958481604788E-2</c:v>
                </c:pt>
                <c:pt idx="8">
                  <c:v>2.520913477236672E-2</c:v>
                </c:pt>
                <c:pt idx="9">
                  <c:v>2.4955217813546149E-2</c:v>
                </c:pt>
                <c:pt idx="10">
                  <c:v>2.4411629377003408E-2</c:v>
                </c:pt>
                <c:pt idx="11">
                  <c:v>2.432162347521807E-2</c:v>
                </c:pt>
                <c:pt idx="12">
                  <c:v>2.2631346863859841E-2</c:v>
                </c:pt>
                <c:pt idx="13">
                  <c:v>2.2425372973408079E-2</c:v>
                </c:pt>
                <c:pt idx="14">
                  <c:v>2.1309215636296241E-2</c:v>
                </c:pt>
                <c:pt idx="15">
                  <c:v>2.0959753622360241E-2</c:v>
                </c:pt>
                <c:pt idx="16">
                  <c:v>2.0800319571241239E-2</c:v>
                </c:pt>
                <c:pt idx="17">
                  <c:v>1.7970810967835201E-2</c:v>
                </c:pt>
                <c:pt idx="18">
                  <c:v>1.6850758622753849E-2</c:v>
                </c:pt>
                <c:pt idx="19">
                  <c:v>1.596269816570935E-2</c:v>
                </c:pt>
                <c:pt idx="20">
                  <c:v>1.5112238409568249E-2</c:v>
                </c:pt>
                <c:pt idx="21">
                  <c:v>1.461542990237732E-2</c:v>
                </c:pt>
                <c:pt idx="22">
                  <c:v>1.4334284118613001E-2</c:v>
                </c:pt>
                <c:pt idx="23">
                  <c:v>1.430940527615138E-2</c:v>
                </c:pt>
                <c:pt idx="24">
                  <c:v>1.4289080781313281E-2</c:v>
                </c:pt>
                <c:pt idx="25">
                  <c:v>1.403814668354727E-2</c:v>
                </c:pt>
                <c:pt idx="26">
                  <c:v>1.330105136333818E-2</c:v>
                </c:pt>
                <c:pt idx="27">
                  <c:v>1.279435495102535E-2</c:v>
                </c:pt>
                <c:pt idx="28">
                  <c:v>1.1555834851677259E-2</c:v>
                </c:pt>
                <c:pt idx="29">
                  <c:v>1.1353549481144559E-2</c:v>
                </c:pt>
                <c:pt idx="30">
                  <c:v>1.086773292425431E-2</c:v>
                </c:pt>
                <c:pt idx="31">
                  <c:v>1.0487758880938881E-2</c:v>
                </c:pt>
                <c:pt idx="32">
                  <c:v>1.043360818931305E-2</c:v>
                </c:pt>
                <c:pt idx="33">
                  <c:v>1.021010493667055E-2</c:v>
                </c:pt>
                <c:pt idx="34">
                  <c:v>1.0000357436865779E-2</c:v>
                </c:pt>
                <c:pt idx="35">
                  <c:v>9.6856196504729163E-3</c:v>
                </c:pt>
                <c:pt idx="36">
                  <c:v>9.406623878718887E-3</c:v>
                </c:pt>
                <c:pt idx="37">
                  <c:v>8.1035583272461749E-3</c:v>
                </c:pt>
                <c:pt idx="38">
                  <c:v>7.5495692266556828E-3</c:v>
                </c:pt>
                <c:pt idx="39">
                  <c:v>7.4420449325245048E-3</c:v>
                </c:pt>
                <c:pt idx="40">
                  <c:v>7.2277216112720663E-3</c:v>
                </c:pt>
                <c:pt idx="41">
                  <c:v>7.1673392735173798E-3</c:v>
                </c:pt>
                <c:pt idx="42">
                  <c:v>6.7869153080573506E-3</c:v>
                </c:pt>
                <c:pt idx="43">
                  <c:v>6.6451374901548904E-3</c:v>
                </c:pt>
                <c:pt idx="44">
                  <c:v>6.5885098340167552E-3</c:v>
                </c:pt>
                <c:pt idx="45">
                  <c:v>6.1118889102816784E-3</c:v>
                </c:pt>
                <c:pt idx="46">
                  <c:v>5.4493931229054396E-3</c:v>
                </c:pt>
                <c:pt idx="47">
                  <c:v>5.4360110602241834E-3</c:v>
                </c:pt>
                <c:pt idx="48">
                  <c:v>5.072109933842715E-3</c:v>
                </c:pt>
                <c:pt idx="49">
                  <c:v>4.8778405380791113E-3</c:v>
                </c:pt>
                <c:pt idx="50">
                  <c:v>4.8293537084955207E-3</c:v>
                </c:pt>
                <c:pt idx="51">
                  <c:v>4.756436351299226E-3</c:v>
                </c:pt>
                <c:pt idx="52">
                  <c:v>4.6147312769180401E-3</c:v>
                </c:pt>
                <c:pt idx="53">
                  <c:v>4.5051743706602341E-3</c:v>
                </c:pt>
                <c:pt idx="54">
                  <c:v>4.4076916789279564E-3</c:v>
                </c:pt>
                <c:pt idx="55">
                  <c:v>4.0239190321588224E-3</c:v>
                </c:pt>
                <c:pt idx="56">
                  <c:v>3.9206240800433037E-3</c:v>
                </c:pt>
                <c:pt idx="57">
                  <c:v>3.4990833523240289E-3</c:v>
                </c:pt>
                <c:pt idx="58">
                  <c:v>3.3187734201093398E-3</c:v>
                </c:pt>
                <c:pt idx="59">
                  <c:v>2.7137303220649859E-3</c:v>
                </c:pt>
                <c:pt idx="60">
                  <c:v>2.541702375438945E-3</c:v>
                </c:pt>
                <c:pt idx="61">
                  <c:v>2.4340625382641319E-3</c:v>
                </c:pt>
                <c:pt idx="62">
                  <c:v>2.4219716916852839E-3</c:v>
                </c:pt>
                <c:pt idx="63">
                  <c:v>2.1593638402186001E-3</c:v>
                </c:pt>
                <c:pt idx="64">
                  <c:v>1.6564163558322471E-3</c:v>
                </c:pt>
                <c:pt idx="65">
                  <c:v>1.534050800512053E-3</c:v>
                </c:pt>
                <c:pt idx="66">
                  <c:v>8.8861505707664911E-4</c:v>
                </c:pt>
                <c:pt idx="67">
                  <c:v>7.8139805979037706E-4</c:v>
                </c:pt>
                <c:pt idx="68">
                  <c:v>2.7164883385527279E-4</c:v>
                </c:pt>
                <c:pt idx="69">
                  <c:v>7.2832393059720158E-5</c:v>
                </c:pt>
                <c:pt idx="70">
                  <c:v>0</c:v>
                </c:pt>
                <c:pt idx="71">
                  <c:v>0</c:v>
                </c:pt>
                <c:pt idx="72">
                  <c:v>0</c:v>
                </c:pt>
                <c:pt idx="73">
                  <c:v>0</c:v>
                </c:pt>
                <c:pt idx="74">
                  <c:v>0</c:v>
                </c:pt>
                <c:pt idx="75">
                  <c:v>0</c:v>
                </c:pt>
                <c:pt idx="76">
                  <c:v>0</c:v>
                </c:pt>
                <c:pt idx="77">
                  <c:v>0</c:v>
                </c:pt>
              </c:numCache>
            </c:numRef>
          </c:val>
          <c:extLst>
            <c:ext xmlns:c16="http://schemas.microsoft.com/office/drawing/2014/chart" uri="{C3380CC4-5D6E-409C-BE32-E72D297353CC}">
              <c16:uniqueId val="{000000B4-83E0-4716-877A-8084D4846F88}"/>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ershey's Cookies 'n Creme 40Gx 4</c:v>
                </c:pt>
              </c:strCache>
            </c:strRef>
          </c:tx>
          <c:spPr>
            <a:solidFill>
              <a:schemeClr val="bg2"/>
            </a:solidFill>
            <a:ln>
              <a:noFill/>
            </a:ln>
            <a:effectLst/>
          </c:spPr>
          <c:invertIfNegative val="0"/>
          <c:dPt>
            <c:idx val="0"/>
            <c:invertIfNegative val="1"/>
            <c:bubble3D val="0"/>
            <c:spPr>
              <a:solidFill>
                <a:srgbClr val="E6E5E5"/>
              </a:solidFill>
            </c:spPr>
            <c:extLst>
              <c:ext xmlns:c16="http://schemas.microsoft.com/office/drawing/2014/chart" uri="{C3380CC4-5D6E-409C-BE32-E72D297353CC}">
                <c16:uniqueId val="{00000008-A0D8-4FF8-BF2D-A6DC7B178F5A}"/>
              </c:ext>
            </c:extLst>
          </c:dPt>
          <c:dPt>
            <c:idx val="1"/>
            <c:invertIfNegative val="0"/>
            <c:bubble3D val="0"/>
            <c:spPr>
              <a:solidFill>
                <a:srgbClr val="E6E5E5"/>
              </a:solidFill>
              <a:ln>
                <a:noFill/>
              </a:ln>
              <a:effectLst/>
            </c:spPr>
            <c:extLst>
              <c:ext xmlns:c16="http://schemas.microsoft.com/office/drawing/2014/chart" uri="{C3380CC4-5D6E-409C-BE32-E72D297353CC}">
                <c16:uniqueId val="{00000009-A0D8-4FF8-BF2D-A6DC7B178F5A}"/>
              </c:ext>
            </c:extLst>
          </c:dPt>
          <c:dPt>
            <c:idx val="2"/>
            <c:invertIfNegative val="1"/>
            <c:bubble3D val="0"/>
            <c:spPr>
              <a:solidFill>
                <a:srgbClr val="E6E5E5"/>
              </a:solidFill>
            </c:spPr>
            <c:extLst>
              <c:ext xmlns:c16="http://schemas.microsoft.com/office/drawing/2014/chart" uri="{C3380CC4-5D6E-409C-BE32-E72D297353CC}">
                <c16:uniqueId val="{0000000A-A0D8-4FF8-BF2D-A6DC7B178F5A}"/>
              </c:ext>
            </c:extLst>
          </c:dPt>
          <c:dPt>
            <c:idx val="3"/>
            <c:invertIfNegative val="1"/>
            <c:bubble3D val="0"/>
            <c:spPr>
              <a:solidFill>
                <a:srgbClr val="E6E5E5"/>
              </a:solidFill>
            </c:spPr>
            <c:extLst>
              <c:ext xmlns:c16="http://schemas.microsoft.com/office/drawing/2014/chart" uri="{C3380CC4-5D6E-409C-BE32-E72D297353CC}">
                <c16:uniqueId val="{0000000B-A0D8-4FF8-BF2D-A6DC7B178F5A}"/>
              </c:ext>
            </c:extLst>
          </c:dPt>
          <c:dPt>
            <c:idx val="4"/>
            <c:invertIfNegative val="1"/>
            <c:bubble3D val="0"/>
            <c:spPr>
              <a:solidFill>
                <a:srgbClr val="E6E5E5"/>
              </a:solidFill>
            </c:spPr>
            <c:extLst>
              <c:ext xmlns:c16="http://schemas.microsoft.com/office/drawing/2014/chart" uri="{C3380CC4-5D6E-409C-BE32-E72D297353CC}">
                <c16:uniqueId val="{0000000C-A0D8-4FF8-BF2D-A6DC7B178F5A}"/>
              </c:ext>
            </c:extLst>
          </c:dPt>
          <c:dPt>
            <c:idx val="5"/>
            <c:invertIfNegative val="1"/>
            <c:bubble3D val="0"/>
            <c:spPr>
              <a:solidFill>
                <a:srgbClr val="E6E5E5"/>
              </a:solidFill>
            </c:spPr>
            <c:extLst>
              <c:ext xmlns:c16="http://schemas.microsoft.com/office/drawing/2014/chart" uri="{C3380CC4-5D6E-409C-BE32-E72D297353CC}">
                <c16:uniqueId val="{0000000D-A0D8-4FF8-BF2D-A6DC7B178F5A}"/>
              </c:ext>
            </c:extLst>
          </c:dPt>
          <c:dPt>
            <c:idx val="6"/>
            <c:invertIfNegative val="1"/>
            <c:bubble3D val="0"/>
            <c:spPr>
              <a:solidFill>
                <a:srgbClr val="E6E5E5"/>
              </a:solidFill>
            </c:spPr>
            <c:extLst>
              <c:ext xmlns:c16="http://schemas.microsoft.com/office/drawing/2014/chart" uri="{C3380CC4-5D6E-409C-BE32-E72D297353CC}">
                <c16:uniqueId val="{0000000E-A0D8-4FF8-BF2D-A6DC7B178F5A}"/>
              </c:ext>
            </c:extLst>
          </c:dPt>
          <c:dPt>
            <c:idx val="7"/>
            <c:invertIfNegative val="1"/>
            <c:bubble3D val="0"/>
            <c:spPr>
              <a:solidFill>
                <a:srgbClr val="E6E5E5"/>
              </a:solidFill>
            </c:spPr>
            <c:extLst>
              <c:ext xmlns:c16="http://schemas.microsoft.com/office/drawing/2014/chart" uri="{C3380CC4-5D6E-409C-BE32-E72D297353CC}">
                <c16:uniqueId val="{0000000F-A0D8-4FF8-BF2D-A6DC7B178F5A}"/>
              </c:ext>
            </c:extLst>
          </c:dPt>
          <c:dPt>
            <c:idx val="8"/>
            <c:invertIfNegative val="1"/>
            <c:bubble3D val="0"/>
            <c:spPr>
              <a:solidFill>
                <a:srgbClr val="E6E5E5"/>
              </a:solidFill>
            </c:spPr>
            <c:extLst>
              <c:ext xmlns:c16="http://schemas.microsoft.com/office/drawing/2014/chart" uri="{C3380CC4-5D6E-409C-BE32-E72D297353CC}">
                <c16:uniqueId val="{00000010-A0D8-4FF8-BF2D-A6DC7B178F5A}"/>
              </c:ext>
            </c:extLst>
          </c:dPt>
          <c:dPt>
            <c:idx val="9"/>
            <c:invertIfNegative val="1"/>
            <c:bubble3D val="0"/>
            <c:spPr>
              <a:solidFill>
                <a:srgbClr val="E6E5E5"/>
              </a:solidFill>
            </c:spPr>
            <c:extLst>
              <c:ext xmlns:c16="http://schemas.microsoft.com/office/drawing/2014/chart" uri="{C3380CC4-5D6E-409C-BE32-E72D297353CC}">
                <c16:uniqueId val="{00000011-A0D8-4FF8-BF2D-A6DC7B178F5A}"/>
              </c:ext>
            </c:extLst>
          </c:dPt>
          <c:dPt>
            <c:idx val="10"/>
            <c:invertIfNegative val="1"/>
            <c:bubble3D val="0"/>
            <c:spPr>
              <a:solidFill>
                <a:srgbClr val="E6E5E5"/>
              </a:solidFill>
            </c:spPr>
            <c:extLst>
              <c:ext xmlns:c16="http://schemas.microsoft.com/office/drawing/2014/chart" uri="{C3380CC4-5D6E-409C-BE32-E72D297353CC}">
                <c16:uniqueId val="{00000001-A0D8-4FF8-BF2D-A6DC7B178F5A}"/>
              </c:ext>
            </c:extLst>
          </c:dPt>
          <c:dPt>
            <c:idx val="11"/>
            <c:invertIfNegative val="0"/>
            <c:bubble3D val="0"/>
            <c:spPr>
              <a:solidFill>
                <a:srgbClr val="E6E5E5"/>
              </a:solidFill>
              <a:ln>
                <a:noFill/>
              </a:ln>
              <a:effectLst/>
            </c:spPr>
            <c:extLst>
              <c:ext xmlns:c16="http://schemas.microsoft.com/office/drawing/2014/chart" uri="{C3380CC4-5D6E-409C-BE32-E72D297353CC}">
                <c16:uniqueId val="{00000003-A0D8-4FF8-BF2D-A6DC7B178F5A}"/>
              </c:ext>
            </c:extLst>
          </c:dPt>
          <c:dPt>
            <c:idx val="12"/>
            <c:invertIfNegative val="1"/>
            <c:bubble3D val="0"/>
            <c:spPr>
              <a:solidFill>
                <a:srgbClr val="E6E5E5"/>
              </a:solidFill>
            </c:spPr>
            <c:extLst>
              <c:ext xmlns:c16="http://schemas.microsoft.com/office/drawing/2014/chart" uri="{C3380CC4-5D6E-409C-BE32-E72D297353CC}">
                <c16:uniqueId val="{00000005-A0D8-4FF8-BF2D-A6DC7B178F5A}"/>
              </c:ext>
            </c:extLst>
          </c:dPt>
          <c:dPt>
            <c:idx val="13"/>
            <c:invertIfNegative val="1"/>
            <c:bubble3D val="0"/>
            <c:spPr>
              <a:solidFill>
                <a:srgbClr val="E6E5E5"/>
              </a:solidFill>
            </c:spPr>
            <c:extLst>
              <c:ext xmlns:c16="http://schemas.microsoft.com/office/drawing/2014/chart" uri="{C3380CC4-5D6E-409C-BE32-E72D297353CC}">
                <c16:uniqueId val="{00000012-A0D8-4FF8-BF2D-A6DC7B178F5A}"/>
              </c:ext>
            </c:extLst>
          </c:dPt>
          <c:dPt>
            <c:idx val="14"/>
            <c:invertIfNegative val="1"/>
            <c:bubble3D val="0"/>
            <c:spPr>
              <a:solidFill>
                <a:srgbClr val="E6E5E5"/>
              </a:solidFill>
            </c:spPr>
            <c:extLst>
              <c:ext xmlns:c16="http://schemas.microsoft.com/office/drawing/2014/chart" uri="{C3380CC4-5D6E-409C-BE32-E72D297353CC}">
                <c16:uniqueId val="{00000013-A0D8-4FF8-BF2D-A6DC7B178F5A}"/>
              </c:ext>
            </c:extLst>
          </c:dPt>
          <c:dPt>
            <c:idx val="15"/>
            <c:invertIfNegative val="1"/>
            <c:bubble3D val="0"/>
            <c:spPr>
              <a:solidFill>
                <a:srgbClr val="E6E5E5"/>
              </a:solidFill>
            </c:spPr>
            <c:extLst>
              <c:ext xmlns:c16="http://schemas.microsoft.com/office/drawing/2014/chart" uri="{C3380CC4-5D6E-409C-BE32-E72D297353CC}">
                <c16:uniqueId val="{00000014-A0D8-4FF8-BF2D-A6DC7B178F5A}"/>
              </c:ext>
            </c:extLst>
          </c:dPt>
          <c:dPt>
            <c:idx val="16"/>
            <c:invertIfNegative val="1"/>
            <c:bubble3D val="0"/>
            <c:spPr>
              <a:solidFill>
                <a:srgbClr val="E6E5E5"/>
              </a:solidFill>
            </c:spPr>
            <c:extLst>
              <c:ext xmlns:c16="http://schemas.microsoft.com/office/drawing/2014/chart" uri="{C3380CC4-5D6E-409C-BE32-E72D297353CC}">
                <c16:uniqueId val="{00000015-A0D8-4FF8-BF2D-A6DC7B178F5A}"/>
              </c:ext>
            </c:extLst>
          </c:dPt>
          <c:dPt>
            <c:idx val="17"/>
            <c:invertIfNegative val="1"/>
            <c:bubble3D val="0"/>
            <c:spPr>
              <a:solidFill>
                <a:srgbClr val="E6E5E5"/>
              </a:solidFill>
            </c:spPr>
            <c:extLst>
              <c:ext xmlns:c16="http://schemas.microsoft.com/office/drawing/2014/chart" uri="{C3380CC4-5D6E-409C-BE32-E72D297353CC}">
                <c16:uniqueId val="{00000016-A0D8-4FF8-BF2D-A6DC7B178F5A}"/>
              </c:ext>
            </c:extLst>
          </c:dPt>
          <c:dPt>
            <c:idx val="18"/>
            <c:invertIfNegative val="1"/>
            <c:bubble3D val="0"/>
            <c:spPr>
              <a:solidFill>
                <a:srgbClr val="E6E5E5"/>
              </a:solidFill>
            </c:spPr>
            <c:extLst>
              <c:ext xmlns:c16="http://schemas.microsoft.com/office/drawing/2014/chart" uri="{C3380CC4-5D6E-409C-BE32-E72D297353CC}">
                <c16:uniqueId val="{00000017-A0D8-4FF8-BF2D-A6DC7B178F5A}"/>
              </c:ext>
            </c:extLst>
          </c:dPt>
          <c:dPt>
            <c:idx val="19"/>
            <c:invertIfNegative val="1"/>
            <c:bubble3D val="0"/>
            <c:spPr>
              <a:solidFill>
                <a:srgbClr val="E6E5E5"/>
              </a:solidFill>
            </c:spPr>
            <c:extLst>
              <c:ext xmlns:c16="http://schemas.microsoft.com/office/drawing/2014/chart" uri="{C3380CC4-5D6E-409C-BE32-E72D297353CC}">
                <c16:uniqueId val="{00000018-A0D8-4FF8-BF2D-A6DC7B178F5A}"/>
              </c:ext>
            </c:extLst>
          </c:dPt>
          <c:dPt>
            <c:idx val="20"/>
            <c:invertIfNegative val="1"/>
            <c:bubble3D val="0"/>
            <c:spPr>
              <a:solidFill>
                <a:srgbClr val="E6E5E5"/>
              </a:solidFill>
            </c:spPr>
            <c:extLst>
              <c:ext xmlns:c16="http://schemas.microsoft.com/office/drawing/2014/chart" uri="{C3380CC4-5D6E-409C-BE32-E72D297353CC}">
                <c16:uniqueId val="{00000019-A0D8-4FF8-BF2D-A6DC7B178F5A}"/>
              </c:ext>
            </c:extLst>
          </c:dPt>
          <c:dPt>
            <c:idx val="21"/>
            <c:invertIfNegative val="1"/>
            <c:bubble3D val="0"/>
            <c:spPr>
              <a:solidFill>
                <a:srgbClr val="E6E5E5"/>
              </a:solidFill>
            </c:spPr>
            <c:extLst>
              <c:ext xmlns:c16="http://schemas.microsoft.com/office/drawing/2014/chart" uri="{C3380CC4-5D6E-409C-BE32-E72D297353CC}">
                <c16:uniqueId val="{0000001A-A0D8-4FF8-BF2D-A6DC7B178F5A}"/>
              </c:ext>
            </c:extLst>
          </c:dPt>
          <c:dPt>
            <c:idx val="22"/>
            <c:invertIfNegative val="1"/>
            <c:bubble3D val="0"/>
            <c:spPr>
              <a:solidFill>
                <a:srgbClr val="E6E5E5"/>
              </a:solidFill>
            </c:spPr>
            <c:extLst>
              <c:ext xmlns:c16="http://schemas.microsoft.com/office/drawing/2014/chart" uri="{C3380CC4-5D6E-409C-BE32-E72D297353CC}">
                <c16:uniqueId val="{0000001B-A0D8-4FF8-BF2D-A6DC7B178F5A}"/>
              </c:ext>
            </c:extLst>
          </c:dPt>
          <c:dPt>
            <c:idx val="23"/>
            <c:invertIfNegative val="1"/>
            <c:bubble3D val="0"/>
            <c:spPr>
              <a:solidFill>
                <a:srgbClr val="E6E5E5"/>
              </a:solidFill>
            </c:spPr>
            <c:extLst>
              <c:ext xmlns:c16="http://schemas.microsoft.com/office/drawing/2014/chart" uri="{C3380CC4-5D6E-409C-BE32-E72D297353CC}">
                <c16:uniqueId val="{0000001C-A0D8-4FF8-BF2D-A6DC7B178F5A}"/>
              </c:ext>
            </c:extLst>
          </c:dPt>
          <c:dPt>
            <c:idx val="24"/>
            <c:invertIfNegative val="1"/>
            <c:bubble3D val="0"/>
            <c:spPr>
              <a:solidFill>
                <a:srgbClr val="E6E5E5"/>
              </a:solidFill>
            </c:spPr>
            <c:extLst>
              <c:ext xmlns:c16="http://schemas.microsoft.com/office/drawing/2014/chart" uri="{C3380CC4-5D6E-409C-BE32-E72D297353CC}">
                <c16:uniqueId val="{0000001D-A0D8-4FF8-BF2D-A6DC7B178F5A}"/>
              </c:ext>
            </c:extLst>
          </c:dPt>
          <c:dPt>
            <c:idx val="25"/>
            <c:invertIfNegative val="1"/>
            <c:bubble3D val="0"/>
            <c:spPr>
              <a:solidFill>
                <a:srgbClr val="E6E5E5"/>
              </a:solidFill>
            </c:spPr>
            <c:extLst>
              <c:ext xmlns:c16="http://schemas.microsoft.com/office/drawing/2014/chart" uri="{C3380CC4-5D6E-409C-BE32-E72D297353CC}">
                <c16:uniqueId val="{0000001E-A0D8-4FF8-BF2D-A6DC7B178F5A}"/>
              </c:ext>
            </c:extLst>
          </c:dPt>
          <c:dPt>
            <c:idx val="26"/>
            <c:invertIfNegative val="1"/>
            <c:bubble3D val="0"/>
            <c:spPr>
              <a:solidFill>
                <a:srgbClr val="E6E5E5"/>
              </a:solidFill>
            </c:spPr>
            <c:extLst>
              <c:ext xmlns:c16="http://schemas.microsoft.com/office/drawing/2014/chart" uri="{C3380CC4-5D6E-409C-BE32-E72D297353CC}">
                <c16:uniqueId val="{0000001F-A0D8-4FF8-BF2D-A6DC7B178F5A}"/>
              </c:ext>
            </c:extLst>
          </c:dPt>
          <c:dPt>
            <c:idx val="27"/>
            <c:invertIfNegative val="1"/>
            <c:bubble3D val="0"/>
            <c:spPr>
              <a:solidFill>
                <a:srgbClr val="E6E5E5"/>
              </a:solidFill>
            </c:spPr>
            <c:extLst>
              <c:ext xmlns:c16="http://schemas.microsoft.com/office/drawing/2014/chart" uri="{C3380CC4-5D6E-409C-BE32-E72D297353CC}">
                <c16:uniqueId val="{00000020-A0D8-4FF8-BF2D-A6DC7B178F5A}"/>
              </c:ext>
            </c:extLst>
          </c:dPt>
          <c:dPt>
            <c:idx val="28"/>
            <c:invertIfNegative val="1"/>
            <c:bubble3D val="0"/>
            <c:spPr>
              <a:solidFill>
                <a:srgbClr val="E6E5E5"/>
              </a:solidFill>
            </c:spPr>
            <c:extLst>
              <c:ext xmlns:c16="http://schemas.microsoft.com/office/drawing/2014/chart" uri="{C3380CC4-5D6E-409C-BE32-E72D297353CC}">
                <c16:uniqueId val="{00000021-A0D8-4FF8-BF2D-A6DC7B178F5A}"/>
              </c:ext>
            </c:extLst>
          </c:dPt>
          <c:dPt>
            <c:idx val="29"/>
            <c:invertIfNegative val="1"/>
            <c:bubble3D val="0"/>
            <c:spPr>
              <a:solidFill>
                <a:srgbClr val="E6E5E5"/>
              </a:solidFill>
            </c:spPr>
            <c:extLst>
              <c:ext xmlns:c16="http://schemas.microsoft.com/office/drawing/2014/chart" uri="{C3380CC4-5D6E-409C-BE32-E72D297353CC}">
                <c16:uniqueId val="{00000022-A0D8-4FF8-BF2D-A6DC7B178F5A}"/>
              </c:ext>
            </c:extLst>
          </c:dPt>
          <c:dPt>
            <c:idx val="30"/>
            <c:invertIfNegative val="1"/>
            <c:bubble3D val="0"/>
            <c:spPr>
              <a:solidFill>
                <a:srgbClr val="E6E5E5"/>
              </a:solidFill>
            </c:spPr>
            <c:extLst>
              <c:ext xmlns:c16="http://schemas.microsoft.com/office/drawing/2014/chart" uri="{C3380CC4-5D6E-409C-BE32-E72D297353CC}">
                <c16:uniqueId val="{00000023-A0D8-4FF8-BF2D-A6DC7B178F5A}"/>
              </c:ext>
            </c:extLst>
          </c:dPt>
          <c:dPt>
            <c:idx val="31"/>
            <c:invertIfNegative val="1"/>
            <c:bubble3D val="0"/>
            <c:spPr>
              <a:solidFill>
                <a:srgbClr val="E6E5E5"/>
              </a:solidFill>
            </c:spPr>
            <c:extLst>
              <c:ext xmlns:c16="http://schemas.microsoft.com/office/drawing/2014/chart" uri="{C3380CC4-5D6E-409C-BE32-E72D297353CC}">
                <c16:uniqueId val="{00000024-A0D8-4FF8-BF2D-A6DC7B178F5A}"/>
              </c:ext>
            </c:extLst>
          </c:dPt>
          <c:dPt>
            <c:idx val="32"/>
            <c:invertIfNegative val="1"/>
            <c:bubble3D val="0"/>
            <c:spPr>
              <a:solidFill>
                <a:srgbClr val="E6E5E5"/>
              </a:solidFill>
            </c:spPr>
            <c:extLst>
              <c:ext xmlns:c16="http://schemas.microsoft.com/office/drawing/2014/chart" uri="{C3380CC4-5D6E-409C-BE32-E72D297353CC}">
                <c16:uniqueId val="{00000025-A0D8-4FF8-BF2D-A6DC7B178F5A}"/>
              </c:ext>
            </c:extLst>
          </c:dPt>
          <c:dPt>
            <c:idx val="33"/>
            <c:invertIfNegative val="1"/>
            <c:bubble3D val="0"/>
            <c:spPr>
              <a:solidFill>
                <a:srgbClr val="E6E5E5"/>
              </a:solidFill>
            </c:spPr>
            <c:extLst>
              <c:ext xmlns:c16="http://schemas.microsoft.com/office/drawing/2014/chart" uri="{C3380CC4-5D6E-409C-BE32-E72D297353CC}">
                <c16:uniqueId val="{00000026-A0D8-4FF8-BF2D-A6DC7B178F5A}"/>
              </c:ext>
            </c:extLst>
          </c:dPt>
          <c:dPt>
            <c:idx val="34"/>
            <c:invertIfNegative val="1"/>
            <c:bubble3D val="0"/>
            <c:spPr>
              <a:solidFill>
                <a:srgbClr val="E6E5E5"/>
              </a:solidFill>
            </c:spPr>
            <c:extLst>
              <c:ext xmlns:c16="http://schemas.microsoft.com/office/drawing/2014/chart" uri="{C3380CC4-5D6E-409C-BE32-E72D297353CC}">
                <c16:uniqueId val="{00000027-A0D8-4FF8-BF2D-A6DC7B178F5A}"/>
              </c:ext>
            </c:extLst>
          </c:dPt>
          <c:dPt>
            <c:idx val="35"/>
            <c:invertIfNegative val="1"/>
            <c:bubble3D val="0"/>
            <c:spPr>
              <a:solidFill>
                <a:srgbClr val="E6E5E5"/>
              </a:solidFill>
            </c:spPr>
            <c:extLst>
              <c:ext xmlns:c16="http://schemas.microsoft.com/office/drawing/2014/chart" uri="{C3380CC4-5D6E-409C-BE32-E72D297353CC}">
                <c16:uniqueId val="{00000028-A0D8-4FF8-BF2D-A6DC7B178F5A}"/>
              </c:ext>
            </c:extLst>
          </c:dPt>
          <c:dPt>
            <c:idx val="36"/>
            <c:invertIfNegative val="1"/>
            <c:bubble3D val="0"/>
            <c:spPr>
              <a:solidFill>
                <a:srgbClr val="E6E5E5"/>
              </a:solidFill>
            </c:spPr>
            <c:extLst>
              <c:ext xmlns:c16="http://schemas.microsoft.com/office/drawing/2014/chart" uri="{C3380CC4-5D6E-409C-BE32-E72D297353CC}">
                <c16:uniqueId val="{00000029-A0D8-4FF8-BF2D-A6DC7B178F5A}"/>
              </c:ext>
            </c:extLst>
          </c:dPt>
          <c:dPt>
            <c:idx val="37"/>
            <c:invertIfNegative val="1"/>
            <c:bubble3D val="0"/>
            <c:spPr>
              <a:solidFill>
                <a:srgbClr val="E6E5E5"/>
              </a:solidFill>
            </c:spPr>
            <c:extLst>
              <c:ext xmlns:c16="http://schemas.microsoft.com/office/drawing/2014/chart" uri="{C3380CC4-5D6E-409C-BE32-E72D297353CC}">
                <c16:uniqueId val="{0000002A-A0D8-4FF8-BF2D-A6DC7B178F5A}"/>
              </c:ext>
            </c:extLst>
          </c:dPt>
          <c:dPt>
            <c:idx val="38"/>
            <c:invertIfNegative val="1"/>
            <c:bubble3D val="0"/>
            <c:spPr>
              <a:solidFill>
                <a:srgbClr val="E6E5E5"/>
              </a:solidFill>
            </c:spPr>
            <c:extLst>
              <c:ext xmlns:c16="http://schemas.microsoft.com/office/drawing/2014/chart" uri="{C3380CC4-5D6E-409C-BE32-E72D297353CC}">
                <c16:uniqueId val="{0000002B-A0D8-4FF8-BF2D-A6DC7B178F5A}"/>
              </c:ext>
            </c:extLst>
          </c:dPt>
          <c:dPt>
            <c:idx val="39"/>
            <c:invertIfNegative val="1"/>
            <c:bubble3D val="0"/>
            <c:spPr>
              <a:solidFill>
                <a:srgbClr val="E6E5E5"/>
              </a:solidFill>
            </c:spPr>
            <c:extLst>
              <c:ext xmlns:c16="http://schemas.microsoft.com/office/drawing/2014/chart" uri="{C3380CC4-5D6E-409C-BE32-E72D297353CC}">
                <c16:uniqueId val="{0000002C-A0D8-4FF8-BF2D-A6DC7B178F5A}"/>
              </c:ext>
            </c:extLst>
          </c:dPt>
          <c:dPt>
            <c:idx val="40"/>
            <c:invertIfNegative val="1"/>
            <c:bubble3D val="0"/>
            <c:spPr>
              <a:solidFill>
                <a:srgbClr val="E6E5E5"/>
              </a:solidFill>
            </c:spPr>
            <c:extLst>
              <c:ext xmlns:c16="http://schemas.microsoft.com/office/drawing/2014/chart" uri="{C3380CC4-5D6E-409C-BE32-E72D297353CC}">
                <c16:uniqueId val="{0000002D-A0D8-4FF8-BF2D-A6DC7B178F5A}"/>
              </c:ext>
            </c:extLst>
          </c:dPt>
          <c:dPt>
            <c:idx val="41"/>
            <c:invertIfNegative val="1"/>
            <c:bubble3D val="0"/>
            <c:spPr>
              <a:solidFill>
                <a:srgbClr val="E6E5E5"/>
              </a:solidFill>
            </c:spPr>
            <c:extLst>
              <c:ext xmlns:c16="http://schemas.microsoft.com/office/drawing/2014/chart" uri="{C3380CC4-5D6E-409C-BE32-E72D297353CC}">
                <c16:uniqueId val="{0000002E-A0D8-4FF8-BF2D-A6DC7B178F5A}"/>
              </c:ext>
            </c:extLst>
          </c:dPt>
          <c:dPt>
            <c:idx val="42"/>
            <c:invertIfNegative val="1"/>
            <c:bubble3D val="0"/>
            <c:spPr>
              <a:solidFill>
                <a:srgbClr val="E6E5E5"/>
              </a:solidFill>
            </c:spPr>
            <c:extLst>
              <c:ext xmlns:c16="http://schemas.microsoft.com/office/drawing/2014/chart" uri="{C3380CC4-5D6E-409C-BE32-E72D297353CC}">
                <c16:uniqueId val="{00000007-A0D8-4FF8-BF2D-A6DC7B178F5A}"/>
              </c:ext>
            </c:extLst>
          </c:dPt>
          <c:dPt>
            <c:idx val="43"/>
            <c:invertIfNegative val="1"/>
            <c:bubble3D val="0"/>
            <c:spPr>
              <a:solidFill>
                <a:srgbClr val="E6E5E5"/>
              </a:solidFill>
            </c:spPr>
            <c:extLst>
              <c:ext xmlns:c16="http://schemas.microsoft.com/office/drawing/2014/chart" uri="{C3380CC4-5D6E-409C-BE32-E72D297353CC}">
                <c16:uniqueId val="{0000002F-A0D8-4FF8-BF2D-A6DC7B178F5A}"/>
              </c:ext>
            </c:extLst>
          </c:dPt>
          <c:dPt>
            <c:idx val="44"/>
            <c:invertIfNegative val="1"/>
            <c:bubble3D val="0"/>
            <c:spPr>
              <a:solidFill>
                <a:srgbClr val="E6E5E5"/>
              </a:solidFill>
            </c:spPr>
            <c:extLst>
              <c:ext xmlns:c16="http://schemas.microsoft.com/office/drawing/2014/chart" uri="{C3380CC4-5D6E-409C-BE32-E72D297353CC}">
                <c16:uniqueId val="{00000030-A0D8-4FF8-BF2D-A6DC7B178F5A}"/>
              </c:ext>
            </c:extLst>
          </c:dPt>
          <c:dPt>
            <c:idx val="45"/>
            <c:invertIfNegative val="1"/>
            <c:bubble3D val="0"/>
            <c:spPr>
              <a:solidFill>
                <a:srgbClr val="E6E5E5"/>
              </a:solidFill>
            </c:spPr>
            <c:extLst>
              <c:ext xmlns:c16="http://schemas.microsoft.com/office/drawing/2014/chart" uri="{C3380CC4-5D6E-409C-BE32-E72D297353CC}">
                <c16:uniqueId val="{00000031-A0D8-4FF8-BF2D-A6DC7B178F5A}"/>
              </c:ext>
            </c:extLst>
          </c:dPt>
          <c:dPt>
            <c:idx val="46"/>
            <c:invertIfNegative val="0"/>
            <c:bubble3D val="0"/>
            <c:spPr>
              <a:solidFill>
                <a:srgbClr val="E6E5E5"/>
              </a:solidFill>
              <a:ln>
                <a:noFill/>
              </a:ln>
              <a:effectLst/>
            </c:spPr>
            <c:extLst>
              <c:ext xmlns:c16="http://schemas.microsoft.com/office/drawing/2014/chart" uri="{C3380CC4-5D6E-409C-BE32-E72D297353CC}">
                <c16:uniqueId val="{00000032-A0D8-4FF8-BF2D-A6DC7B178F5A}"/>
              </c:ext>
            </c:extLst>
          </c:dPt>
          <c:dPt>
            <c:idx val="47"/>
            <c:invertIfNegative val="1"/>
            <c:bubble3D val="0"/>
            <c:spPr>
              <a:solidFill>
                <a:srgbClr val="E6E5E5"/>
              </a:solidFill>
            </c:spPr>
            <c:extLst>
              <c:ext xmlns:c16="http://schemas.microsoft.com/office/drawing/2014/chart" uri="{C3380CC4-5D6E-409C-BE32-E72D297353CC}">
                <c16:uniqueId val="{00000033-A0D8-4FF8-BF2D-A6DC7B178F5A}"/>
              </c:ext>
            </c:extLst>
          </c:dPt>
          <c:dPt>
            <c:idx val="48"/>
            <c:invertIfNegative val="0"/>
            <c:bubble3D val="0"/>
            <c:spPr>
              <a:solidFill>
                <a:srgbClr val="E6E5E5"/>
              </a:solidFill>
              <a:ln>
                <a:noFill/>
              </a:ln>
              <a:effectLst/>
            </c:spPr>
            <c:extLst>
              <c:ext xmlns:c16="http://schemas.microsoft.com/office/drawing/2014/chart" uri="{C3380CC4-5D6E-409C-BE32-E72D297353CC}">
                <c16:uniqueId val="{00000034-A0D8-4FF8-BF2D-A6DC7B178F5A}"/>
              </c:ext>
            </c:extLst>
          </c:dPt>
          <c:dPt>
            <c:idx val="49"/>
            <c:invertIfNegative val="1"/>
            <c:bubble3D val="0"/>
            <c:spPr>
              <a:solidFill>
                <a:srgbClr val="E6E5E5"/>
              </a:solidFill>
            </c:spPr>
            <c:extLst>
              <c:ext xmlns:c16="http://schemas.microsoft.com/office/drawing/2014/chart" uri="{C3380CC4-5D6E-409C-BE32-E72D297353CC}">
                <c16:uniqueId val="{00000035-A0D8-4FF8-BF2D-A6DC7B178F5A}"/>
              </c:ext>
            </c:extLst>
          </c:dPt>
          <c:dPt>
            <c:idx val="50"/>
            <c:invertIfNegative val="1"/>
            <c:bubble3D val="0"/>
            <c:spPr>
              <a:solidFill>
                <a:srgbClr val="E6E5E5"/>
              </a:solidFill>
            </c:spPr>
            <c:extLst>
              <c:ext xmlns:c16="http://schemas.microsoft.com/office/drawing/2014/chart" uri="{C3380CC4-5D6E-409C-BE32-E72D297353CC}">
                <c16:uniqueId val="{00000036-A0D8-4FF8-BF2D-A6DC7B178F5A}"/>
              </c:ext>
            </c:extLst>
          </c:dPt>
          <c:dPt>
            <c:idx val="51"/>
            <c:invertIfNegative val="1"/>
            <c:bubble3D val="0"/>
            <c:spPr>
              <a:solidFill>
                <a:srgbClr val="E6E5E5"/>
              </a:solidFill>
            </c:spPr>
            <c:extLst>
              <c:ext xmlns:c16="http://schemas.microsoft.com/office/drawing/2014/chart" uri="{C3380CC4-5D6E-409C-BE32-E72D297353CC}">
                <c16:uniqueId val="{00000037-A0D8-4FF8-BF2D-A6DC7B178F5A}"/>
              </c:ext>
            </c:extLst>
          </c:dPt>
          <c:dPt>
            <c:idx val="52"/>
            <c:invertIfNegative val="0"/>
            <c:bubble3D val="0"/>
            <c:spPr>
              <a:solidFill>
                <a:srgbClr val="E6E5E5"/>
              </a:solidFill>
              <a:ln>
                <a:noFill/>
              </a:ln>
              <a:effectLst/>
            </c:spPr>
            <c:extLst>
              <c:ext xmlns:c16="http://schemas.microsoft.com/office/drawing/2014/chart" uri="{C3380CC4-5D6E-409C-BE32-E72D297353CC}">
                <c16:uniqueId val="{00000038-A0D8-4FF8-BF2D-A6DC7B178F5A}"/>
              </c:ext>
            </c:extLst>
          </c:dPt>
          <c:dPt>
            <c:idx val="53"/>
            <c:invertIfNegative val="1"/>
            <c:bubble3D val="0"/>
            <c:spPr>
              <a:solidFill>
                <a:srgbClr val="E6E5E5"/>
              </a:solidFill>
            </c:spPr>
            <c:extLst>
              <c:ext xmlns:c16="http://schemas.microsoft.com/office/drawing/2014/chart" uri="{C3380CC4-5D6E-409C-BE32-E72D297353CC}">
                <c16:uniqueId val="{0000006B-B572-4DF2-A18B-EB5D630E70B4}"/>
              </c:ext>
            </c:extLst>
          </c:dPt>
          <c:dPt>
            <c:idx val="54"/>
            <c:invertIfNegative val="1"/>
            <c:bubble3D val="0"/>
            <c:spPr>
              <a:solidFill>
                <a:srgbClr val="E6E5E5"/>
              </a:solidFill>
            </c:spPr>
            <c:extLst>
              <c:ext xmlns:c16="http://schemas.microsoft.com/office/drawing/2014/chart" uri="{C3380CC4-5D6E-409C-BE32-E72D297353CC}">
                <c16:uniqueId val="{0000006D-B572-4DF2-A18B-EB5D630E70B4}"/>
              </c:ext>
            </c:extLst>
          </c:dPt>
          <c:dPt>
            <c:idx val="55"/>
            <c:invertIfNegative val="1"/>
            <c:bubble3D val="0"/>
            <c:spPr>
              <a:solidFill>
                <a:srgbClr val="E6E5E5"/>
              </a:solidFill>
            </c:spPr>
            <c:extLst>
              <c:ext xmlns:c16="http://schemas.microsoft.com/office/drawing/2014/chart" uri="{C3380CC4-5D6E-409C-BE32-E72D297353CC}">
                <c16:uniqueId val="{0000006F-B572-4DF2-A18B-EB5D630E70B4}"/>
              </c:ext>
            </c:extLst>
          </c:dPt>
          <c:dPt>
            <c:idx val="56"/>
            <c:invertIfNegative val="1"/>
            <c:bubble3D val="0"/>
            <c:spPr>
              <a:solidFill>
                <a:srgbClr val="E6E5E5"/>
              </a:solidFill>
            </c:spPr>
            <c:extLst>
              <c:ext xmlns:c16="http://schemas.microsoft.com/office/drawing/2014/chart" uri="{C3380CC4-5D6E-409C-BE32-E72D297353CC}">
                <c16:uniqueId val="{00000071-B572-4DF2-A18B-EB5D630E70B4}"/>
              </c:ext>
            </c:extLst>
          </c:dPt>
          <c:dPt>
            <c:idx val="57"/>
            <c:invertIfNegative val="1"/>
            <c:bubble3D val="0"/>
            <c:spPr>
              <a:solidFill>
                <a:srgbClr val="E6E5E5"/>
              </a:solidFill>
            </c:spPr>
            <c:extLst>
              <c:ext xmlns:c16="http://schemas.microsoft.com/office/drawing/2014/chart" uri="{C3380CC4-5D6E-409C-BE32-E72D297353CC}">
                <c16:uniqueId val="{00000073-B572-4DF2-A18B-EB5D630E70B4}"/>
              </c:ext>
            </c:extLst>
          </c:dPt>
          <c:dPt>
            <c:idx val="58"/>
            <c:invertIfNegative val="1"/>
            <c:bubble3D val="0"/>
            <c:spPr>
              <a:solidFill>
                <a:srgbClr val="E6E5E5"/>
              </a:solidFill>
            </c:spPr>
            <c:extLst>
              <c:ext xmlns:c16="http://schemas.microsoft.com/office/drawing/2014/chart" uri="{C3380CC4-5D6E-409C-BE32-E72D297353CC}">
                <c16:uniqueId val="{00000075-B572-4DF2-A18B-EB5D630E70B4}"/>
              </c:ext>
            </c:extLst>
          </c:dPt>
          <c:dPt>
            <c:idx val="59"/>
            <c:invertIfNegative val="1"/>
            <c:bubble3D val="0"/>
            <c:spPr>
              <a:solidFill>
                <a:srgbClr val="E6E5E5"/>
              </a:solidFill>
            </c:spPr>
            <c:extLst>
              <c:ext xmlns:c16="http://schemas.microsoft.com/office/drawing/2014/chart" uri="{C3380CC4-5D6E-409C-BE32-E72D297353CC}">
                <c16:uniqueId val="{00000077-B572-4DF2-A18B-EB5D630E70B4}"/>
              </c:ext>
            </c:extLst>
          </c:dPt>
          <c:dPt>
            <c:idx val="60"/>
            <c:invertIfNegative val="1"/>
            <c:bubble3D val="0"/>
            <c:spPr>
              <a:solidFill>
                <a:srgbClr val="E6E5E5"/>
              </a:solidFill>
            </c:spPr>
            <c:extLst>
              <c:ext xmlns:c16="http://schemas.microsoft.com/office/drawing/2014/chart" uri="{C3380CC4-5D6E-409C-BE32-E72D297353CC}">
                <c16:uniqueId val="{00000079-B572-4DF2-A18B-EB5D630E70B4}"/>
              </c:ext>
            </c:extLst>
          </c:dPt>
          <c:dPt>
            <c:idx val="61"/>
            <c:invertIfNegative val="1"/>
            <c:bubble3D val="0"/>
            <c:spPr>
              <a:solidFill>
                <a:srgbClr val="E6E5E5"/>
              </a:solidFill>
            </c:spPr>
            <c:extLst>
              <c:ext xmlns:c16="http://schemas.microsoft.com/office/drawing/2014/chart" uri="{C3380CC4-5D6E-409C-BE32-E72D297353CC}">
                <c16:uniqueId val="{0000007B-B572-4DF2-A18B-EB5D630E70B4}"/>
              </c:ext>
            </c:extLst>
          </c:dPt>
          <c:dPt>
            <c:idx val="62"/>
            <c:invertIfNegative val="1"/>
            <c:bubble3D val="0"/>
            <c:spPr>
              <a:solidFill>
                <a:srgbClr val="E6E5E5"/>
              </a:solidFill>
            </c:spPr>
            <c:extLst>
              <c:ext xmlns:c16="http://schemas.microsoft.com/office/drawing/2014/chart" uri="{C3380CC4-5D6E-409C-BE32-E72D297353CC}">
                <c16:uniqueId val="{0000007D-B572-4DF2-A18B-EB5D630E70B4}"/>
              </c:ext>
            </c:extLst>
          </c:dPt>
          <c:dPt>
            <c:idx val="63"/>
            <c:invertIfNegative val="1"/>
            <c:bubble3D val="0"/>
            <c:spPr>
              <a:solidFill>
                <a:srgbClr val="E6E5E5"/>
              </a:solidFill>
            </c:spPr>
            <c:extLst>
              <c:ext xmlns:c16="http://schemas.microsoft.com/office/drawing/2014/chart" uri="{C3380CC4-5D6E-409C-BE32-E72D297353CC}">
                <c16:uniqueId val="{0000007F-B572-4DF2-A18B-EB5D630E70B4}"/>
              </c:ext>
            </c:extLst>
          </c:dPt>
          <c:dPt>
            <c:idx val="64"/>
            <c:invertIfNegative val="1"/>
            <c:bubble3D val="0"/>
            <c:spPr>
              <a:solidFill>
                <a:srgbClr val="E6E5E5"/>
              </a:solidFill>
            </c:spPr>
            <c:extLst>
              <c:ext xmlns:c16="http://schemas.microsoft.com/office/drawing/2014/chart" uri="{C3380CC4-5D6E-409C-BE32-E72D297353CC}">
                <c16:uniqueId val="{00000081-B572-4DF2-A18B-EB5D630E70B4}"/>
              </c:ext>
            </c:extLst>
          </c:dPt>
          <c:dPt>
            <c:idx val="65"/>
            <c:invertIfNegative val="1"/>
            <c:bubble3D val="0"/>
            <c:spPr>
              <a:solidFill>
                <a:srgbClr val="E6E5E5"/>
              </a:solidFill>
            </c:spPr>
            <c:extLst>
              <c:ext xmlns:c16="http://schemas.microsoft.com/office/drawing/2014/chart" uri="{C3380CC4-5D6E-409C-BE32-E72D297353CC}">
                <c16:uniqueId val="{00000083-B572-4DF2-A18B-EB5D630E70B4}"/>
              </c:ext>
            </c:extLst>
          </c:dPt>
          <c:dPt>
            <c:idx val="66"/>
            <c:invertIfNegative val="1"/>
            <c:bubble3D val="0"/>
            <c:spPr>
              <a:solidFill>
                <a:srgbClr val="E6E5E5"/>
              </a:solidFill>
            </c:spPr>
            <c:extLst>
              <c:ext xmlns:c16="http://schemas.microsoft.com/office/drawing/2014/chart" uri="{C3380CC4-5D6E-409C-BE32-E72D297353CC}">
                <c16:uniqueId val="{00000085-B572-4DF2-A18B-EB5D630E70B4}"/>
              </c:ext>
            </c:extLst>
          </c:dPt>
          <c:dPt>
            <c:idx val="67"/>
            <c:invertIfNegative val="1"/>
            <c:bubble3D val="0"/>
            <c:spPr>
              <a:solidFill>
                <a:srgbClr val="E6E5E5"/>
              </a:solidFill>
            </c:spPr>
            <c:extLst>
              <c:ext xmlns:c16="http://schemas.microsoft.com/office/drawing/2014/chart" uri="{C3380CC4-5D6E-409C-BE32-E72D297353CC}">
                <c16:uniqueId val="{00000087-B572-4DF2-A18B-EB5D630E70B4}"/>
              </c:ext>
            </c:extLst>
          </c:dPt>
          <c:dPt>
            <c:idx val="68"/>
            <c:invertIfNegative val="1"/>
            <c:bubble3D val="0"/>
            <c:spPr>
              <a:solidFill>
                <a:srgbClr val="E6E5E5"/>
              </a:solidFill>
            </c:spPr>
            <c:extLst>
              <c:ext xmlns:c16="http://schemas.microsoft.com/office/drawing/2014/chart" uri="{C3380CC4-5D6E-409C-BE32-E72D297353CC}">
                <c16:uniqueId val="{00000089-B572-4DF2-A18B-EB5D630E70B4}"/>
              </c:ext>
            </c:extLst>
          </c:dPt>
          <c:dPt>
            <c:idx val="69"/>
            <c:invertIfNegative val="1"/>
            <c:bubble3D val="0"/>
            <c:spPr>
              <a:solidFill>
                <a:srgbClr val="E6E5E5"/>
              </a:solidFill>
            </c:spPr>
            <c:extLst>
              <c:ext xmlns:c16="http://schemas.microsoft.com/office/drawing/2014/chart" uri="{C3380CC4-5D6E-409C-BE32-E72D297353CC}">
                <c16:uniqueId val="{0000008B-B572-4DF2-A18B-EB5D630E70B4}"/>
              </c:ext>
            </c:extLst>
          </c:dPt>
          <c:dPt>
            <c:idx val="70"/>
            <c:invertIfNegative val="1"/>
            <c:bubble3D val="0"/>
            <c:spPr>
              <a:solidFill>
                <a:srgbClr val="E6E5E5"/>
              </a:solidFill>
            </c:spPr>
            <c:extLst>
              <c:ext xmlns:c16="http://schemas.microsoft.com/office/drawing/2014/chart" uri="{C3380CC4-5D6E-409C-BE32-E72D297353CC}">
                <c16:uniqueId val="{0000008D-B572-4DF2-A18B-EB5D630E70B4}"/>
              </c:ext>
            </c:extLst>
          </c:dPt>
          <c:dPt>
            <c:idx val="71"/>
            <c:invertIfNegative val="1"/>
            <c:bubble3D val="0"/>
            <c:spPr>
              <a:solidFill>
                <a:srgbClr val="E6E5E5"/>
              </a:solidFill>
            </c:spPr>
            <c:extLst>
              <c:ext xmlns:c16="http://schemas.microsoft.com/office/drawing/2014/chart" uri="{C3380CC4-5D6E-409C-BE32-E72D297353CC}">
                <c16:uniqueId val="{0000008F-B572-4DF2-A18B-EB5D630E70B4}"/>
              </c:ext>
            </c:extLst>
          </c:dPt>
          <c:dPt>
            <c:idx val="72"/>
            <c:invertIfNegative val="1"/>
            <c:bubble3D val="0"/>
            <c:spPr>
              <a:solidFill>
                <a:srgbClr val="E6E5E5"/>
              </a:solidFill>
            </c:spPr>
            <c:extLst>
              <c:ext xmlns:c16="http://schemas.microsoft.com/office/drawing/2014/chart" uri="{C3380CC4-5D6E-409C-BE32-E72D297353CC}">
                <c16:uniqueId val="{00000091-B572-4DF2-A18B-EB5D630E70B4}"/>
              </c:ext>
            </c:extLst>
          </c:dPt>
          <c:dPt>
            <c:idx val="73"/>
            <c:invertIfNegative val="1"/>
            <c:bubble3D val="0"/>
            <c:spPr>
              <a:solidFill>
                <a:srgbClr val="E6E5E5"/>
              </a:solidFill>
            </c:spPr>
            <c:extLst>
              <c:ext xmlns:c16="http://schemas.microsoft.com/office/drawing/2014/chart" uri="{C3380CC4-5D6E-409C-BE32-E72D297353CC}">
                <c16:uniqueId val="{00000093-B572-4DF2-A18B-EB5D630E70B4}"/>
              </c:ext>
            </c:extLst>
          </c:dPt>
          <c:dPt>
            <c:idx val="74"/>
            <c:invertIfNegative val="1"/>
            <c:bubble3D val="0"/>
            <c:spPr>
              <a:solidFill>
                <a:srgbClr val="E6E5E5"/>
              </a:solidFill>
            </c:spPr>
            <c:extLst>
              <c:ext xmlns:c16="http://schemas.microsoft.com/office/drawing/2014/chart" uri="{C3380CC4-5D6E-409C-BE32-E72D297353CC}">
                <c16:uniqueId val="{00000095-B572-4DF2-A18B-EB5D630E70B4}"/>
              </c:ext>
            </c:extLst>
          </c:dPt>
          <c:dPt>
            <c:idx val="75"/>
            <c:invertIfNegative val="1"/>
            <c:bubble3D val="0"/>
            <c:spPr>
              <a:solidFill>
                <a:srgbClr val="E6E5E5"/>
              </a:solidFill>
            </c:spPr>
            <c:extLst>
              <c:ext xmlns:c16="http://schemas.microsoft.com/office/drawing/2014/chart" uri="{C3380CC4-5D6E-409C-BE32-E72D297353CC}">
                <c16:uniqueId val="{00000097-B572-4DF2-A18B-EB5D630E70B4}"/>
              </c:ext>
            </c:extLst>
          </c:dPt>
          <c:dPt>
            <c:idx val="76"/>
            <c:invertIfNegative val="1"/>
            <c:bubble3D val="0"/>
            <c:spPr>
              <a:solidFill>
                <a:srgbClr val="E6E5E5"/>
              </a:solidFill>
            </c:spPr>
            <c:extLst>
              <c:ext xmlns:c16="http://schemas.microsoft.com/office/drawing/2014/chart" uri="{C3380CC4-5D6E-409C-BE32-E72D297353CC}">
                <c16:uniqueId val="{00000099-B572-4DF2-A18B-EB5D630E70B4}"/>
              </c:ext>
            </c:extLst>
          </c:dPt>
          <c:dPt>
            <c:idx val="77"/>
            <c:invertIfNegative val="1"/>
            <c:bubble3D val="0"/>
            <c:spPr>
              <a:solidFill>
                <a:srgbClr val="E6E5E5"/>
              </a:solidFill>
            </c:spPr>
            <c:extLst>
              <c:ext xmlns:c16="http://schemas.microsoft.com/office/drawing/2014/chart" uri="{C3380CC4-5D6E-409C-BE32-E72D297353CC}">
                <c16:uniqueId val="{0000009B-B572-4DF2-A18B-EB5D630E70B4}"/>
              </c:ext>
            </c:extLst>
          </c:dPt>
          <c:dPt>
            <c:idx val="78"/>
            <c:invertIfNegative val="1"/>
            <c:bubble3D val="0"/>
            <c:spPr>
              <a:solidFill>
                <a:srgbClr val="E6E5E5"/>
              </a:solidFill>
            </c:spPr>
            <c:extLst>
              <c:ext xmlns:c16="http://schemas.microsoft.com/office/drawing/2014/chart" uri="{C3380CC4-5D6E-409C-BE32-E72D297353CC}">
                <c16:uniqueId val="{0000009D-B572-4DF2-A18B-EB5D630E70B4}"/>
              </c:ext>
            </c:extLst>
          </c:dPt>
          <c:dPt>
            <c:idx val="79"/>
            <c:invertIfNegative val="1"/>
            <c:bubble3D val="0"/>
            <c:spPr>
              <a:solidFill>
                <a:srgbClr val="E6E5E5"/>
              </a:solidFill>
            </c:spPr>
            <c:extLst>
              <c:ext xmlns:c16="http://schemas.microsoft.com/office/drawing/2014/chart" uri="{C3380CC4-5D6E-409C-BE32-E72D297353CC}">
                <c16:uniqueId val="{0000009F-B572-4DF2-A18B-EB5D630E70B4}"/>
              </c:ext>
            </c:extLst>
          </c:dPt>
          <c:dPt>
            <c:idx val="80"/>
            <c:invertIfNegative val="1"/>
            <c:bubble3D val="0"/>
            <c:spPr>
              <a:solidFill>
                <a:srgbClr val="E6E5E5"/>
              </a:solidFill>
            </c:spPr>
            <c:extLst>
              <c:ext xmlns:c16="http://schemas.microsoft.com/office/drawing/2014/chart" uri="{C3380CC4-5D6E-409C-BE32-E72D297353CC}">
                <c16:uniqueId val="{000000A1-B572-4DF2-A18B-EB5D630E70B4}"/>
              </c:ext>
            </c:extLst>
          </c:dPt>
          <c:dPt>
            <c:idx val="81"/>
            <c:invertIfNegative val="1"/>
            <c:bubble3D val="0"/>
            <c:spPr>
              <a:solidFill>
                <a:srgbClr val="E6E5E5"/>
              </a:solidFill>
            </c:spPr>
            <c:extLst>
              <c:ext xmlns:c16="http://schemas.microsoft.com/office/drawing/2014/chart" uri="{C3380CC4-5D6E-409C-BE32-E72D297353CC}">
                <c16:uniqueId val="{000000A3-B572-4DF2-A18B-EB5D630E70B4}"/>
              </c:ext>
            </c:extLst>
          </c:dPt>
          <c:dPt>
            <c:idx val="82"/>
            <c:invertIfNegative val="1"/>
            <c:bubble3D val="0"/>
            <c:spPr>
              <a:solidFill>
                <a:srgbClr val="E6E5E5"/>
              </a:solidFill>
            </c:spPr>
            <c:extLst>
              <c:ext xmlns:c16="http://schemas.microsoft.com/office/drawing/2014/chart" uri="{C3380CC4-5D6E-409C-BE32-E72D297353CC}">
                <c16:uniqueId val="{000000A5-B572-4DF2-A18B-EB5D630E70B4}"/>
              </c:ext>
            </c:extLst>
          </c:dPt>
          <c:dPt>
            <c:idx val="83"/>
            <c:invertIfNegative val="1"/>
            <c:bubble3D val="0"/>
            <c:spPr>
              <a:solidFill>
                <a:srgbClr val="E6E5E5"/>
              </a:solidFill>
            </c:spPr>
            <c:extLst>
              <c:ext xmlns:c16="http://schemas.microsoft.com/office/drawing/2014/chart" uri="{C3380CC4-5D6E-409C-BE32-E72D297353CC}">
                <c16:uniqueId val="{000000A7-B572-4DF2-A18B-EB5D630E70B4}"/>
              </c:ext>
            </c:extLst>
          </c:dPt>
          <c:dPt>
            <c:idx val="84"/>
            <c:invertIfNegative val="1"/>
            <c:bubble3D val="0"/>
            <c:spPr>
              <a:solidFill>
                <a:srgbClr val="E6E5E5"/>
              </a:solidFill>
            </c:spPr>
            <c:extLst>
              <c:ext xmlns:c16="http://schemas.microsoft.com/office/drawing/2014/chart" uri="{C3380CC4-5D6E-409C-BE32-E72D297353CC}">
                <c16:uniqueId val="{000000A9-B572-4DF2-A18B-EB5D630E70B4}"/>
              </c:ext>
            </c:extLst>
          </c:dPt>
          <c:dPt>
            <c:idx val="85"/>
            <c:invertIfNegative val="1"/>
            <c:bubble3D val="0"/>
            <c:spPr>
              <a:solidFill>
                <a:srgbClr val="E6E5E5"/>
              </a:solidFill>
            </c:spPr>
            <c:extLst>
              <c:ext xmlns:c16="http://schemas.microsoft.com/office/drawing/2014/chart" uri="{C3380CC4-5D6E-409C-BE32-E72D297353CC}">
                <c16:uniqueId val="{000000AB-B572-4DF2-A18B-EB5D630E70B4}"/>
              </c:ext>
            </c:extLst>
          </c:dPt>
          <c:dPt>
            <c:idx val="86"/>
            <c:invertIfNegative val="1"/>
            <c:bubble3D val="0"/>
            <c:spPr>
              <a:solidFill>
                <a:srgbClr val="E6E5E5"/>
              </a:solidFill>
            </c:spPr>
            <c:extLst>
              <c:ext xmlns:c16="http://schemas.microsoft.com/office/drawing/2014/chart" uri="{C3380CC4-5D6E-409C-BE32-E72D297353CC}">
                <c16:uniqueId val="{000000AD-B572-4DF2-A18B-EB5D630E70B4}"/>
              </c:ext>
            </c:extLst>
          </c:dPt>
          <c:dPt>
            <c:idx val="87"/>
            <c:invertIfNegative val="1"/>
            <c:bubble3D val="0"/>
            <c:spPr>
              <a:solidFill>
                <a:srgbClr val="E6E5E5"/>
              </a:solidFill>
            </c:spPr>
            <c:extLst>
              <c:ext xmlns:c16="http://schemas.microsoft.com/office/drawing/2014/chart" uri="{C3380CC4-5D6E-409C-BE32-E72D297353CC}">
                <c16:uniqueId val="{000000AF-B572-4DF2-A18B-EB5D630E70B4}"/>
              </c:ext>
            </c:extLst>
          </c:dPt>
          <c:dPt>
            <c:idx val="88"/>
            <c:invertIfNegative val="1"/>
            <c:bubble3D val="0"/>
            <c:spPr>
              <a:solidFill>
                <a:srgbClr val="E6E5E5"/>
              </a:solidFill>
            </c:spPr>
            <c:extLst>
              <c:ext xmlns:c16="http://schemas.microsoft.com/office/drawing/2014/chart" uri="{C3380CC4-5D6E-409C-BE32-E72D297353CC}">
                <c16:uniqueId val="{000000B1-B572-4DF2-A18B-EB5D630E70B4}"/>
              </c:ext>
            </c:extLst>
          </c:dPt>
          <c:dPt>
            <c:idx val="89"/>
            <c:invertIfNegative val="1"/>
            <c:bubble3D val="0"/>
            <c:spPr>
              <a:solidFill>
                <a:srgbClr val="E6E5E5"/>
              </a:solidFill>
            </c:spPr>
            <c:extLst>
              <c:ext xmlns:c16="http://schemas.microsoft.com/office/drawing/2014/chart" uri="{C3380CC4-5D6E-409C-BE32-E72D297353CC}">
                <c16:uniqueId val="{000000B3-B572-4DF2-A18B-EB5D630E70B4}"/>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A0D8-4FF8-BF2D-A6DC7B178F5A}"/>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A0D8-4FF8-BF2D-A6DC7B178F5A}"/>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A0D8-4FF8-BF2D-A6DC7B178F5A}"/>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A0D8-4FF8-BF2D-A6DC7B178F5A}"/>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A0D8-4FF8-BF2D-A6DC7B178F5A}"/>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A0D8-4FF8-BF2D-A6DC7B178F5A}"/>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A0D8-4FF8-BF2D-A6DC7B178F5A}"/>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A0D8-4FF8-BF2D-A6DC7B178F5A}"/>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A0D8-4FF8-BF2D-A6DC7B178F5A}"/>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A0D8-4FF8-BF2D-A6DC7B178F5A}"/>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A0D8-4FF8-BF2D-A6DC7B178F5A}"/>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A0D8-4FF8-BF2D-A6DC7B178F5A}"/>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A0D8-4FF8-BF2D-A6DC7B178F5A}"/>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A0D8-4FF8-BF2D-A6DC7B178F5A}"/>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A0D8-4FF8-BF2D-A6DC7B178F5A}"/>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A0D8-4FF8-BF2D-A6DC7B178F5A}"/>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A0D8-4FF8-BF2D-A6DC7B178F5A}"/>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A0D8-4FF8-BF2D-A6DC7B178F5A}"/>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A0D8-4FF8-BF2D-A6DC7B178F5A}"/>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A0D8-4FF8-BF2D-A6DC7B178F5A}"/>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A0D8-4FF8-BF2D-A6DC7B178F5A}"/>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A0D8-4FF8-BF2D-A6DC7B178F5A}"/>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A0D8-4FF8-BF2D-A6DC7B178F5A}"/>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A0D8-4FF8-BF2D-A6DC7B178F5A}"/>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A0D8-4FF8-BF2D-A6DC7B178F5A}"/>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A0D8-4FF8-BF2D-A6DC7B178F5A}"/>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A0D8-4FF8-BF2D-A6DC7B178F5A}"/>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A0D8-4FF8-BF2D-A6DC7B178F5A}"/>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A0D8-4FF8-BF2D-A6DC7B178F5A}"/>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A0D8-4FF8-BF2D-A6DC7B178F5A}"/>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A0D8-4FF8-BF2D-A6DC7B178F5A}"/>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A0D8-4FF8-BF2D-A6DC7B178F5A}"/>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A0D8-4FF8-BF2D-A6DC7B178F5A}"/>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A0D8-4FF8-BF2D-A6DC7B178F5A}"/>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A0D8-4FF8-BF2D-A6DC7B178F5A}"/>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A0D8-4FF8-BF2D-A6DC7B178F5A}"/>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A0D8-4FF8-BF2D-A6DC7B178F5A}"/>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A0D8-4FF8-BF2D-A6DC7B178F5A}"/>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A0D8-4FF8-BF2D-A6DC7B178F5A}"/>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A0D8-4FF8-BF2D-A6DC7B178F5A}"/>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A0D8-4FF8-BF2D-A6DC7B178F5A}"/>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A0D8-4FF8-BF2D-A6DC7B178F5A}"/>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A0D8-4FF8-BF2D-A6DC7B178F5A}"/>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A0D8-4FF8-BF2D-A6DC7B178F5A}"/>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A0D8-4FF8-BF2D-A6DC7B178F5A}"/>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A0D8-4FF8-BF2D-A6DC7B178F5A}"/>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A0D8-4FF8-BF2D-A6DC7B178F5A}"/>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A0D8-4FF8-BF2D-A6DC7B178F5A}"/>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A0D8-4FF8-BF2D-A6DC7B178F5A}"/>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A0D8-4FF8-BF2D-A6DC7B178F5A}"/>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A0D8-4FF8-BF2D-A6DC7B178F5A}"/>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A0D8-4FF8-BF2D-A6DC7B178F5A}"/>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A0D8-4FF8-BF2D-A6DC7B178F5A}"/>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B572-4DF2-A18B-EB5D630E70B4}"/>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B572-4DF2-A18B-EB5D630E70B4}"/>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B572-4DF2-A18B-EB5D630E70B4}"/>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B572-4DF2-A18B-EB5D630E70B4}"/>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B572-4DF2-A18B-EB5D630E70B4}"/>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B572-4DF2-A18B-EB5D630E70B4}"/>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B572-4DF2-A18B-EB5D630E70B4}"/>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B572-4DF2-A18B-EB5D630E70B4}"/>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B572-4DF2-A18B-EB5D630E70B4}"/>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B572-4DF2-A18B-EB5D630E70B4}"/>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B572-4DF2-A18B-EB5D630E70B4}"/>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B572-4DF2-A18B-EB5D630E70B4}"/>
                </c:ext>
              </c:extLst>
            </c:dLbl>
            <c:dLbl>
              <c:idx val="6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B572-4DF2-A18B-EB5D630E70B4}"/>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B572-4DF2-A18B-EB5D630E70B4}"/>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B572-4DF2-A18B-EB5D630E70B4}"/>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B572-4DF2-A18B-EB5D630E70B4}"/>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B572-4DF2-A18B-EB5D630E70B4}"/>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B572-4DF2-A18B-EB5D630E70B4}"/>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B572-4DF2-A18B-EB5D630E70B4}"/>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B572-4DF2-A18B-EB5D630E70B4}"/>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B572-4DF2-A18B-EB5D630E70B4}"/>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B572-4DF2-A18B-EB5D630E70B4}"/>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B572-4DF2-A18B-EB5D630E70B4}"/>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B572-4DF2-A18B-EB5D630E70B4}"/>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B572-4DF2-A18B-EB5D630E70B4}"/>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B572-4DF2-A18B-EB5D630E70B4}"/>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B572-4DF2-A18B-EB5D630E70B4}"/>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B572-4DF2-A18B-EB5D630E70B4}"/>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B572-4DF2-A18B-EB5D630E70B4}"/>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B572-4DF2-A18B-EB5D630E70B4}"/>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B572-4DF2-A18B-EB5D630E70B4}"/>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B572-4DF2-A18B-EB5D630E70B4}"/>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B572-4DF2-A18B-EB5D630E70B4}"/>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B572-4DF2-A18B-EB5D630E70B4}"/>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B572-4DF2-A18B-EB5D630E70B4}"/>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B572-4DF2-A18B-EB5D630E70B4}"/>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9</c:f>
              <c:strCache>
                <c:ptCount val="78"/>
                <c:pt idx="0">
                  <c:v>Galaxy Jewels 1.4kg</c:v>
                </c:pt>
                <c:pt idx="1">
                  <c:v>Ferrero Rocher 300g</c:v>
                </c:pt>
                <c:pt idx="2">
                  <c:v>Galaxy Smooth Milk Chocolate 36g x 24</c:v>
                </c:pt>
                <c:pt idx="3">
                  <c:v>Galaxy Jewels 900g</c:v>
                </c:pt>
                <c:pt idx="4">
                  <c:v>Galaxy Jewels 650g</c:v>
                </c:pt>
                <c:pt idx="5">
                  <c:v>Cadbury Dairy Milk Minis Selection 500g</c:v>
                </c:pt>
                <c:pt idx="6">
                  <c:v>Kit Kat 17.7g x 18</c:v>
                </c:pt>
                <c:pt idx="7">
                  <c:v>Kinder Bueno Milk&amp;Hazelnut 43g</c:v>
                </c:pt>
                <c:pt idx="8">
                  <c:v>Tiffany Break Supa 38gx12</c:v>
                </c:pt>
                <c:pt idx="9">
                  <c:v>Snickers 50gx6</c:v>
                </c:pt>
                <c:pt idx="10">
                  <c:v>Tiffany Break 24x15.5g</c:v>
                </c:pt>
                <c:pt idx="11">
                  <c:v>Tiffany Break Mini Fun 384g</c:v>
                </c:pt>
                <c:pt idx="12">
                  <c:v>Kinder Bueno Milk&amp;Hazelnut 43gx10</c:v>
                </c:pt>
                <c:pt idx="13">
                  <c:v>Mackintosh Quality Street Chocolate 600g</c:v>
                </c:pt>
                <c:pt idx="14">
                  <c:v>Snickers Bar 50g</c:v>
                </c:pt>
                <c:pt idx="15">
                  <c:v>Maltesers Chocolate 175g</c:v>
                </c:pt>
                <c:pt idx="16">
                  <c:v>Tiffany Break 31gx12</c:v>
                </c:pt>
                <c:pt idx="17">
                  <c:v>Tiffany Break Delight 25gx12</c:v>
                </c:pt>
                <c:pt idx="18">
                  <c:v>Snickers Minis Bag 252g</c:v>
                </c:pt>
                <c:pt idx="19">
                  <c:v>Cadbury Miniatures Box 400g</c:v>
                </c:pt>
                <c:pt idx="20">
                  <c:v>Bounty Bar 57g</c:v>
                </c:pt>
                <c:pt idx="21">
                  <c:v>Galaxy Smooth Milk Minis 237.5g</c:v>
                </c:pt>
                <c:pt idx="22">
                  <c:v>Bounty Bar 57g x 5</c:v>
                </c:pt>
                <c:pt idx="23">
                  <c:v>Ferrero Rocher 200g</c:v>
                </c:pt>
                <c:pt idx="24">
                  <c:v>Kinder Maxi Chocolate 21gx11 (10+1)</c:v>
                </c:pt>
                <c:pt idx="25">
                  <c:v>Ferrero Raffaello 150g box </c:v>
                </c:pt>
                <c:pt idx="26">
                  <c:v>Galaxy Hazelnut Minis 237.5g</c:v>
                </c:pt>
                <c:pt idx="27">
                  <c:v>Twix 50gx5</c:v>
                </c:pt>
                <c:pt idx="28">
                  <c:v>Twix Bar 50g</c:v>
                </c:pt>
                <c:pt idx="29">
                  <c:v>Maltesers Chocolate 37g</c:v>
                </c:pt>
                <c:pt idx="30">
                  <c:v>Snickers Miniatures 150g</c:v>
                </c:pt>
                <c:pt idx="31">
                  <c:v>Cadbury Flake Minis Bag 159.5g</c:v>
                </c:pt>
                <c:pt idx="32">
                  <c:v>M&amp;M's Peanut 165g</c:v>
                </c:pt>
                <c:pt idx="33">
                  <c:v>Twix Miniatures 150g</c:v>
                </c:pt>
                <c:pt idx="34">
                  <c:v>Cadbury Timeout Minis Wafer 247.2g</c:v>
                </c:pt>
                <c:pt idx="35">
                  <c:v>Toblerone Milk Chocolate 200g</c:v>
                </c:pt>
                <c:pt idx="36">
                  <c:v>Galaxy Smooth Milk Minis 162.5g</c:v>
                </c:pt>
                <c:pt idx="37">
                  <c:v>Mars 45g x 6</c:v>
                </c:pt>
                <c:pt idx="38">
                  <c:v>Bounty Miniatures 150g</c:v>
                </c:pt>
                <c:pt idx="39">
                  <c:v>Kinder Chocolate Bar 8x12.5g</c:v>
                </c:pt>
                <c:pt idx="40">
                  <c:v>Galaxy Smooth Dark Chocolate 40g</c:v>
                </c:pt>
                <c:pt idx="41">
                  <c:v>Mars Bar 51g </c:v>
                </c:pt>
                <c:pt idx="42">
                  <c:v>Hershey's Kisses Special Selection Assorted 325g</c:v>
                </c:pt>
                <c:pt idx="43">
                  <c:v>Galaxy Hazelnut Chocolate 36g</c:v>
                </c:pt>
                <c:pt idx="44">
                  <c:v>Galaxy Smooth Milk Chocolate 36g</c:v>
                </c:pt>
                <c:pt idx="45">
                  <c:v>Galaxy Caramel Bar 40g</c:v>
                </c:pt>
                <c:pt idx="46">
                  <c:v>Kinder Chocolate Bar 50g</c:v>
                </c:pt>
                <c:pt idx="47">
                  <c:v>Kinder Bueno White 39g</c:v>
                </c:pt>
                <c:pt idx="48">
                  <c:v>Hershey's Kisses Classic Selection Assorted 325g</c:v>
                </c:pt>
                <c:pt idx="49">
                  <c:v>Galaxy Crispy Milk Chocolate 36g</c:v>
                </c:pt>
                <c:pt idx="50">
                  <c:v> Reeses Peanut Butter Cup Mini 340g </c:v>
                </c:pt>
                <c:pt idx="51">
                  <c:v>Kit Kat 17.7g</c:v>
                </c:pt>
                <c:pt idx="52">
                  <c:v> Reeses Peanut Butter Cup 42g x 6</c:v>
                </c:pt>
                <c:pt idx="53">
                  <c:v>Reeses Peanut Butter Cups 46g</c:v>
                </c:pt>
                <c:pt idx="54">
                  <c:v>Reeses Peanut Butter Cup Mini 215g</c:v>
                </c:pt>
                <c:pt idx="55">
                  <c:v>M&amp;M's Milk Chocolate 30.6g</c:v>
                </c:pt>
                <c:pt idx="56">
                  <c:v>Godiva Double Chocolate Bar 35g</c:v>
                </c:pt>
                <c:pt idx="57">
                  <c:v>Hershey's Cookies 'n Creme 40Gx 4</c:v>
                </c:pt>
                <c:pt idx="58">
                  <c:v>Galaxy Smooth Milk Chocolate 80g</c:v>
                </c:pt>
                <c:pt idx="59">
                  <c:v>Galaxy Ripple Bar 33g</c:v>
                </c:pt>
                <c:pt idx="60">
                  <c:v>Hershey's Chocobites Cookies 'n Creme 90g</c:v>
                </c:pt>
                <c:pt idx="61">
                  <c:v>Hershey's Kisses Special Selection Assorted 100g</c:v>
                </c:pt>
                <c:pt idx="62">
                  <c:v>Hershey's Chocobites Salted Caramel 81g</c:v>
                </c:pt>
                <c:pt idx="63">
                  <c:v>Hershey's Cookies N' Chocolate 40g</c:v>
                </c:pt>
                <c:pt idx="64">
                  <c:v>Reeses Block 90g</c:v>
                </c:pt>
                <c:pt idx="65">
                  <c:v>Reeses Nut Bar 47g</c:v>
                </c:pt>
                <c:pt idx="66">
                  <c:v>Hershey's Kisses Classic Selection Assorted 100g</c:v>
                </c:pt>
                <c:pt idx="67">
                  <c:v>Hershey's Cookies N' Crème 12.76g</c:v>
                </c:pt>
                <c:pt idx="68">
                  <c:v> Reeses Wafer Sticks 42g</c:v>
                </c:pt>
                <c:pt idx="69">
                  <c:v>Hershey's Choco Tubes Cookies N' Creme 18g</c:v>
                </c:pt>
                <c:pt idx="70">
                  <c:v>Reeses Pieces 180g</c:v>
                </c:pt>
                <c:pt idx="71">
                  <c:v>Reeses Mini King Size 71g</c:v>
                </c:pt>
                <c:pt idx="72">
                  <c:v>Hershey's Cookies 'n Creme Creations Salted Caramel 38g</c:v>
                </c:pt>
                <c:pt idx="73">
                  <c:v>Hershey's Cookies 'n Creme Block 90g</c:v>
                </c:pt>
                <c:pt idx="74">
                  <c:v> Reeses Peanut Butter Cup Mini 500G</c:v>
                </c:pt>
                <c:pt idx="75">
                  <c:v>Hersheys Kisses Classic Selection Assorted 600G</c:v>
                </c:pt>
                <c:pt idx="76">
                  <c:v>Hershey's Variety Pack 40Gx3</c:v>
                </c:pt>
                <c:pt idx="77">
                  <c:v>Reeses Fast break 51g</c:v>
                </c:pt>
              </c:strCache>
            </c:strRef>
          </c:cat>
          <c:val>
            <c:numRef>
              <c:f>Sheet1!$B$2:$B$79</c:f>
              <c:numCache>
                <c:formatCode>General</c:formatCode>
                <c:ptCount val="78"/>
                <c:pt idx="0">
                  <c:v>8.7043629382212662E-2</c:v>
                </c:pt>
                <c:pt idx="1">
                  <c:v>5.7448254219214227E-2</c:v>
                </c:pt>
                <c:pt idx="2">
                  <c:v>5.2318988778503661E-2</c:v>
                </c:pt>
                <c:pt idx="3">
                  <c:v>5.2256472326913307E-2</c:v>
                </c:pt>
                <c:pt idx="4">
                  <c:v>4.8584225656166963E-2</c:v>
                </c:pt>
                <c:pt idx="5">
                  <c:v>3.9680743757639463E-2</c:v>
                </c:pt>
                <c:pt idx="6">
                  <c:v>2.9190658329038801E-2</c:v>
                </c:pt>
                <c:pt idx="7">
                  <c:v>2.7681917689682881E-2</c:v>
                </c:pt>
                <c:pt idx="8">
                  <c:v>2.513899586928656E-2</c:v>
                </c:pt>
                <c:pt idx="9">
                  <c:v>2.4890536077445059E-2</c:v>
                </c:pt>
                <c:pt idx="10">
                  <c:v>2.4344382000445201E-2</c:v>
                </c:pt>
                <c:pt idx="11">
                  <c:v>2.4239521796033451E-2</c:v>
                </c:pt>
                <c:pt idx="12">
                  <c:v>2.25895581009995E-2</c:v>
                </c:pt>
                <c:pt idx="13">
                  <c:v>2.2261008252674359E-2</c:v>
                </c:pt>
                <c:pt idx="14">
                  <c:v>2.1303629133662901E-2</c:v>
                </c:pt>
                <c:pt idx="15">
                  <c:v>2.0930028427272349E-2</c:v>
                </c:pt>
                <c:pt idx="16">
                  <c:v>2.0722378953069099E-2</c:v>
                </c:pt>
                <c:pt idx="17">
                  <c:v>1.79402528779639E-2</c:v>
                </c:pt>
                <c:pt idx="18">
                  <c:v>1.6768501477137959E-2</c:v>
                </c:pt>
                <c:pt idx="19">
                  <c:v>1.5907968576700571E-2</c:v>
                </c:pt>
                <c:pt idx="20">
                  <c:v>1.5132426772325959E-2</c:v>
                </c:pt>
                <c:pt idx="21">
                  <c:v>1.457716780008899E-2</c:v>
                </c:pt>
                <c:pt idx="22">
                  <c:v>1.428979902205051E-2</c:v>
                </c:pt>
                <c:pt idx="23">
                  <c:v>1.4260023753352421E-2</c:v>
                </c:pt>
                <c:pt idx="24">
                  <c:v>1.4242653495047679E-2</c:v>
                </c:pt>
                <c:pt idx="25">
                  <c:v>1.4009948484647721E-2</c:v>
                </c:pt>
                <c:pt idx="26">
                  <c:v>1.327189776630075E-2</c:v>
                </c:pt>
                <c:pt idx="27">
                  <c:v>1.277080676064834E-2</c:v>
                </c:pt>
                <c:pt idx="28">
                  <c:v>1.154686376230785E-2</c:v>
                </c:pt>
                <c:pt idx="29">
                  <c:v>1.1356802272850099E-2</c:v>
                </c:pt>
                <c:pt idx="30">
                  <c:v>1.083713462610989E-2</c:v>
                </c:pt>
                <c:pt idx="31">
                  <c:v>1.0457247446923411E-2</c:v>
                </c:pt>
                <c:pt idx="32">
                  <c:v>1.0406169475892761E-2</c:v>
                </c:pt>
                <c:pt idx="33">
                  <c:v>1.019402791157778E-2</c:v>
                </c:pt>
                <c:pt idx="34">
                  <c:v>9.9678416198208646E-3</c:v>
                </c:pt>
                <c:pt idx="35">
                  <c:v>9.6601873747323187E-3</c:v>
                </c:pt>
                <c:pt idx="36">
                  <c:v>9.3903672027461412E-3</c:v>
                </c:pt>
                <c:pt idx="37">
                  <c:v>8.0659148911814693E-3</c:v>
                </c:pt>
                <c:pt idx="38">
                  <c:v>7.5338492821987197E-3</c:v>
                </c:pt>
                <c:pt idx="39">
                  <c:v>7.4340972771401804E-3</c:v>
                </c:pt>
                <c:pt idx="40">
                  <c:v>7.2228964784393666E-3</c:v>
                </c:pt>
                <c:pt idx="41">
                  <c:v>7.1647097013926584E-3</c:v>
                </c:pt>
                <c:pt idx="42">
                  <c:v>6.7417978009267987E-3</c:v>
                </c:pt>
                <c:pt idx="43">
                  <c:v>6.6461212904450192E-3</c:v>
                </c:pt>
                <c:pt idx="44">
                  <c:v>6.5873687630741886E-3</c:v>
                </c:pt>
                <c:pt idx="45">
                  <c:v>6.1105982334485687E-3</c:v>
                </c:pt>
                <c:pt idx="46">
                  <c:v>5.442700859727416E-3</c:v>
                </c:pt>
                <c:pt idx="47">
                  <c:v>5.4377176631436683E-3</c:v>
                </c:pt>
                <c:pt idx="48">
                  <c:v>5.0533333079540556E-3</c:v>
                </c:pt>
                <c:pt idx="49">
                  <c:v>4.8781338061636894E-3</c:v>
                </c:pt>
                <c:pt idx="50">
                  <c:v>4.8118320644420761E-3</c:v>
                </c:pt>
                <c:pt idx="51">
                  <c:v>4.754758877646573E-3</c:v>
                </c:pt>
                <c:pt idx="52">
                  <c:v>4.6018435860742616E-3</c:v>
                </c:pt>
                <c:pt idx="53">
                  <c:v>4.5036988919860462E-3</c:v>
                </c:pt>
                <c:pt idx="54">
                  <c:v>4.3867982266635082E-3</c:v>
                </c:pt>
                <c:pt idx="55">
                  <c:v>4.0218340674676974E-3</c:v>
                </c:pt>
                <c:pt idx="56">
                  <c:v>3.9201710183767091E-3</c:v>
                </c:pt>
                <c:pt idx="57">
                  <c:v>3.7061900184166409E-3</c:v>
                </c:pt>
                <c:pt idx="58">
                  <c:v>3.4958916104209938E-3</c:v>
                </c:pt>
                <c:pt idx="59">
                  <c:v>3.3190896613840659E-3</c:v>
                </c:pt>
                <c:pt idx="60">
                  <c:v>2.6956154020616259E-3</c:v>
                </c:pt>
                <c:pt idx="61">
                  <c:v>2.53527750664386E-3</c:v>
                </c:pt>
                <c:pt idx="62">
                  <c:v>2.4278900283566068E-3</c:v>
                </c:pt>
                <c:pt idx="63">
                  <c:v>2.425599799364974E-3</c:v>
                </c:pt>
                <c:pt idx="64">
                  <c:v>2.1535528869782322E-3</c:v>
                </c:pt>
                <c:pt idx="65">
                  <c:v>1.655361952609545E-3</c:v>
                </c:pt>
                <c:pt idx="66">
                  <c:v>1.5256000407128469E-3</c:v>
                </c:pt>
                <c:pt idx="67">
                  <c:v>7.824108492337985E-4</c:v>
                </c:pt>
                <c:pt idx="68">
                  <c:v>2.7146164527440977E-4</c:v>
                </c:pt>
                <c:pt idx="69">
                  <c:v>7.2865281163403636E-5</c:v>
                </c:pt>
                <c:pt idx="70">
                  <c:v>0</c:v>
                </c:pt>
                <c:pt idx="71">
                  <c:v>0</c:v>
                </c:pt>
                <c:pt idx="72">
                  <c:v>0</c:v>
                </c:pt>
                <c:pt idx="73">
                  <c:v>0</c:v>
                </c:pt>
                <c:pt idx="74">
                  <c:v>0</c:v>
                </c:pt>
                <c:pt idx="75">
                  <c:v>0</c:v>
                </c:pt>
                <c:pt idx="76">
                  <c:v>0</c:v>
                </c:pt>
                <c:pt idx="77">
                  <c:v>0</c:v>
                </c:pt>
              </c:numCache>
            </c:numRef>
          </c:val>
          <c:extLst>
            <c:ext xmlns:c16="http://schemas.microsoft.com/office/drawing/2014/chart" uri="{C3380CC4-5D6E-409C-BE32-E72D297353CC}">
              <c16:uniqueId val="{0000003F-A0D8-4FF8-BF2D-A6DC7B178F5A}"/>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ershey's Cookies 'n Creme 40Gx 4</c:v>
                </c:pt>
              </c:strCache>
            </c:strRef>
          </c:tx>
          <c:spPr>
            <a:solidFill>
              <a:schemeClr val="bg2"/>
            </a:solidFill>
            <a:ln>
              <a:noFill/>
            </a:ln>
            <a:effectLst/>
          </c:spPr>
          <c:invertIfNegative val="0"/>
          <c:dPt>
            <c:idx val="0"/>
            <c:invertIfNegative val="1"/>
            <c:bubble3D val="0"/>
            <c:spPr>
              <a:solidFill>
                <a:srgbClr val="E6E5E5"/>
              </a:solidFill>
            </c:spPr>
            <c:extLst>
              <c:ext xmlns:c16="http://schemas.microsoft.com/office/drawing/2014/chart" uri="{C3380CC4-5D6E-409C-BE32-E72D297353CC}">
                <c16:uniqueId val="{00000001-B304-48C7-A242-C92C3BEFF2A4}"/>
              </c:ext>
            </c:extLst>
          </c:dPt>
          <c:dPt>
            <c:idx val="1"/>
            <c:invertIfNegative val="0"/>
            <c:bubble3D val="0"/>
            <c:spPr>
              <a:solidFill>
                <a:srgbClr val="E6E5E5"/>
              </a:solidFill>
              <a:ln>
                <a:noFill/>
              </a:ln>
              <a:effectLst/>
            </c:spPr>
            <c:extLst>
              <c:ext xmlns:c16="http://schemas.microsoft.com/office/drawing/2014/chart" uri="{C3380CC4-5D6E-409C-BE32-E72D297353CC}">
                <c16:uniqueId val="{00000003-B304-48C7-A242-C92C3BEFF2A4}"/>
              </c:ext>
            </c:extLst>
          </c:dPt>
          <c:dPt>
            <c:idx val="2"/>
            <c:invertIfNegative val="1"/>
            <c:bubble3D val="0"/>
            <c:spPr>
              <a:solidFill>
                <a:srgbClr val="E6E5E5"/>
              </a:solidFill>
            </c:spPr>
            <c:extLst>
              <c:ext xmlns:c16="http://schemas.microsoft.com/office/drawing/2014/chart" uri="{C3380CC4-5D6E-409C-BE32-E72D297353CC}">
                <c16:uniqueId val="{00000005-B304-48C7-A242-C92C3BEFF2A4}"/>
              </c:ext>
            </c:extLst>
          </c:dPt>
          <c:dPt>
            <c:idx val="3"/>
            <c:invertIfNegative val="1"/>
            <c:bubble3D val="0"/>
            <c:spPr>
              <a:solidFill>
                <a:srgbClr val="E6E5E5"/>
              </a:solidFill>
            </c:spPr>
            <c:extLst>
              <c:ext xmlns:c16="http://schemas.microsoft.com/office/drawing/2014/chart" uri="{C3380CC4-5D6E-409C-BE32-E72D297353CC}">
                <c16:uniqueId val="{00000007-B304-48C7-A242-C92C3BEFF2A4}"/>
              </c:ext>
            </c:extLst>
          </c:dPt>
          <c:dPt>
            <c:idx val="4"/>
            <c:invertIfNegative val="1"/>
            <c:bubble3D val="0"/>
            <c:spPr>
              <a:solidFill>
                <a:srgbClr val="E6E5E5"/>
              </a:solidFill>
            </c:spPr>
            <c:extLst>
              <c:ext xmlns:c16="http://schemas.microsoft.com/office/drawing/2014/chart" uri="{C3380CC4-5D6E-409C-BE32-E72D297353CC}">
                <c16:uniqueId val="{00000009-B304-48C7-A242-C92C3BEFF2A4}"/>
              </c:ext>
            </c:extLst>
          </c:dPt>
          <c:dPt>
            <c:idx val="5"/>
            <c:invertIfNegative val="1"/>
            <c:bubble3D val="0"/>
            <c:spPr>
              <a:solidFill>
                <a:srgbClr val="E6E5E5"/>
              </a:solidFill>
            </c:spPr>
            <c:extLst>
              <c:ext xmlns:c16="http://schemas.microsoft.com/office/drawing/2014/chart" uri="{C3380CC4-5D6E-409C-BE32-E72D297353CC}">
                <c16:uniqueId val="{0000000B-B304-48C7-A242-C92C3BEFF2A4}"/>
              </c:ext>
            </c:extLst>
          </c:dPt>
          <c:dPt>
            <c:idx val="6"/>
            <c:invertIfNegative val="1"/>
            <c:bubble3D val="0"/>
            <c:spPr>
              <a:solidFill>
                <a:srgbClr val="E6E5E5"/>
              </a:solidFill>
            </c:spPr>
            <c:extLst>
              <c:ext xmlns:c16="http://schemas.microsoft.com/office/drawing/2014/chart" uri="{C3380CC4-5D6E-409C-BE32-E72D297353CC}">
                <c16:uniqueId val="{0000000D-B304-48C7-A242-C92C3BEFF2A4}"/>
              </c:ext>
            </c:extLst>
          </c:dPt>
          <c:dPt>
            <c:idx val="7"/>
            <c:invertIfNegative val="1"/>
            <c:bubble3D val="0"/>
            <c:spPr>
              <a:solidFill>
                <a:srgbClr val="E6E5E5"/>
              </a:solidFill>
            </c:spPr>
            <c:extLst>
              <c:ext xmlns:c16="http://schemas.microsoft.com/office/drawing/2014/chart" uri="{C3380CC4-5D6E-409C-BE32-E72D297353CC}">
                <c16:uniqueId val="{0000000F-B304-48C7-A242-C92C3BEFF2A4}"/>
              </c:ext>
            </c:extLst>
          </c:dPt>
          <c:dPt>
            <c:idx val="8"/>
            <c:invertIfNegative val="1"/>
            <c:bubble3D val="0"/>
            <c:spPr>
              <a:solidFill>
                <a:srgbClr val="E6E5E5"/>
              </a:solidFill>
            </c:spPr>
            <c:extLst>
              <c:ext xmlns:c16="http://schemas.microsoft.com/office/drawing/2014/chart" uri="{C3380CC4-5D6E-409C-BE32-E72D297353CC}">
                <c16:uniqueId val="{00000011-B304-48C7-A242-C92C3BEFF2A4}"/>
              </c:ext>
            </c:extLst>
          </c:dPt>
          <c:dPt>
            <c:idx val="9"/>
            <c:invertIfNegative val="1"/>
            <c:bubble3D val="0"/>
            <c:spPr>
              <a:solidFill>
                <a:srgbClr val="E6E5E5"/>
              </a:solidFill>
            </c:spPr>
            <c:extLst>
              <c:ext xmlns:c16="http://schemas.microsoft.com/office/drawing/2014/chart" uri="{C3380CC4-5D6E-409C-BE32-E72D297353CC}">
                <c16:uniqueId val="{00000013-B304-48C7-A242-C92C3BEFF2A4}"/>
              </c:ext>
            </c:extLst>
          </c:dPt>
          <c:dPt>
            <c:idx val="10"/>
            <c:invertIfNegative val="1"/>
            <c:bubble3D val="0"/>
            <c:spPr>
              <a:solidFill>
                <a:srgbClr val="E6E5E5"/>
              </a:solidFill>
            </c:spPr>
            <c:extLst>
              <c:ext xmlns:c16="http://schemas.microsoft.com/office/drawing/2014/chart" uri="{C3380CC4-5D6E-409C-BE32-E72D297353CC}">
                <c16:uniqueId val="{00000015-B304-48C7-A242-C92C3BEFF2A4}"/>
              </c:ext>
            </c:extLst>
          </c:dPt>
          <c:dPt>
            <c:idx val="11"/>
            <c:invertIfNegative val="0"/>
            <c:bubble3D val="0"/>
            <c:spPr>
              <a:solidFill>
                <a:srgbClr val="E6E5E5"/>
              </a:solidFill>
              <a:ln>
                <a:noFill/>
              </a:ln>
              <a:effectLst/>
            </c:spPr>
            <c:extLst>
              <c:ext xmlns:c16="http://schemas.microsoft.com/office/drawing/2014/chart" uri="{C3380CC4-5D6E-409C-BE32-E72D297353CC}">
                <c16:uniqueId val="{00000017-B304-48C7-A242-C92C3BEFF2A4}"/>
              </c:ext>
            </c:extLst>
          </c:dPt>
          <c:dPt>
            <c:idx val="12"/>
            <c:invertIfNegative val="1"/>
            <c:bubble3D val="0"/>
            <c:spPr>
              <a:solidFill>
                <a:srgbClr val="E6E5E5"/>
              </a:solidFill>
            </c:spPr>
            <c:extLst>
              <c:ext xmlns:c16="http://schemas.microsoft.com/office/drawing/2014/chart" uri="{C3380CC4-5D6E-409C-BE32-E72D297353CC}">
                <c16:uniqueId val="{00000019-B304-48C7-A242-C92C3BEFF2A4}"/>
              </c:ext>
            </c:extLst>
          </c:dPt>
          <c:dPt>
            <c:idx val="13"/>
            <c:invertIfNegative val="1"/>
            <c:bubble3D val="0"/>
            <c:spPr>
              <a:solidFill>
                <a:srgbClr val="E6E5E5"/>
              </a:solidFill>
            </c:spPr>
            <c:extLst>
              <c:ext xmlns:c16="http://schemas.microsoft.com/office/drawing/2014/chart" uri="{C3380CC4-5D6E-409C-BE32-E72D297353CC}">
                <c16:uniqueId val="{0000001B-B304-48C7-A242-C92C3BEFF2A4}"/>
              </c:ext>
            </c:extLst>
          </c:dPt>
          <c:dPt>
            <c:idx val="14"/>
            <c:invertIfNegative val="1"/>
            <c:bubble3D val="0"/>
            <c:spPr>
              <a:solidFill>
                <a:srgbClr val="E6E5E5"/>
              </a:solidFill>
            </c:spPr>
            <c:extLst>
              <c:ext xmlns:c16="http://schemas.microsoft.com/office/drawing/2014/chart" uri="{C3380CC4-5D6E-409C-BE32-E72D297353CC}">
                <c16:uniqueId val="{0000001D-B304-48C7-A242-C92C3BEFF2A4}"/>
              </c:ext>
            </c:extLst>
          </c:dPt>
          <c:dPt>
            <c:idx val="15"/>
            <c:invertIfNegative val="1"/>
            <c:bubble3D val="0"/>
            <c:spPr>
              <a:solidFill>
                <a:srgbClr val="E6E5E5"/>
              </a:solidFill>
            </c:spPr>
            <c:extLst>
              <c:ext xmlns:c16="http://schemas.microsoft.com/office/drawing/2014/chart" uri="{C3380CC4-5D6E-409C-BE32-E72D297353CC}">
                <c16:uniqueId val="{0000001F-B304-48C7-A242-C92C3BEFF2A4}"/>
              </c:ext>
            </c:extLst>
          </c:dPt>
          <c:dPt>
            <c:idx val="16"/>
            <c:invertIfNegative val="1"/>
            <c:bubble3D val="0"/>
            <c:spPr>
              <a:solidFill>
                <a:srgbClr val="E6E5E5"/>
              </a:solidFill>
            </c:spPr>
            <c:extLst>
              <c:ext xmlns:c16="http://schemas.microsoft.com/office/drawing/2014/chart" uri="{C3380CC4-5D6E-409C-BE32-E72D297353CC}">
                <c16:uniqueId val="{00000021-B304-48C7-A242-C92C3BEFF2A4}"/>
              </c:ext>
            </c:extLst>
          </c:dPt>
          <c:dPt>
            <c:idx val="17"/>
            <c:invertIfNegative val="1"/>
            <c:bubble3D val="0"/>
            <c:spPr>
              <a:solidFill>
                <a:srgbClr val="E6E5E5"/>
              </a:solidFill>
            </c:spPr>
            <c:extLst>
              <c:ext xmlns:c16="http://schemas.microsoft.com/office/drawing/2014/chart" uri="{C3380CC4-5D6E-409C-BE32-E72D297353CC}">
                <c16:uniqueId val="{00000023-B304-48C7-A242-C92C3BEFF2A4}"/>
              </c:ext>
            </c:extLst>
          </c:dPt>
          <c:dPt>
            <c:idx val="18"/>
            <c:invertIfNegative val="1"/>
            <c:bubble3D val="0"/>
            <c:spPr>
              <a:solidFill>
                <a:srgbClr val="E6E5E5"/>
              </a:solidFill>
            </c:spPr>
            <c:extLst>
              <c:ext xmlns:c16="http://schemas.microsoft.com/office/drawing/2014/chart" uri="{C3380CC4-5D6E-409C-BE32-E72D297353CC}">
                <c16:uniqueId val="{00000025-B304-48C7-A242-C92C3BEFF2A4}"/>
              </c:ext>
            </c:extLst>
          </c:dPt>
          <c:dPt>
            <c:idx val="19"/>
            <c:invertIfNegative val="1"/>
            <c:bubble3D val="0"/>
            <c:spPr>
              <a:solidFill>
                <a:srgbClr val="E6E5E5"/>
              </a:solidFill>
            </c:spPr>
            <c:extLst>
              <c:ext xmlns:c16="http://schemas.microsoft.com/office/drawing/2014/chart" uri="{C3380CC4-5D6E-409C-BE32-E72D297353CC}">
                <c16:uniqueId val="{00000027-B304-48C7-A242-C92C3BEFF2A4}"/>
              </c:ext>
            </c:extLst>
          </c:dPt>
          <c:dPt>
            <c:idx val="20"/>
            <c:invertIfNegative val="1"/>
            <c:bubble3D val="0"/>
            <c:spPr>
              <a:solidFill>
                <a:srgbClr val="E6E5E5"/>
              </a:solidFill>
            </c:spPr>
            <c:extLst>
              <c:ext xmlns:c16="http://schemas.microsoft.com/office/drawing/2014/chart" uri="{C3380CC4-5D6E-409C-BE32-E72D297353CC}">
                <c16:uniqueId val="{00000029-B304-48C7-A242-C92C3BEFF2A4}"/>
              </c:ext>
            </c:extLst>
          </c:dPt>
          <c:dPt>
            <c:idx val="21"/>
            <c:invertIfNegative val="1"/>
            <c:bubble3D val="0"/>
            <c:spPr>
              <a:solidFill>
                <a:srgbClr val="E6E5E5"/>
              </a:solidFill>
            </c:spPr>
            <c:extLst>
              <c:ext xmlns:c16="http://schemas.microsoft.com/office/drawing/2014/chart" uri="{C3380CC4-5D6E-409C-BE32-E72D297353CC}">
                <c16:uniqueId val="{0000002B-B304-48C7-A242-C92C3BEFF2A4}"/>
              </c:ext>
            </c:extLst>
          </c:dPt>
          <c:dPt>
            <c:idx val="22"/>
            <c:invertIfNegative val="1"/>
            <c:bubble3D val="0"/>
            <c:spPr>
              <a:solidFill>
                <a:srgbClr val="E6E5E5"/>
              </a:solidFill>
            </c:spPr>
            <c:extLst>
              <c:ext xmlns:c16="http://schemas.microsoft.com/office/drawing/2014/chart" uri="{C3380CC4-5D6E-409C-BE32-E72D297353CC}">
                <c16:uniqueId val="{0000002D-B304-48C7-A242-C92C3BEFF2A4}"/>
              </c:ext>
            </c:extLst>
          </c:dPt>
          <c:dPt>
            <c:idx val="23"/>
            <c:invertIfNegative val="1"/>
            <c:bubble3D val="0"/>
            <c:spPr>
              <a:solidFill>
                <a:srgbClr val="E6E5E5"/>
              </a:solidFill>
            </c:spPr>
            <c:extLst>
              <c:ext xmlns:c16="http://schemas.microsoft.com/office/drawing/2014/chart" uri="{C3380CC4-5D6E-409C-BE32-E72D297353CC}">
                <c16:uniqueId val="{0000002F-B304-48C7-A242-C92C3BEFF2A4}"/>
              </c:ext>
            </c:extLst>
          </c:dPt>
          <c:dPt>
            <c:idx val="24"/>
            <c:invertIfNegative val="1"/>
            <c:bubble3D val="0"/>
            <c:spPr>
              <a:solidFill>
                <a:srgbClr val="E6E5E5"/>
              </a:solidFill>
            </c:spPr>
            <c:extLst>
              <c:ext xmlns:c16="http://schemas.microsoft.com/office/drawing/2014/chart" uri="{C3380CC4-5D6E-409C-BE32-E72D297353CC}">
                <c16:uniqueId val="{00000031-B304-48C7-A242-C92C3BEFF2A4}"/>
              </c:ext>
            </c:extLst>
          </c:dPt>
          <c:dPt>
            <c:idx val="25"/>
            <c:invertIfNegative val="1"/>
            <c:bubble3D val="0"/>
            <c:spPr>
              <a:solidFill>
                <a:srgbClr val="E6E5E5"/>
              </a:solidFill>
            </c:spPr>
            <c:extLst>
              <c:ext xmlns:c16="http://schemas.microsoft.com/office/drawing/2014/chart" uri="{C3380CC4-5D6E-409C-BE32-E72D297353CC}">
                <c16:uniqueId val="{00000033-B304-48C7-A242-C92C3BEFF2A4}"/>
              </c:ext>
            </c:extLst>
          </c:dPt>
          <c:dPt>
            <c:idx val="26"/>
            <c:invertIfNegative val="1"/>
            <c:bubble3D val="0"/>
            <c:spPr>
              <a:solidFill>
                <a:srgbClr val="E6E5E5"/>
              </a:solidFill>
            </c:spPr>
            <c:extLst>
              <c:ext xmlns:c16="http://schemas.microsoft.com/office/drawing/2014/chart" uri="{C3380CC4-5D6E-409C-BE32-E72D297353CC}">
                <c16:uniqueId val="{00000035-B304-48C7-A242-C92C3BEFF2A4}"/>
              </c:ext>
            </c:extLst>
          </c:dPt>
          <c:dPt>
            <c:idx val="27"/>
            <c:invertIfNegative val="1"/>
            <c:bubble3D val="0"/>
            <c:spPr>
              <a:solidFill>
                <a:srgbClr val="E6E5E5"/>
              </a:solidFill>
            </c:spPr>
            <c:extLst>
              <c:ext xmlns:c16="http://schemas.microsoft.com/office/drawing/2014/chart" uri="{C3380CC4-5D6E-409C-BE32-E72D297353CC}">
                <c16:uniqueId val="{00000037-B304-48C7-A242-C92C3BEFF2A4}"/>
              </c:ext>
            </c:extLst>
          </c:dPt>
          <c:dPt>
            <c:idx val="28"/>
            <c:invertIfNegative val="1"/>
            <c:bubble3D val="0"/>
            <c:spPr>
              <a:solidFill>
                <a:srgbClr val="E6E5E5"/>
              </a:solidFill>
            </c:spPr>
            <c:extLst>
              <c:ext xmlns:c16="http://schemas.microsoft.com/office/drawing/2014/chart" uri="{C3380CC4-5D6E-409C-BE32-E72D297353CC}">
                <c16:uniqueId val="{00000039-B304-48C7-A242-C92C3BEFF2A4}"/>
              </c:ext>
            </c:extLst>
          </c:dPt>
          <c:dPt>
            <c:idx val="29"/>
            <c:invertIfNegative val="1"/>
            <c:bubble3D val="0"/>
            <c:spPr>
              <a:solidFill>
                <a:srgbClr val="E6E5E5"/>
              </a:solidFill>
            </c:spPr>
            <c:extLst>
              <c:ext xmlns:c16="http://schemas.microsoft.com/office/drawing/2014/chart" uri="{C3380CC4-5D6E-409C-BE32-E72D297353CC}">
                <c16:uniqueId val="{0000003B-B304-48C7-A242-C92C3BEFF2A4}"/>
              </c:ext>
            </c:extLst>
          </c:dPt>
          <c:dPt>
            <c:idx val="30"/>
            <c:invertIfNegative val="1"/>
            <c:bubble3D val="0"/>
            <c:spPr>
              <a:solidFill>
                <a:srgbClr val="E6E5E5"/>
              </a:solidFill>
            </c:spPr>
            <c:extLst>
              <c:ext xmlns:c16="http://schemas.microsoft.com/office/drawing/2014/chart" uri="{C3380CC4-5D6E-409C-BE32-E72D297353CC}">
                <c16:uniqueId val="{0000003D-B304-48C7-A242-C92C3BEFF2A4}"/>
              </c:ext>
            </c:extLst>
          </c:dPt>
          <c:dPt>
            <c:idx val="31"/>
            <c:invertIfNegative val="1"/>
            <c:bubble3D val="0"/>
            <c:spPr>
              <a:solidFill>
                <a:srgbClr val="E6E5E5"/>
              </a:solidFill>
            </c:spPr>
            <c:extLst>
              <c:ext xmlns:c16="http://schemas.microsoft.com/office/drawing/2014/chart" uri="{C3380CC4-5D6E-409C-BE32-E72D297353CC}">
                <c16:uniqueId val="{0000003F-B304-48C7-A242-C92C3BEFF2A4}"/>
              </c:ext>
            </c:extLst>
          </c:dPt>
          <c:dPt>
            <c:idx val="32"/>
            <c:invertIfNegative val="1"/>
            <c:bubble3D val="0"/>
            <c:spPr>
              <a:solidFill>
                <a:srgbClr val="E6E5E5"/>
              </a:solidFill>
            </c:spPr>
            <c:extLst>
              <c:ext xmlns:c16="http://schemas.microsoft.com/office/drawing/2014/chart" uri="{C3380CC4-5D6E-409C-BE32-E72D297353CC}">
                <c16:uniqueId val="{00000041-B304-48C7-A242-C92C3BEFF2A4}"/>
              </c:ext>
            </c:extLst>
          </c:dPt>
          <c:dPt>
            <c:idx val="33"/>
            <c:invertIfNegative val="1"/>
            <c:bubble3D val="0"/>
            <c:spPr>
              <a:solidFill>
                <a:srgbClr val="E6E5E5"/>
              </a:solidFill>
            </c:spPr>
            <c:extLst>
              <c:ext xmlns:c16="http://schemas.microsoft.com/office/drawing/2014/chart" uri="{C3380CC4-5D6E-409C-BE32-E72D297353CC}">
                <c16:uniqueId val="{00000043-B304-48C7-A242-C92C3BEFF2A4}"/>
              </c:ext>
            </c:extLst>
          </c:dPt>
          <c:dPt>
            <c:idx val="34"/>
            <c:invertIfNegative val="1"/>
            <c:bubble3D val="0"/>
            <c:spPr>
              <a:solidFill>
                <a:srgbClr val="E6E5E5"/>
              </a:solidFill>
            </c:spPr>
            <c:extLst>
              <c:ext xmlns:c16="http://schemas.microsoft.com/office/drawing/2014/chart" uri="{C3380CC4-5D6E-409C-BE32-E72D297353CC}">
                <c16:uniqueId val="{00000045-B304-48C7-A242-C92C3BEFF2A4}"/>
              </c:ext>
            </c:extLst>
          </c:dPt>
          <c:dPt>
            <c:idx val="35"/>
            <c:invertIfNegative val="1"/>
            <c:bubble3D val="0"/>
            <c:spPr>
              <a:solidFill>
                <a:srgbClr val="E6E5E5"/>
              </a:solidFill>
            </c:spPr>
            <c:extLst>
              <c:ext xmlns:c16="http://schemas.microsoft.com/office/drawing/2014/chart" uri="{C3380CC4-5D6E-409C-BE32-E72D297353CC}">
                <c16:uniqueId val="{00000047-B304-48C7-A242-C92C3BEFF2A4}"/>
              </c:ext>
            </c:extLst>
          </c:dPt>
          <c:dPt>
            <c:idx val="36"/>
            <c:invertIfNegative val="1"/>
            <c:bubble3D val="0"/>
            <c:spPr>
              <a:solidFill>
                <a:srgbClr val="E6E5E5"/>
              </a:solidFill>
            </c:spPr>
            <c:extLst>
              <c:ext xmlns:c16="http://schemas.microsoft.com/office/drawing/2014/chart" uri="{C3380CC4-5D6E-409C-BE32-E72D297353CC}">
                <c16:uniqueId val="{00000049-B304-48C7-A242-C92C3BEFF2A4}"/>
              </c:ext>
            </c:extLst>
          </c:dPt>
          <c:dPt>
            <c:idx val="37"/>
            <c:invertIfNegative val="1"/>
            <c:bubble3D val="0"/>
            <c:spPr>
              <a:solidFill>
                <a:srgbClr val="E6E5E5"/>
              </a:solidFill>
            </c:spPr>
            <c:extLst>
              <c:ext xmlns:c16="http://schemas.microsoft.com/office/drawing/2014/chart" uri="{C3380CC4-5D6E-409C-BE32-E72D297353CC}">
                <c16:uniqueId val="{0000004B-B304-48C7-A242-C92C3BEFF2A4}"/>
              </c:ext>
            </c:extLst>
          </c:dPt>
          <c:dPt>
            <c:idx val="38"/>
            <c:invertIfNegative val="1"/>
            <c:bubble3D val="0"/>
            <c:spPr>
              <a:solidFill>
                <a:srgbClr val="E6E5E5"/>
              </a:solidFill>
            </c:spPr>
            <c:extLst>
              <c:ext xmlns:c16="http://schemas.microsoft.com/office/drawing/2014/chart" uri="{C3380CC4-5D6E-409C-BE32-E72D297353CC}">
                <c16:uniqueId val="{0000004D-B304-48C7-A242-C92C3BEFF2A4}"/>
              </c:ext>
            </c:extLst>
          </c:dPt>
          <c:dPt>
            <c:idx val="39"/>
            <c:invertIfNegative val="1"/>
            <c:bubble3D val="0"/>
            <c:spPr>
              <a:solidFill>
                <a:srgbClr val="E6E5E5"/>
              </a:solidFill>
            </c:spPr>
            <c:extLst>
              <c:ext xmlns:c16="http://schemas.microsoft.com/office/drawing/2014/chart" uri="{C3380CC4-5D6E-409C-BE32-E72D297353CC}">
                <c16:uniqueId val="{0000004F-B304-48C7-A242-C92C3BEFF2A4}"/>
              </c:ext>
            </c:extLst>
          </c:dPt>
          <c:dPt>
            <c:idx val="40"/>
            <c:invertIfNegative val="1"/>
            <c:bubble3D val="0"/>
            <c:spPr>
              <a:solidFill>
                <a:srgbClr val="E6E5E5"/>
              </a:solidFill>
            </c:spPr>
            <c:extLst>
              <c:ext xmlns:c16="http://schemas.microsoft.com/office/drawing/2014/chart" uri="{C3380CC4-5D6E-409C-BE32-E72D297353CC}">
                <c16:uniqueId val="{00000051-B304-48C7-A242-C92C3BEFF2A4}"/>
              </c:ext>
            </c:extLst>
          </c:dPt>
          <c:dPt>
            <c:idx val="41"/>
            <c:invertIfNegative val="1"/>
            <c:bubble3D val="0"/>
            <c:spPr>
              <a:solidFill>
                <a:srgbClr val="E6E5E5"/>
              </a:solidFill>
            </c:spPr>
            <c:extLst>
              <c:ext xmlns:c16="http://schemas.microsoft.com/office/drawing/2014/chart" uri="{C3380CC4-5D6E-409C-BE32-E72D297353CC}">
                <c16:uniqueId val="{00000053-B304-48C7-A242-C92C3BEFF2A4}"/>
              </c:ext>
            </c:extLst>
          </c:dPt>
          <c:dPt>
            <c:idx val="42"/>
            <c:invertIfNegative val="1"/>
            <c:bubble3D val="0"/>
            <c:spPr>
              <a:solidFill>
                <a:srgbClr val="E6E5E5"/>
              </a:solidFill>
            </c:spPr>
            <c:extLst>
              <c:ext xmlns:c16="http://schemas.microsoft.com/office/drawing/2014/chart" uri="{C3380CC4-5D6E-409C-BE32-E72D297353CC}">
                <c16:uniqueId val="{00000055-B304-48C7-A242-C92C3BEFF2A4}"/>
              </c:ext>
            </c:extLst>
          </c:dPt>
          <c:dPt>
            <c:idx val="43"/>
            <c:invertIfNegative val="1"/>
            <c:bubble3D val="0"/>
            <c:spPr>
              <a:solidFill>
                <a:srgbClr val="E6E5E5"/>
              </a:solidFill>
            </c:spPr>
            <c:extLst>
              <c:ext xmlns:c16="http://schemas.microsoft.com/office/drawing/2014/chart" uri="{C3380CC4-5D6E-409C-BE32-E72D297353CC}">
                <c16:uniqueId val="{00000057-B304-48C7-A242-C92C3BEFF2A4}"/>
              </c:ext>
            </c:extLst>
          </c:dPt>
          <c:dPt>
            <c:idx val="44"/>
            <c:invertIfNegative val="1"/>
            <c:bubble3D val="0"/>
            <c:spPr>
              <a:solidFill>
                <a:srgbClr val="E6E5E5"/>
              </a:solidFill>
            </c:spPr>
            <c:extLst>
              <c:ext xmlns:c16="http://schemas.microsoft.com/office/drawing/2014/chart" uri="{C3380CC4-5D6E-409C-BE32-E72D297353CC}">
                <c16:uniqueId val="{00000059-B304-48C7-A242-C92C3BEFF2A4}"/>
              </c:ext>
            </c:extLst>
          </c:dPt>
          <c:dPt>
            <c:idx val="45"/>
            <c:invertIfNegative val="1"/>
            <c:bubble3D val="0"/>
            <c:spPr>
              <a:solidFill>
                <a:srgbClr val="E6E5E5"/>
              </a:solidFill>
            </c:spPr>
            <c:extLst>
              <c:ext xmlns:c16="http://schemas.microsoft.com/office/drawing/2014/chart" uri="{C3380CC4-5D6E-409C-BE32-E72D297353CC}">
                <c16:uniqueId val="{0000005B-B304-48C7-A242-C92C3BEFF2A4}"/>
              </c:ext>
            </c:extLst>
          </c:dPt>
          <c:dPt>
            <c:idx val="46"/>
            <c:invertIfNegative val="0"/>
            <c:bubble3D val="0"/>
            <c:spPr>
              <a:solidFill>
                <a:srgbClr val="E6E5E5"/>
              </a:solidFill>
              <a:ln>
                <a:noFill/>
              </a:ln>
              <a:effectLst/>
            </c:spPr>
            <c:extLst>
              <c:ext xmlns:c16="http://schemas.microsoft.com/office/drawing/2014/chart" uri="{C3380CC4-5D6E-409C-BE32-E72D297353CC}">
                <c16:uniqueId val="{0000005D-B304-48C7-A242-C92C3BEFF2A4}"/>
              </c:ext>
            </c:extLst>
          </c:dPt>
          <c:dPt>
            <c:idx val="47"/>
            <c:invertIfNegative val="1"/>
            <c:bubble3D val="0"/>
            <c:spPr>
              <a:solidFill>
                <a:srgbClr val="E6E5E5"/>
              </a:solidFill>
            </c:spPr>
            <c:extLst>
              <c:ext xmlns:c16="http://schemas.microsoft.com/office/drawing/2014/chart" uri="{C3380CC4-5D6E-409C-BE32-E72D297353CC}">
                <c16:uniqueId val="{0000005F-B304-48C7-A242-C92C3BEFF2A4}"/>
              </c:ext>
            </c:extLst>
          </c:dPt>
          <c:dPt>
            <c:idx val="48"/>
            <c:invertIfNegative val="0"/>
            <c:bubble3D val="0"/>
            <c:spPr>
              <a:solidFill>
                <a:srgbClr val="E6E5E5"/>
              </a:solidFill>
              <a:ln>
                <a:noFill/>
              </a:ln>
              <a:effectLst/>
            </c:spPr>
            <c:extLst>
              <c:ext xmlns:c16="http://schemas.microsoft.com/office/drawing/2014/chart" uri="{C3380CC4-5D6E-409C-BE32-E72D297353CC}">
                <c16:uniqueId val="{00000061-B304-48C7-A242-C92C3BEFF2A4}"/>
              </c:ext>
            </c:extLst>
          </c:dPt>
          <c:dPt>
            <c:idx val="49"/>
            <c:invertIfNegative val="1"/>
            <c:bubble3D val="0"/>
            <c:spPr>
              <a:solidFill>
                <a:srgbClr val="E6E5E5"/>
              </a:solidFill>
            </c:spPr>
            <c:extLst>
              <c:ext xmlns:c16="http://schemas.microsoft.com/office/drawing/2014/chart" uri="{C3380CC4-5D6E-409C-BE32-E72D297353CC}">
                <c16:uniqueId val="{00000063-B304-48C7-A242-C92C3BEFF2A4}"/>
              </c:ext>
            </c:extLst>
          </c:dPt>
          <c:dPt>
            <c:idx val="50"/>
            <c:invertIfNegative val="1"/>
            <c:bubble3D val="0"/>
            <c:spPr>
              <a:solidFill>
                <a:srgbClr val="E6E5E5"/>
              </a:solidFill>
            </c:spPr>
            <c:extLst>
              <c:ext xmlns:c16="http://schemas.microsoft.com/office/drawing/2014/chart" uri="{C3380CC4-5D6E-409C-BE32-E72D297353CC}">
                <c16:uniqueId val="{00000065-B304-48C7-A242-C92C3BEFF2A4}"/>
              </c:ext>
            </c:extLst>
          </c:dPt>
          <c:dPt>
            <c:idx val="51"/>
            <c:invertIfNegative val="1"/>
            <c:bubble3D val="0"/>
            <c:spPr>
              <a:solidFill>
                <a:srgbClr val="E6E5E5"/>
              </a:solidFill>
            </c:spPr>
            <c:extLst>
              <c:ext xmlns:c16="http://schemas.microsoft.com/office/drawing/2014/chart" uri="{C3380CC4-5D6E-409C-BE32-E72D297353CC}">
                <c16:uniqueId val="{00000067-B304-48C7-A242-C92C3BEFF2A4}"/>
              </c:ext>
            </c:extLst>
          </c:dPt>
          <c:dPt>
            <c:idx val="52"/>
            <c:invertIfNegative val="0"/>
            <c:bubble3D val="0"/>
            <c:spPr>
              <a:solidFill>
                <a:srgbClr val="E6E5E5"/>
              </a:solidFill>
              <a:ln>
                <a:noFill/>
              </a:ln>
              <a:effectLst/>
            </c:spPr>
            <c:extLst>
              <c:ext xmlns:c16="http://schemas.microsoft.com/office/drawing/2014/chart" uri="{C3380CC4-5D6E-409C-BE32-E72D297353CC}">
                <c16:uniqueId val="{00000069-B304-48C7-A242-C92C3BEFF2A4}"/>
              </c:ext>
            </c:extLst>
          </c:dPt>
          <c:dPt>
            <c:idx val="53"/>
            <c:invertIfNegative val="1"/>
            <c:bubble3D val="0"/>
            <c:spPr>
              <a:solidFill>
                <a:srgbClr val="E6E5E5"/>
              </a:solidFill>
            </c:spPr>
            <c:extLst>
              <c:ext xmlns:c16="http://schemas.microsoft.com/office/drawing/2014/chart" uri="{C3380CC4-5D6E-409C-BE32-E72D297353CC}">
                <c16:uniqueId val="{0000006B-B304-48C7-A242-C92C3BEFF2A4}"/>
              </c:ext>
            </c:extLst>
          </c:dPt>
          <c:dPt>
            <c:idx val="54"/>
            <c:invertIfNegative val="1"/>
            <c:bubble3D val="0"/>
            <c:spPr>
              <a:solidFill>
                <a:srgbClr val="E6E5E5"/>
              </a:solidFill>
            </c:spPr>
            <c:extLst>
              <c:ext xmlns:c16="http://schemas.microsoft.com/office/drawing/2014/chart" uri="{C3380CC4-5D6E-409C-BE32-E72D297353CC}">
                <c16:uniqueId val="{0000006D-B304-48C7-A242-C92C3BEFF2A4}"/>
              </c:ext>
            </c:extLst>
          </c:dPt>
          <c:dPt>
            <c:idx val="55"/>
            <c:invertIfNegative val="1"/>
            <c:bubble3D val="0"/>
            <c:spPr>
              <a:solidFill>
                <a:srgbClr val="E6E5E5"/>
              </a:solidFill>
            </c:spPr>
            <c:extLst>
              <c:ext xmlns:c16="http://schemas.microsoft.com/office/drawing/2014/chart" uri="{C3380CC4-5D6E-409C-BE32-E72D297353CC}">
                <c16:uniqueId val="{0000006F-B304-48C7-A242-C92C3BEFF2A4}"/>
              </c:ext>
            </c:extLst>
          </c:dPt>
          <c:dPt>
            <c:idx val="56"/>
            <c:invertIfNegative val="1"/>
            <c:bubble3D val="0"/>
            <c:spPr>
              <a:solidFill>
                <a:srgbClr val="E6E5E5"/>
              </a:solidFill>
            </c:spPr>
            <c:extLst>
              <c:ext xmlns:c16="http://schemas.microsoft.com/office/drawing/2014/chart" uri="{C3380CC4-5D6E-409C-BE32-E72D297353CC}">
                <c16:uniqueId val="{00000071-B304-48C7-A242-C92C3BEFF2A4}"/>
              </c:ext>
            </c:extLst>
          </c:dPt>
          <c:dPt>
            <c:idx val="57"/>
            <c:invertIfNegative val="1"/>
            <c:bubble3D val="0"/>
            <c:spPr>
              <a:solidFill>
                <a:srgbClr val="E6E5E5"/>
              </a:solidFill>
            </c:spPr>
            <c:extLst>
              <c:ext xmlns:c16="http://schemas.microsoft.com/office/drawing/2014/chart" uri="{C3380CC4-5D6E-409C-BE32-E72D297353CC}">
                <c16:uniqueId val="{00000073-B304-48C7-A242-C92C3BEFF2A4}"/>
              </c:ext>
            </c:extLst>
          </c:dPt>
          <c:dPt>
            <c:idx val="58"/>
            <c:invertIfNegative val="1"/>
            <c:bubble3D val="0"/>
            <c:spPr>
              <a:solidFill>
                <a:srgbClr val="E6E5E5"/>
              </a:solidFill>
            </c:spPr>
            <c:extLst>
              <c:ext xmlns:c16="http://schemas.microsoft.com/office/drawing/2014/chart" uri="{C3380CC4-5D6E-409C-BE32-E72D297353CC}">
                <c16:uniqueId val="{00000075-B304-48C7-A242-C92C3BEFF2A4}"/>
              </c:ext>
            </c:extLst>
          </c:dPt>
          <c:dPt>
            <c:idx val="59"/>
            <c:invertIfNegative val="1"/>
            <c:bubble3D val="0"/>
            <c:spPr>
              <a:solidFill>
                <a:srgbClr val="E6E5E5"/>
              </a:solidFill>
            </c:spPr>
            <c:extLst>
              <c:ext xmlns:c16="http://schemas.microsoft.com/office/drawing/2014/chart" uri="{C3380CC4-5D6E-409C-BE32-E72D297353CC}">
                <c16:uniqueId val="{00000077-B304-48C7-A242-C92C3BEFF2A4}"/>
              </c:ext>
            </c:extLst>
          </c:dPt>
          <c:dPt>
            <c:idx val="60"/>
            <c:invertIfNegative val="1"/>
            <c:bubble3D val="0"/>
            <c:spPr>
              <a:solidFill>
                <a:srgbClr val="E6E5E5"/>
              </a:solidFill>
            </c:spPr>
            <c:extLst>
              <c:ext xmlns:c16="http://schemas.microsoft.com/office/drawing/2014/chart" uri="{C3380CC4-5D6E-409C-BE32-E72D297353CC}">
                <c16:uniqueId val="{00000079-B304-48C7-A242-C92C3BEFF2A4}"/>
              </c:ext>
            </c:extLst>
          </c:dPt>
          <c:dPt>
            <c:idx val="61"/>
            <c:invertIfNegative val="1"/>
            <c:bubble3D val="0"/>
            <c:spPr>
              <a:solidFill>
                <a:srgbClr val="E6E5E5"/>
              </a:solidFill>
            </c:spPr>
            <c:extLst>
              <c:ext xmlns:c16="http://schemas.microsoft.com/office/drawing/2014/chart" uri="{C3380CC4-5D6E-409C-BE32-E72D297353CC}">
                <c16:uniqueId val="{0000007B-B304-48C7-A242-C92C3BEFF2A4}"/>
              </c:ext>
            </c:extLst>
          </c:dPt>
          <c:dPt>
            <c:idx val="62"/>
            <c:invertIfNegative val="1"/>
            <c:bubble3D val="0"/>
            <c:spPr>
              <a:solidFill>
                <a:srgbClr val="E6E5E5"/>
              </a:solidFill>
            </c:spPr>
            <c:extLst>
              <c:ext xmlns:c16="http://schemas.microsoft.com/office/drawing/2014/chart" uri="{C3380CC4-5D6E-409C-BE32-E72D297353CC}">
                <c16:uniqueId val="{0000007D-B304-48C7-A242-C92C3BEFF2A4}"/>
              </c:ext>
            </c:extLst>
          </c:dPt>
          <c:dPt>
            <c:idx val="63"/>
            <c:invertIfNegative val="1"/>
            <c:bubble3D val="0"/>
            <c:spPr>
              <a:solidFill>
                <a:srgbClr val="E6E5E5"/>
              </a:solidFill>
            </c:spPr>
            <c:extLst>
              <c:ext xmlns:c16="http://schemas.microsoft.com/office/drawing/2014/chart" uri="{C3380CC4-5D6E-409C-BE32-E72D297353CC}">
                <c16:uniqueId val="{0000007F-B304-48C7-A242-C92C3BEFF2A4}"/>
              </c:ext>
            </c:extLst>
          </c:dPt>
          <c:dPt>
            <c:idx val="64"/>
            <c:invertIfNegative val="1"/>
            <c:bubble3D val="0"/>
            <c:spPr>
              <a:solidFill>
                <a:srgbClr val="E6E5E5"/>
              </a:solidFill>
            </c:spPr>
            <c:extLst>
              <c:ext xmlns:c16="http://schemas.microsoft.com/office/drawing/2014/chart" uri="{C3380CC4-5D6E-409C-BE32-E72D297353CC}">
                <c16:uniqueId val="{00000081-B304-48C7-A242-C92C3BEFF2A4}"/>
              </c:ext>
            </c:extLst>
          </c:dPt>
          <c:dPt>
            <c:idx val="65"/>
            <c:invertIfNegative val="1"/>
            <c:bubble3D val="0"/>
            <c:spPr>
              <a:solidFill>
                <a:srgbClr val="E6E5E5"/>
              </a:solidFill>
            </c:spPr>
            <c:extLst>
              <c:ext xmlns:c16="http://schemas.microsoft.com/office/drawing/2014/chart" uri="{C3380CC4-5D6E-409C-BE32-E72D297353CC}">
                <c16:uniqueId val="{00000083-B304-48C7-A242-C92C3BEFF2A4}"/>
              </c:ext>
            </c:extLst>
          </c:dPt>
          <c:dPt>
            <c:idx val="66"/>
            <c:invertIfNegative val="1"/>
            <c:bubble3D val="0"/>
            <c:spPr>
              <a:solidFill>
                <a:srgbClr val="E6E5E5"/>
              </a:solidFill>
            </c:spPr>
            <c:extLst>
              <c:ext xmlns:c16="http://schemas.microsoft.com/office/drawing/2014/chart" uri="{C3380CC4-5D6E-409C-BE32-E72D297353CC}">
                <c16:uniqueId val="{00000085-B304-48C7-A242-C92C3BEFF2A4}"/>
              </c:ext>
            </c:extLst>
          </c:dPt>
          <c:dPt>
            <c:idx val="67"/>
            <c:invertIfNegative val="1"/>
            <c:bubble3D val="0"/>
            <c:spPr>
              <a:solidFill>
                <a:srgbClr val="E6E5E5"/>
              </a:solidFill>
            </c:spPr>
            <c:extLst>
              <c:ext xmlns:c16="http://schemas.microsoft.com/office/drawing/2014/chart" uri="{C3380CC4-5D6E-409C-BE32-E72D297353CC}">
                <c16:uniqueId val="{00000087-B304-48C7-A242-C92C3BEFF2A4}"/>
              </c:ext>
            </c:extLst>
          </c:dPt>
          <c:dPt>
            <c:idx val="68"/>
            <c:invertIfNegative val="1"/>
            <c:bubble3D val="0"/>
            <c:spPr>
              <a:solidFill>
                <a:srgbClr val="E6E5E5"/>
              </a:solidFill>
            </c:spPr>
            <c:extLst>
              <c:ext xmlns:c16="http://schemas.microsoft.com/office/drawing/2014/chart" uri="{C3380CC4-5D6E-409C-BE32-E72D297353CC}">
                <c16:uniqueId val="{00000089-B304-48C7-A242-C92C3BEFF2A4}"/>
              </c:ext>
            </c:extLst>
          </c:dPt>
          <c:dPt>
            <c:idx val="69"/>
            <c:invertIfNegative val="1"/>
            <c:bubble3D val="0"/>
            <c:spPr>
              <a:solidFill>
                <a:srgbClr val="E6E5E5"/>
              </a:solidFill>
            </c:spPr>
            <c:extLst>
              <c:ext xmlns:c16="http://schemas.microsoft.com/office/drawing/2014/chart" uri="{C3380CC4-5D6E-409C-BE32-E72D297353CC}">
                <c16:uniqueId val="{0000008B-B304-48C7-A242-C92C3BEFF2A4}"/>
              </c:ext>
            </c:extLst>
          </c:dPt>
          <c:dPt>
            <c:idx val="70"/>
            <c:invertIfNegative val="1"/>
            <c:bubble3D val="0"/>
            <c:spPr>
              <a:solidFill>
                <a:srgbClr val="E6E5E5"/>
              </a:solidFill>
            </c:spPr>
            <c:extLst>
              <c:ext xmlns:c16="http://schemas.microsoft.com/office/drawing/2014/chart" uri="{C3380CC4-5D6E-409C-BE32-E72D297353CC}">
                <c16:uniqueId val="{0000008D-B304-48C7-A242-C92C3BEFF2A4}"/>
              </c:ext>
            </c:extLst>
          </c:dPt>
          <c:dPt>
            <c:idx val="71"/>
            <c:invertIfNegative val="1"/>
            <c:bubble3D val="0"/>
            <c:spPr>
              <a:solidFill>
                <a:srgbClr val="E6E5E5"/>
              </a:solidFill>
            </c:spPr>
            <c:extLst>
              <c:ext xmlns:c16="http://schemas.microsoft.com/office/drawing/2014/chart" uri="{C3380CC4-5D6E-409C-BE32-E72D297353CC}">
                <c16:uniqueId val="{0000008F-B304-48C7-A242-C92C3BEFF2A4}"/>
              </c:ext>
            </c:extLst>
          </c:dPt>
          <c:dPt>
            <c:idx val="72"/>
            <c:invertIfNegative val="1"/>
            <c:bubble3D val="0"/>
            <c:spPr>
              <a:solidFill>
                <a:srgbClr val="E6E5E5"/>
              </a:solidFill>
            </c:spPr>
            <c:extLst>
              <c:ext xmlns:c16="http://schemas.microsoft.com/office/drawing/2014/chart" uri="{C3380CC4-5D6E-409C-BE32-E72D297353CC}">
                <c16:uniqueId val="{00000091-B304-48C7-A242-C92C3BEFF2A4}"/>
              </c:ext>
            </c:extLst>
          </c:dPt>
          <c:dPt>
            <c:idx val="73"/>
            <c:invertIfNegative val="1"/>
            <c:bubble3D val="0"/>
            <c:spPr>
              <a:solidFill>
                <a:srgbClr val="E6E5E5"/>
              </a:solidFill>
            </c:spPr>
            <c:extLst>
              <c:ext xmlns:c16="http://schemas.microsoft.com/office/drawing/2014/chart" uri="{C3380CC4-5D6E-409C-BE32-E72D297353CC}">
                <c16:uniqueId val="{00000093-B304-48C7-A242-C92C3BEFF2A4}"/>
              </c:ext>
            </c:extLst>
          </c:dPt>
          <c:dPt>
            <c:idx val="74"/>
            <c:invertIfNegative val="1"/>
            <c:bubble3D val="0"/>
            <c:spPr>
              <a:solidFill>
                <a:srgbClr val="E6E5E5"/>
              </a:solidFill>
            </c:spPr>
            <c:extLst>
              <c:ext xmlns:c16="http://schemas.microsoft.com/office/drawing/2014/chart" uri="{C3380CC4-5D6E-409C-BE32-E72D297353CC}">
                <c16:uniqueId val="{00000095-B304-48C7-A242-C92C3BEFF2A4}"/>
              </c:ext>
            </c:extLst>
          </c:dPt>
          <c:dPt>
            <c:idx val="75"/>
            <c:invertIfNegative val="1"/>
            <c:bubble3D val="0"/>
            <c:spPr>
              <a:solidFill>
                <a:srgbClr val="E6E5E5"/>
              </a:solidFill>
            </c:spPr>
            <c:extLst>
              <c:ext xmlns:c16="http://schemas.microsoft.com/office/drawing/2014/chart" uri="{C3380CC4-5D6E-409C-BE32-E72D297353CC}">
                <c16:uniqueId val="{00000097-B304-48C7-A242-C92C3BEFF2A4}"/>
              </c:ext>
            </c:extLst>
          </c:dPt>
          <c:dPt>
            <c:idx val="76"/>
            <c:invertIfNegative val="1"/>
            <c:bubble3D val="0"/>
            <c:spPr>
              <a:solidFill>
                <a:srgbClr val="E6E5E5"/>
              </a:solidFill>
            </c:spPr>
            <c:extLst>
              <c:ext xmlns:c16="http://schemas.microsoft.com/office/drawing/2014/chart" uri="{C3380CC4-5D6E-409C-BE32-E72D297353CC}">
                <c16:uniqueId val="{00000099-B304-48C7-A242-C92C3BEFF2A4}"/>
              </c:ext>
            </c:extLst>
          </c:dPt>
          <c:dPt>
            <c:idx val="77"/>
            <c:invertIfNegative val="1"/>
            <c:bubble3D val="0"/>
            <c:spPr>
              <a:solidFill>
                <a:srgbClr val="E6E5E5"/>
              </a:solidFill>
            </c:spPr>
            <c:extLst>
              <c:ext xmlns:c16="http://schemas.microsoft.com/office/drawing/2014/chart" uri="{C3380CC4-5D6E-409C-BE32-E72D297353CC}">
                <c16:uniqueId val="{0000009B-B304-48C7-A242-C92C3BEFF2A4}"/>
              </c:ext>
            </c:extLst>
          </c:dPt>
          <c:dPt>
            <c:idx val="78"/>
            <c:invertIfNegative val="1"/>
            <c:bubble3D val="0"/>
            <c:spPr>
              <a:solidFill>
                <a:srgbClr val="E6E5E5"/>
              </a:solidFill>
            </c:spPr>
            <c:extLst>
              <c:ext xmlns:c16="http://schemas.microsoft.com/office/drawing/2014/chart" uri="{C3380CC4-5D6E-409C-BE32-E72D297353CC}">
                <c16:uniqueId val="{0000009D-B304-48C7-A242-C92C3BEFF2A4}"/>
              </c:ext>
            </c:extLst>
          </c:dPt>
          <c:dPt>
            <c:idx val="79"/>
            <c:invertIfNegative val="1"/>
            <c:bubble3D val="0"/>
            <c:spPr>
              <a:solidFill>
                <a:srgbClr val="E6E5E5"/>
              </a:solidFill>
            </c:spPr>
            <c:extLst>
              <c:ext xmlns:c16="http://schemas.microsoft.com/office/drawing/2014/chart" uri="{C3380CC4-5D6E-409C-BE32-E72D297353CC}">
                <c16:uniqueId val="{0000009F-B304-48C7-A242-C92C3BEFF2A4}"/>
              </c:ext>
            </c:extLst>
          </c:dPt>
          <c:dPt>
            <c:idx val="80"/>
            <c:invertIfNegative val="1"/>
            <c:bubble3D val="0"/>
            <c:spPr>
              <a:solidFill>
                <a:srgbClr val="E6E5E5"/>
              </a:solidFill>
            </c:spPr>
            <c:extLst>
              <c:ext xmlns:c16="http://schemas.microsoft.com/office/drawing/2014/chart" uri="{C3380CC4-5D6E-409C-BE32-E72D297353CC}">
                <c16:uniqueId val="{000000A1-B304-48C7-A242-C92C3BEFF2A4}"/>
              </c:ext>
            </c:extLst>
          </c:dPt>
          <c:dPt>
            <c:idx val="81"/>
            <c:invertIfNegative val="1"/>
            <c:bubble3D val="0"/>
            <c:spPr>
              <a:solidFill>
                <a:srgbClr val="E6E5E5"/>
              </a:solidFill>
            </c:spPr>
            <c:extLst>
              <c:ext xmlns:c16="http://schemas.microsoft.com/office/drawing/2014/chart" uri="{C3380CC4-5D6E-409C-BE32-E72D297353CC}">
                <c16:uniqueId val="{000000A3-B304-48C7-A242-C92C3BEFF2A4}"/>
              </c:ext>
            </c:extLst>
          </c:dPt>
          <c:dPt>
            <c:idx val="82"/>
            <c:invertIfNegative val="1"/>
            <c:bubble3D val="0"/>
            <c:spPr>
              <a:solidFill>
                <a:srgbClr val="E6E5E5"/>
              </a:solidFill>
            </c:spPr>
            <c:extLst>
              <c:ext xmlns:c16="http://schemas.microsoft.com/office/drawing/2014/chart" uri="{C3380CC4-5D6E-409C-BE32-E72D297353CC}">
                <c16:uniqueId val="{000000A5-B304-48C7-A242-C92C3BEFF2A4}"/>
              </c:ext>
            </c:extLst>
          </c:dPt>
          <c:dPt>
            <c:idx val="83"/>
            <c:invertIfNegative val="1"/>
            <c:bubble3D val="0"/>
            <c:spPr>
              <a:solidFill>
                <a:srgbClr val="E6E5E5"/>
              </a:solidFill>
            </c:spPr>
            <c:extLst>
              <c:ext xmlns:c16="http://schemas.microsoft.com/office/drawing/2014/chart" uri="{C3380CC4-5D6E-409C-BE32-E72D297353CC}">
                <c16:uniqueId val="{000000A7-B304-48C7-A242-C92C3BEFF2A4}"/>
              </c:ext>
            </c:extLst>
          </c:dPt>
          <c:dPt>
            <c:idx val="84"/>
            <c:invertIfNegative val="1"/>
            <c:bubble3D val="0"/>
            <c:spPr>
              <a:solidFill>
                <a:srgbClr val="E6E5E5"/>
              </a:solidFill>
            </c:spPr>
            <c:extLst>
              <c:ext xmlns:c16="http://schemas.microsoft.com/office/drawing/2014/chart" uri="{C3380CC4-5D6E-409C-BE32-E72D297353CC}">
                <c16:uniqueId val="{000000A9-B304-48C7-A242-C92C3BEFF2A4}"/>
              </c:ext>
            </c:extLst>
          </c:dPt>
          <c:dPt>
            <c:idx val="85"/>
            <c:invertIfNegative val="1"/>
            <c:bubble3D val="0"/>
            <c:spPr>
              <a:solidFill>
                <a:srgbClr val="E6E5E5"/>
              </a:solidFill>
            </c:spPr>
            <c:extLst>
              <c:ext xmlns:c16="http://schemas.microsoft.com/office/drawing/2014/chart" uri="{C3380CC4-5D6E-409C-BE32-E72D297353CC}">
                <c16:uniqueId val="{000000AB-B304-48C7-A242-C92C3BEFF2A4}"/>
              </c:ext>
            </c:extLst>
          </c:dPt>
          <c:dPt>
            <c:idx val="86"/>
            <c:invertIfNegative val="1"/>
            <c:bubble3D val="0"/>
            <c:spPr>
              <a:solidFill>
                <a:srgbClr val="E6E5E5"/>
              </a:solidFill>
            </c:spPr>
            <c:extLst>
              <c:ext xmlns:c16="http://schemas.microsoft.com/office/drawing/2014/chart" uri="{C3380CC4-5D6E-409C-BE32-E72D297353CC}">
                <c16:uniqueId val="{000000AD-B304-48C7-A242-C92C3BEFF2A4}"/>
              </c:ext>
            </c:extLst>
          </c:dPt>
          <c:dPt>
            <c:idx val="87"/>
            <c:invertIfNegative val="1"/>
            <c:bubble3D val="0"/>
            <c:spPr>
              <a:solidFill>
                <a:srgbClr val="E6E5E5"/>
              </a:solidFill>
            </c:spPr>
            <c:extLst>
              <c:ext xmlns:c16="http://schemas.microsoft.com/office/drawing/2014/chart" uri="{C3380CC4-5D6E-409C-BE32-E72D297353CC}">
                <c16:uniqueId val="{000000AF-B304-48C7-A242-C92C3BEFF2A4}"/>
              </c:ext>
            </c:extLst>
          </c:dPt>
          <c:dPt>
            <c:idx val="88"/>
            <c:invertIfNegative val="1"/>
            <c:bubble3D val="0"/>
            <c:spPr>
              <a:solidFill>
                <a:srgbClr val="E6E5E5"/>
              </a:solidFill>
            </c:spPr>
            <c:extLst>
              <c:ext xmlns:c16="http://schemas.microsoft.com/office/drawing/2014/chart" uri="{C3380CC4-5D6E-409C-BE32-E72D297353CC}">
                <c16:uniqueId val="{000000B1-B304-48C7-A242-C92C3BEFF2A4}"/>
              </c:ext>
            </c:extLst>
          </c:dPt>
          <c:dPt>
            <c:idx val="89"/>
            <c:invertIfNegative val="1"/>
            <c:bubble3D val="0"/>
            <c:spPr>
              <a:solidFill>
                <a:srgbClr val="E6E5E5"/>
              </a:solidFill>
            </c:spPr>
            <c:extLst>
              <c:ext xmlns:c16="http://schemas.microsoft.com/office/drawing/2014/chart" uri="{C3380CC4-5D6E-409C-BE32-E72D297353CC}">
                <c16:uniqueId val="{000000B3-B304-48C7-A242-C92C3BEFF2A4}"/>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B304-48C7-A242-C92C3BEFF2A4}"/>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B304-48C7-A242-C92C3BEFF2A4}"/>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B304-48C7-A242-C92C3BEFF2A4}"/>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B304-48C7-A242-C92C3BEFF2A4}"/>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B304-48C7-A242-C92C3BEFF2A4}"/>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B304-48C7-A242-C92C3BEFF2A4}"/>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B304-48C7-A242-C92C3BEFF2A4}"/>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B304-48C7-A242-C92C3BEFF2A4}"/>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B304-48C7-A242-C92C3BEFF2A4}"/>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B304-48C7-A242-C92C3BEFF2A4}"/>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B304-48C7-A242-C92C3BEFF2A4}"/>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B304-48C7-A242-C92C3BEFF2A4}"/>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B304-48C7-A242-C92C3BEFF2A4}"/>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B304-48C7-A242-C92C3BEFF2A4}"/>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B304-48C7-A242-C92C3BEFF2A4}"/>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B304-48C7-A242-C92C3BEFF2A4}"/>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B304-48C7-A242-C92C3BEFF2A4}"/>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B304-48C7-A242-C92C3BEFF2A4}"/>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B304-48C7-A242-C92C3BEFF2A4}"/>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B304-48C7-A242-C92C3BEFF2A4}"/>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B304-48C7-A242-C92C3BEFF2A4}"/>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B304-48C7-A242-C92C3BEFF2A4}"/>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B304-48C7-A242-C92C3BEFF2A4}"/>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B304-48C7-A242-C92C3BEFF2A4}"/>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B304-48C7-A242-C92C3BEFF2A4}"/>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B304-48C7-A242-C92C3BEFF2A4}"/>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B304-48C7-A242-C92C3BEFF2A4}"/>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B304-48C7-A242-C92C3BEFF2A4}"/>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B304-48C7-A242-C92C3BEFF2A4}"/>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B304-48C7-A242-C92C3BEFF2A4}"/>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B304-48C7-A242-C92C3BEFF2A4}"/>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B304-48C7-A242-C92C3BEFF2A4}"/>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B304-48C7-A242-C92C3BEFF2A4}"/>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B304-48C7-A242-C92C3BEFF2A4}"/>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B304-48C7-A242-C92C3BEFF2A4}"/>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B304-48C7-A242-C92C3BEFF2A4}"/>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B304-48C7-A242-C92C3BEFF2A4}"/>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B304-48C7-A242-C92C3BEFF2A4}"/>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B304-48C7-A242-C92C3BEFF2A4}"/>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B304-48C7-A242-C92C3BEFF2A4}"/>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B304-48C7-A242-C92C3BEFF2A4}"/>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B304-48C7-A242-C92C3BEFF2A4}"/>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B304-48C7-A242-C92C3BEFF2A4}"/>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B304-48C7-A242-C92C3BEFF2A4}"/>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B304-48C7-A242-C92C3BEFF2A4}"/>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B304-48C7-A242-C92C3BEFF2A4}"/>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B304-48C7-A242-C92C3BEFF2A4}"/>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B304-48C7-A242-C92C3BEFF2A4}"/>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B304-48C7-A242-C92C3BEFF2A4}"/>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B304-48C7-A242-C92C3BEFF2A4}"/>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B304-48C7-A242-C92C3BEFF2A4}"/>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B304-48C7-A242-C92C3BEFF2A4}"/>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B304-48C7-A242-C92C3BEFF2A4}"/>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B304-48C7-A242-C92C3BEFF2A4}"/>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B304-48C7-A242-C92C3BEFF2A4}"/>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B304-48C7-A242-C92C3BEFF2A4}"/>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B304-48C7-A242-C92C3BEFF2A4}"/>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B304-48C7-A242-C92C3BEFF2A4}"/>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B304-48C7-A242-C92C3BEFF2A4}"/>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B304-48C7-A242-C92C3BEFF2A4}"/>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B304-48C7-A242-C92C3BEFF2A4}"/>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B304-48C7-A242-C92C3BEFF2A4}"/>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B304-48C7-A242-C92C3BEFF2A4}"/>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B304-48C7-A242-C92C3BEFF2A4}"/>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B304-48C7-A242-C92C3BEFF2A4}"/>
                </c:ext>
              </c:extLst>
            </c:dLbl>
            <c:dLbl>
              <c:idx val="6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B304-48C7-A242-C92C3BEFF2A4}"/>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B304-48C7-A242-C92C3BEFF2A4}"/>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B304-48C7-A242-C92C3BEFF2A4}"/>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B304-48C7-A242-C92C3BEFF2A4}"/>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B304-48C7-A242-C92C3BEFF2A4}"/>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B304-48C7-A242-C92C3BEFF2A4}"/>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B304-48C7-A242-C92C3BEFF2A4}"/>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B304-48C7-A242-C92C3BEFF2A4}"/>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B304-48C7-A242-C92C3BEFF2A4}"/>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B304-48C7-A242-C92C3BEFF2A4}"/>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B304-48C7-A242-C92C3BEFF2A4}"/>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B304-48C7-A242-C92C3BEFF2A4}"/>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B304-48C7-A242-C92C3BEFF2A4}"/>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B304-48C7-A242-C92C3BEFF2A4}"/>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B304-48C7-A242-C92C3BEFF2A4}"/>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B304-48C7-A242-C92C3BEFF2A4}"/>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B304-48C7-A242-C92C3BEFF2A4}"/>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B304-48C7-A242-C92C3BEFF2A4}"/>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B304-48C7-A242-C92C3BEFF2A4}"/>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B304-48C7-A242-C92C3BEFF2A4}"/>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B304-48C7-A242-C92C3BEFF2A4}"/>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B304-48C7-A242-C92C3BEFF2A4}"/>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B304-48C7-A242-C92C3BEFF2A4}"/>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B304-48C7-A242-C92C3BEFF2A4}"/>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9</c:f>
              <c:strCache>
                <c:ptCount val="78"/>
                <c:pt idx="0">
                  <c:v>Galaxy Jewels 1.4kg</c:v>
                </c:pt>
                <c:pt idx="1">
                  <c:v>Ferrero Rocher 300g</c:v>
                </c:pt>
                <c:pt idx="2">
                  <c:v>Galaxy Smooth Milk Chocolate 36g x 24</c:v>
                </c:pt>
                <c:pt idx="3">
                  <c:v>Galaxy Jewels 900g</c:v>
                </c:pt>
                <c:pt idx="4">
                  <c:v>Galaxy Jewels 650g</c:v>
                </c:pt>
                <c:pt idx="5">
                  <c:v>Cadbury Dairy Milk Minis Selection 500g</c:v>
                </c:pt>
                <c:pt idx="6">
                  <c:v>Kit Kat 17.7g x 18</c:v>
                </c:pt>
                <c:pt idx="7">
                  <c:v>Kinder Bueno Milk&amp;Hazelnut 43g</c:v>
                </c:pt>
                <c:pt idx="8">
                  <c:v>Tiffany Break Supa 38gx12</c:v>
                </c:pt>
                <c:pt idx="9">
                  <c:v>Snickers 50gx6</c:v>
                </c:pt>
                <c:pt idx="10">
                  <c:v>Tiffany Break 24x15.5g</c:v>
                </c:pt>
                <c:pt idx="11">
                  <c:v>Tiffany Break Mini Fun 384g</c:v>
                </c:pt>
                <c:pt idx="12">
                  <c:v>Kinder Bueno Milk&amp;Hazelnut 43gx10</c:v>
                </c:pt>
                <c:pt idx="13">
                  <c:v>Mackintosh Quality Street Chocolate 600g</c:v>
                </c:pt>
                <c:pt idx="14">
                  <c:v>Snickers Bar 50g</c:v>
                </c:pt>
                <c:pt idx="15">
                  <c:v>Maltesers Chocolate 175g</c:v>
                </c:pt>
                <c:pt idx="16">
                  <c:v>Tiffany Break 31gx12</c:v>
                </c:pt>
                <c:pt idx="17">
                  <c:v>Tiffany Break Delight 25gx12</c:v>
                </c:pt>
                <c:pt idx="18">
                  <c:v>Snickers Minis Bag 252g</c:v>
                </c:pt>
                <c:pt idx="19">
                  <c:v>Cadbury Miniatures Box 400g</c:v>
                </c:pt>
                <c:pt idx="20">
                  <c:v>Bounty Bar 57g</c:v>
                </c:pt>
                <c:pt idx="21">
                  <c:v>Galaxy Smooth Milk Minis 237.5g</c:v>
                </c:pt>
                <c:pt idx="22">
                  <c:v>Bounty Bar 57g x 5</c:v>
                </c:pt>
                <c:pt idx="23">
                  <c:v>Ferrero Rocher 200g</c:v>
                </c:pt>
                <c:pt idx="24">
                  <c:v>Kinder Maxi Chocolate 21gx11 (10+1)</c:v>
                </c:pt>
                <c:pt idx="25">
                  <c:v>Ferrero Raffaello 150g box </c:v>
                </c:pt>
                <c:pt idx="26">
                  <c:v>Galaxy Hazelnut Minis 237.5g</c:v>
                </c:pt>
                <c:pt idx="27">
                  <c:v>Twix 50gx5</c:v>
                </c:pt>
                <c:pt idx="28">
                  <c:v>Twix Bar 50g</c:v>
                </c:pt>
                <c:pt idx="29">
                  <c:v>Maltesers Chocolate 37g</c:v>
                </c:pt>
                <c:pt idx="30">
                  <c:v>Snickers Miniatures 150g</c:v>
                </c:pt>
                <c:pt idx="31">
                  <c:v>Cadbury Flake Minis Bag 159.5g</c:v>
                </c:pt>
                <c:pt idx="32">
                  <c:v>M&amp;M's Peanut 165g</c:v>
                </c:pt>
                <c:pt idx="33">
                  <c:v>Twix Miniatures 150g</c:v>
                </c:pt>
                <c:pt idx="34">
                  <c:v>Cadbury Timeout Minis Wafer 247.2g</c:v>
                </c:pt>
                <c:pt idx="35">
                  <c:v>Toblerone Milk Chocolate 200g</c:v>
                </c:pt>
                <c:pt idx="36">
                  <c:v>Galaxy Smooth Milk Minis 162.5g</c:v>
                </c:pt>
                <c:pt idx="37">
                  <c:v>Mars 45g x 6</c:v>
                </c:pt>
                <c:pt idx="38">
                  <c:v>Bounty Miniatures 150g</c:v>
                </c:pt>
                <c:pt idx="39">
                  <c:v>Kinder Chocolate Bar 8x12.5g</c:v>
                </c:pt>
                <c:pt idx="40">
                  <c:v>Galaxy Smooth Dark Chocolate 40g</c:v>
                </c:pt>
                <c:pt idx="41">
                  <c:v>Mars Bar 51g </c:v>
                </c:pt>
                <c:pt idx="42">
                  <c:v>Hershey's Kisses Special Selection Assorted 325g</c:v>
                </c:pt>
                <c:pt idx="43">
                  <c:v>Galaxy Hazelnut Chocolate 36g</c:v>
                </c:pt>
                <c:pt idx="44">
                  <c:v>Galaxy Smooth Milk Chocolate 36g</c:v>
                </c:pt>
                <c:pt idx="45">
                  <c:v>Galaxy Caramel Bar 40g</c:v>
                </c:pt>
                <c:pt idx="46">
                  <c:v>Kinder Chocolate Bar 50g</c:v>
                </c:pt>
                <c:pt idx="47">
                  <c:v>Kinder Bueno White 39g</c:v>
                </c:pt>
                <c:pt idx="48">
                  <c:v>Hershey's Kisses Classic Selection Assorted 325g</c:v>
                </c:pt>
                <c:pt idx="49">
                  <c:v>Galaxy Crispy Milk Chocolate 36g</c:v>
                </c:pt>
                <c:pt idx="50">
                  <c:v> Reeses Peanut Butter Cup Mini 340g </c:v>
                </c:pt>
                <c:pt idx="51">
                  <c:v>Kit Kat 17.7g</c:v>
                </c:pt>
                <c:pt idx="52">
                  <c:v> Reeses Peanut Butter Cup 42g x 6</c:v>
                </c:pt>
                <c:pt idx="53">
                  <c:v>Reeses Peanut Butter Cups 46g</c:v>
                </c:pt>
                <c:pt idx="54">
                  <c:v>Reeses Peanut Butter Cup Mini 215g</c:v>
                </c:pt>
                <c:pt idx="55">
                  <c:v>M&amp;M's Milk Chocolate 30.6g</c:v>
                </c:pt>
                <c:pt idx="56">
                  <c:v>Godiva Double Chocolate Bar 35g</c:v>
                </c:pt>
                <c:pt idx="57">
                  <c:v>Hershey's Cookies 'n Creme 40Gx 4</c:v>
                </c:pt>
                <c:pt idx="58">
                  <c:v>Galaxy Smooth Milk Chocolate 80g</c:v>
                </c:pt>
                <c:pt idx="59">
                  <c:v>Galaxy Ripple Bar 33g</c:v>
                </c:pt>
                <c:pt idx="60">
                  <c:v>Hershey's Chocobites Cookies 'n Creme 90g</c:v>
                </c:pt>
                <c:pt idx="61">
                  <c:v>Hershey's Kisses Special Selection Assorted 100g</c:v>
                </c:pt>
                <c:pt idx="62">
                  <c:v>Hershey's Chocobites Salted Caramel 81g</c:v>
                </c:pt>
                <c:pt idx="63">
                  <c:v>Hershey's Cookies N' Chocolate 40g</c:v>
                </c:pt>
                <c:pt idx="64">
                  <c:v>Reeses Block 90g</c:v>
                </c:pt>
                <c:pt idx="65">
                  <c:v>Reeses Nut Bar 47g</c:v>
                </c:pt>
                <c:pt idx="66">
                  <c:v>Hershey's Kisses Classic Selection Assorted 100g</c:v>
                </c:pt>
                <c:pt idx="67">
                  <c:v>Hershey's Cookies N' Crème 12.76g</c:v>
                </c:pt>
                <c:pt idx="68">
                  <c:v> Reeses Wafer Sticks 42g</c:v>
                </c:pt>
                <c:pt idx="69">
                  <c:v>Hershey's Choco Tubes Cookies N' Creme 18g</c:v>
                </c:pt>
                <c:pt idx="70">
                  <c:v>Reeses Pieces 180g</c:v>
                </c:pt>
                <c:pt idx="71">
                  <c:v>Reeses Mini King Size 71g</c:v>
                </c:pt>
                <c:pt idx="72">
                  <c:v>Hershey's Cookies 'n Creme Creations Salted Caramel 38g</c:v>
                </c:pt>
                <c:pt idx="73">
                  <c:v>Hershey's Cookies 'n Creme Block 90g</c:v>
                </c:pt>
                <c:pt idx="74">
                  <c:v> Reeses Peanut Butter Cup Mini 500G</c:v>
                </c:pt>
                <c:pt idx="75">
                  <c:v>Hersheys Kisses Classic Selection Assorted 600G</c:v>
                </c:pt>
                <c:pt idx="76">
                  <c:v>Hershey's Variety Pack 40Gx3</c:v>
                </c:pt>
                <c:pt idx="77">
                  <c:v>Reeses Fast break 51g</c:v>
                </c:pt>
              </c:strCache>
            </c:strRef>
          </c:cat>
          <c:val>
            <c:numRef>
              <c:f>Sheet1!$B$2:$B$79</c:f>
              <c:numCache>
                <c:formatCode>General</c:formatCode>
                <c:ptCount val="78"/>
                <c:pt idx="0">
                  <c:v>8.7043629382212662E-2</c:v>
                </c:pt>
                <c:pt idx="1">
                  <c:v>5.7448254219214227E-2</c:v>
                </c:pt>
                <c:pt idx="2">
                  <c:v>5.2318988778503661E-2</c:v>
                </c:pt>
                <c:pt idx="3">
                  <c:v>5.2256472326913307E-2</c:v>
                </c:pt>
                <c:pt idx="4">
                  <c:v>4.8584225656166963E-2</c:v>
                </c:pt>
                <c:pt idx="5">
                  <c:v>3.9680743757639463E-2</c:v>
                </c:pt>
                <c:pt idx="6">
                  <c:v>2.9190658329038801E-2</c:v>
                </c:pt>
                <c:pt idx="7">
                  <c:v>2.7681917689682881E-2</c:v>
                </c:pt>
                <c:pt idx="8">
                  <c:v>2.513899586928656E-2</c:v>
                </c:pt>
                <c:pt idx="9">
                  <c:v>2.4890536077445059E-2</c:v>
                </c:pt>
                <c:pt idx="10">
                  <c:v>2.4344382000445201E-2</c:v>
                </c:pt>
                <c:pt idx="11">
                  <c:v>2.4239521796033451E-2</c:v>
                </c:pt>
                <c:pt idx="12">
                  <c:v>2.25895581009995E-2</c:v>
                </c:pt>
                <c:pt idx="13">
                  <c:v>2.2261008252674359E-2</c:v>
                </c:pt>
                <c:pt idx="14">
                  <c:v>2.1303629133662901E-2</c:v>
                </c:pt>
                <c:pt idx="15">
                  <c:v>2.0930028427272349E-2</c:v>
                </c:pt>
                <c:pt idx="16">
                  <c:v>2.0722378953069099E-2</c:v>
                </c:pt>
                <c:pt idx="17">
                  <c:v>1.79402528779639E-2</c:v>
                </c:pt>
                <c:pt idx="18">
                  <c:v>1.6768501477137959E-2</c:v>
                </c:pt>
                <c:pt idx="19">
                  <c:v>1.5907968576700571E-2</c:v>
                </c:pt>
                <c:pt idx="20">
                  <c:v>1.5132426772325959E-2</c:v>
                </c:pt>
                <c:pt idx="21">
                  <c:v>1.457716780008899E-2</c:v>
                </c:pt>
                <c:pt idx="22">
                  <c:v>1.428979902205051E-2</c:v>
                </c:pt>
                <c:pt idx="23">
                  <c:v>1.4260023753352421E-2</c:v>
                </c:pt>
                <c:pt idx="24">
                  <c:v>1.4242653495047679E-2</c:v>
                </c:pt>
                <c:pt idx="25">
                  <c:v>1.4009948484647721E-2</c:v>
                </c:pt>
                <c:pt idx="26">
                  <c:v>1.327189776630075E-2</c:v>
                </c:pt>
                <c:pt idx="27">
                  <c:v>1.277080676064834E-2</c:v>
                </c:pt>
                <c:pt idx="28">
                  <c:v>1.154686376230785E-2</c:v>
                </c:pt>
                <c:pt idx="29">
                  <c:v>1.1356802272850099E-2</c:v>
                </c:pt>
                <c:pt idx="30">
                  <c:v>1.083713462610989E-2</c:v>
                </c:pt>
                <c:pt idx="31">
                  <c:v>1.0457247446923411E-2</c:v>
                </c:pt>
                <c:pt idx="32">
                  <c:v>1.0406169475892761E-2</c:v>
                </c:pt>
                <c:pt idx="33">
                  <c:v>1.019402791157778E-2</c:v>
                </c:pt>
                <c:pt idx="34">
                  <c:v>9.9678416198208646E-3</c:v>
                </c:pt>
                <c:pt idx="35">
                  <c:v>9.6601873747323187E-3</c:v>
                </c:pt>
                <c:pt idx="36">
                  <c:v>9.3903672027461412E-3</c:v>
                </c:pt>
                <c:pt idx="37">
                  <c:v>8.0659148911814693E-3</c:v>
                </c:pt>
                <c:pt idx="38">
                  <c:v>7.5338492821987197E-3</c:v>
                </c:pt>
                <c:pt idx="39">
                  <c:v>7.4340972771401804E-3</c:v>
                </c:pt>
                <c:pt idx="40">
                  <c:v>7.2228964784393666E-3</c:v>
                </c:pt>
                <c:pt idx="41">
                  <c:v>7.1647097013926584E-3</c:v>
                </c:pt>
                <c:pt idx="42">
                  <c:v>6.7417978009267987E-3</c:v>
                </c:pt>
                <c:pt idx="43">
                  <c:v>6.6461212904450192E-3</c:v>
                </c:pt>
                <c:pt idx="44">
                  <c:v>6.5873687630741886E-3</c:v>
                </c:pt>
                <c:pt idx="45">
                  <c:v>6.1105982334485687E-3</c:v>
                </c:pt>
                <c:pt idx="46">
                  <c:v>5.442700859727416E-3</c:v>
                </c:pt>
                <c:pt idx="47">
                  <c:v>5.4377176631436683E-3</c:v>
                </c:pt>
                <c:pt idx="48">
                  <c:v>5.0533333079540556E-3</c:v>
                </c:pt>
                <c:pt idx="49">
                  <c:v>4.8781338061636894E-3</c:v>
                </c:pt>
                <c:pt idx="50">
                  <c:v>4.8118320644420761E-3</c:v>
                </c:pt>
                <c:pt idx="51">
                  <c:v>4.754758877646573E-3</c:v>
                </c:pt>
                <c:pt idx="52">
                  <c:v>4.6018435860742616E-3</c:v>
                </c:pt>
                <c:pt idx="53">
                  <c:v>4.5036988919860462E-3</c:v>
                </c:pt>
                <c:pt idx="54">
                  <c:v>4.3867982266635082E-3</c:v>
                </c:pt>
                <c:pt idx="55">
                  <c:v>4.0218340674676974E-3</c:v>
                </c:pt>
                <c:pt idx="56">
                  <c:v>3.9201710183767091E-3</c:v>
                </c:pt>
                <c:pt idx="57">
                  <c:v>3.7061900184166409E-3</c:v>
                </c:pt>
                <c:pt idx="58">
                  <c:v>3.4958916104209938E-3</c:v>
                </c:pt>
                <c:pt idx="59">
                  <c:v>3.3190896613840659E-3</c:v>
                </c:pt>
                <c:pt idx="60">
                  <c:v>2.6956154020616259E-3</c:v>
                </c:pt>
                <c:pt idx="61">
                  <c:v>2.53527750664386E-3</c:v>
                </c:pt>
                <c:pt idx="62">
                  <c:v>2.4278900283566068E-3</c:v>
                </c:pt>
                <c:pt idx="63">
                  <c:v>2.425599799364974E-3</c:v>
                </c:pt>
                <c:pt idx="64">
                  <c:v>2.1535528869782322E-3</c:v>
                </c:pt>
                <c:pt idx="65">
                  <c:v>1.655361952609545E-3</c:v>
                </c:pt>
                <c:pt idx="66">
                  <c:v>1.5256000407128469E-3</c:v>
                </c:pt>
                <c:pt idx="67">
                  <c:v>7.824108492337985E-4</c:v>
                </c:pt>
                <c:pt idx="68">
                  <c:v>2.7146164527440977E-4</c:v>
                </c:pt>
                <c:pt idx="69">
                  <c:v>7.2865281163403636E-5</c:v>
                </c:pt>
                <c:pt idx="70">
                  <c:v>0</c:v>
                </c:pt>
                <c:pt idx="71">
                  <c:v>0</c:v>
                </c:pt>
                <c:pt idx="72">
                  <c:v>0</c:v>
                </c:pt>
                <c:pt idx="73">
                  <c:v>0</c:v>
                </c:pt>
                <c:pt idx="74">
                  <c:v>0</c:v>
                </c:pt>
                <c:pt idx="75">
                  <c:v>0</c:v>
                </c:pt>
                <c:pt idx="76">
                  <c:v>0</c:v>
                </c:pt>
                <c:pt idx="77">
                  <c:v>0</c:v>
                </c:pt>
              </c:numCache>
            </c:numRef>
          </c:val>
          <c:extLst>
            <c:ext xmlns:c16="http://schemas.microsoft.com/office/drawing/2014/chart" uri="{C3380CC4-5D6E-409C-BE32-E72D297353CC}">
              <c16:uniqueId val="{000000B4-B304-48C7-A242-C92C3BEFF2A4}"/>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0394200792521906E-4"/>
          <c:y val="0.20622021774250399"/>
          <c:w val="1"/>
          <c:h val="0.56327256970466644"/>
        </c:manualLayout>
      </c:layout>
      <c:barChart>
        <c:barDir val="col"/>
        <c:grouping val="clustered"/>
        <c:varyColors val="0"/>
        <c:ser>
          <c:idx val="0"/>
          <c:order val="0"/>
          <c:tx>
            <c:strRef>
              <c:f>Sheet1!$B$1</c:f>
              <c:strCache>
                <c:ptCount val="1"/>
                <c:pt idx="0">
                  <c:v>Hershey's Share Index</c:v>
                </c:pt>
              </c:strCache>
            </c:strRef>
          </c:tx>
          <c:spPr>
            <a:solidFill>
              <a:schemeClr val="bg2"/>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Hershey's Cookies 'n Creme Block 90g @7.95</c:v>
                </c:pt>
                <c:pt idx="1">
                  <c:v>Hershey's Cookies 'n Creme Creations Salted Caramel 38g @3.95</c:v>
                </c:pt>
                <c:pt idx="2">
                  <c:v>Hershey's Cookies 'n Creme 40Gx 4 @12.95</c:v>
                </c:pt>
                <c:pt idx="3">
                  <c:v>Hershey's Cookies 'n Creme Block</c:v>
                </c:pt>
                <c:pt idx="4">
                  <c:v>Hershey's Cookies 'n Creme Creations Salted Caramel</c:v>
                </c:pt>
                <c:pt idx="5">
                  <c:v>Hershey's Cookies 'n Creme 40Gx</c:v>
                </c:pt>
              </c:strCache>
            </c:strRef>
          </c:cat>
          <c:val>
            <c:numRef>
              <c:f>Sheet1!$B$2:$B$7</c:f>
              <c:numCache>
                <c:formatCode>General</c:formatCode>
                <c:ptCount val="6"/>
                <c:pt idx="0">
                  <c:v>107.1841727484326</c:v>
                </c:pt>
                <c:pt idx="1">
                  <c:v>111.8359678010378</c:v>
                </c:pt>
                <c:pt idx="2">
                  <c:v>99.165790580041318</c:v>
                </c:pt>
                <c:pt idx="3">
                  <c:v>107.1841727484326</c:v>
                </c:pt>
                <c:pt idx="4">
                  <c:v>111.8359678010378</c:v>
                </c:pt>
                <c:pt idx="5">
                  <c:v>99.165790580041318</c:v>
                </c:pt>
              </c:numCache>
            </c:numRef>
          </c:val>
          <c:extLst>
            <c:ext xmlns:c16="http://schemas.microsoft.com/office/drawing/2014/chart" uri="{C3380CC4-5D6E-409C-BE32-E72D297353CC}">
              <c16:uniqueId val="{00000000-D080-41A7-8C04-868D2B1CA00A}"/>
            </c:ext>
          </c:extLst>
        </c:ser>
        <c:ser>
          <c:idx val="1"/>
          <c:order val="1"/>
          <c:tx>
            <c:strRef>
              <c:f>Sheet1!$C$1</c:f>
              <c:strCache>
                <c:ptCount val="1"/>
                <c:pt idx="0">
                  <c:v>Hershey's Value Index</c:v>
                </c:pt>
              </c:strCache>
            </c:strRef>
          </c:tx>
          <c:spPr>
            <a:solidFill>
              <a:schemeClr val="tx2">
                <a:lumMod val="40000"/>
                <a:lumOff val="60000"/>
              </a:schemeClr>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Hershey's Cookies 'n Creme Block 90g @7.95</c:v>
                </c:pt>
                <c:pt idx="1">
                  <c:v>Hershey's Cookies 'n Creme Creations Salted Caramel 38g @3.95</c:v>
                </c:pt>
                <c:pt idx="2">
                  <c:v>Hershey's Cookies 'n Creme 40Gx 4 @12.95</c:v>
                </c:pt>
                <c:pt idx="3">
                  <c:v>Hershey's Cookies 'n Creme Block</c:v>
                </c:pt>
                <c:pt idx="4">
                  <c:v>Hershey's Cookies 'n Creme Creations Salted Caramel</c:v>
                </c:pt>
                <c:pt idx="5">
                  <c:v>Hershey's Cookies 'n Creme 40Gx</c:v>
                </c:pt>
              </c:strCache>
            </c:strRef>
          </c:cat>
          <c:val>
            <c:numRef>
              <c:f>Sheet1!$C$2:$C$7</c:f>
              <c:numCache>
                <c:formatCode>General</c:formatCode>
                <c:ptCount val="6"/>
                <c:pt idx="0">
                  <c:v>113.1472494991506</c:v>
                </c:pt>
                <c:pt idx="1">
                  <c:v>110.43492004860251</c:v>
                </c:pt>
                <c:pt idx="2">
                  <c:v>99.144606754943084</c:v>
                </c:pt>
                <c:pt idx="3">
                  <c:v>113.1472494991506</c:v>
                </c:pt>
                <c:pt idx="4">
                  <c:v>110.43492004860251</c:v>
                </c:pt>
                <c:pt idx="5">
                  <c:v>99.144606754943084</c:v>
                </c:pt>
              </c:numCache>
            </c:numRef>
          </c:val>
          <c:extLst>
            <c:ext xmlns:c16="http://schemas.microsoft.com/office/drawing/2014/chart" uri="{C3380CC4-5D6E-409C-BE32-E72D297353CC}">
              <c16:uniqueId val="{00000002-D080-41A7-8C04-868D2B1CA00A}"/>
            </c:ext>
          </c:extLst>
        </c:ser>
        <c:ser>
          <c:idx val="2"/>
          <c:order val="2"/>
          <c:tx>
            <c:strRef>
              <c:f>Sheet1!$D$1</c:f>
              <c:strCache>
                <c:ptCount val="1"/>
                <c:pt idx="0">
                  <c:v>Hershey's Gross Profit index</c:v>
                </c:pt>
              </c:strCache>
            </c:strRef>
          </c:tx>
          <c:spPr>
            <a:solidFill>
              <a:schemeClr val="bg2">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Hershey's Cookies 'n Creme Block 90g @7.95</c:v>
                </c:pt>
                <c:pt idx="1">
                  <c:v>Hershey's Cookies 'n Creme Creations Salted Caramel 38g @3.95</c:v>
                </c:pt>
                <c:pt idx="2">
                  <c:v>Hershey's Cookies 'n Creme 40Gx 4 @12.95</c:v>
                </c:pt>
                <c:pt idx="3">
                  <c:v>Hershey's Cookies 'n Creme Block</c:v>
                </c:pt>
                <c:pt idx="4">
                  <c:v>Hershey's Cookies 'n Creme Creations Salted Caramel</c:v>
                </c:pt>
                <c:pt idx="5">
                  <c:v>Hershey's Cookies 'n Creme 40Gx</c:v>
                </c:pt>
              </c:strCache>
            </c:strRef>
          </c:cat>
          <c:val>
            <c:numRef>
              <c:f>Sheet1!$D$2:$D$7</c:f>
              <c:numCache>
                <c:formatCode>General</c:formatCode>
                <c:ptCount val="6"/>
                <c:pt idx="0">
                  <c:v>119.28565403285531</c:v>
                </c:pt>
                <c:pt idx="1">
                  <c:v>115.6285998391443</c:v>
                </c:pt>
                <c:pt idx="2">
                  <c:v>99.13410097191705</c:v>
                </c:pt>
                <c:pt idx="3">
                  <c:v>119.28565403285531</c:v>
                </c:pt>
                <c:pt idx="4">
                  <c:v>115.6285998391443</c:v>
                </c:pt>
                <c:pt idx="5">
                  <c:v>99.13410097191705</c:v>
                </c:pt>
              </c:numCache>
            </c:numRef>
          </c:val>
          <c:extLst>
            <c:ext xmlns:c16="http://schemas.microsoft.com/office/drawing/2014/chart" uri="{C3380CC4-5D6E-409C-BE32-E72D297353CC}">
              <c16:uniqueId val="{00000001-411D-427A-A52A-9AF5CF5FA7C2}"/>
            </c:ext>
          </c:extLst>
        </c:ser>
        <c:dLbls>
          <c:dLblPos val="inEnd"/>
          <c:showLegendKey val="0"/>
          <c:showVal val="1"/>
          <c:showCatName val="0"/>
          <c:showSerName val="0"/>
          <c:showPercent val="0"/>
          <c:showBubbleSize val="0"/>
        </c:dLbls>
        <c:gapWidth val="50"/>
        <c:axId val="2065605344"/>
        <c:axId val="2065599520"/>
      </c:barChart>
      <c:catAx>
        <c:axId val="2065605344"/>
        <c:scaling>
          <c:orientation val="minMax"/>
        </c:scaling>
        <c:delete val="0"/>
        <c:axPos val="b"/>
        <c:numFmt formatCode="General" sourceLinked="1"/>
        <c:majorTickMark val="none"/>
        <c:minorTickMark val="none"/>
        <c:tickLblPos val="low"/>
        <c:spPr>
          <a:noFill/>
          <a:ln w="9525" cap="flat" cmpd="sng" algn="ctr">
            <a:noFill/>
            <a:round/>
          </a:ln>
          <a:effectLst/>
        </c:spPr>
        <c:txPr>
          <a:bodyPr rot="-6000000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Open Sans" panose="020B0604020202020204" charset="0"/>
                <a:cs typeface="Open Sans" panose="020B0604020202020204" charset="0"/>
              </a:defRPr>
            </a:pPr>
            <a:endParaRPr lang="en-CH"/>
          </a:p>
        </c:txPr>
        <c:crossAx val="2065599520"/>
        <c:crosses val="autoZero"/>
        <c:auto val="1"/>
        <c:lblAlgn val="ctr"/>
        <c:lblOffset val="100"/>
        <c:noMultiLvlLbl val="0"/>
      </c:catAx>
      <c:valAx>
        <c:axId val="2065599520"/>
        <c:scaling>
          <c:orientation val="minMax"/>
        </c:scaling>
        <c:delete val="1"/>
        <c:axPos val="l"/>
        <c:numFmt formatCode="General" sourceLinked="1"/>
        <c:majorTickMark val="out"/>
        <c:minorTickMark val="none"/>
        <c:tickLblPos val="nextTo"/>
        <c:crossAx val="2065605344"/>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4020202020204" charset="0"/>
              <a:cs typeface="Open Sans" panose="020B0604020202020204" charset="0"/>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Open Sans" panose="020B0604020202020204" charset="0"/>
          <a:ea typeface="Open Sans" panose="020B0604020202020204" charset="0"/>
          <a:cs typeface="Open Sans" panose="020B0604020202020204" charset="0"/>
        </a:defRPr>
      </a:pPr>
      <a:endParaRPr lang="en-CH"/>
    </a:p>
  </c:txPr>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39466813932E-2"/>
          <c:y val="8.0536282863718032E-3"/>
          <c:w val="0.96518562554386689"/>
          <c:h val="0.98008834615658758"/>
        </c:manualLayout>
      </c:layout>
      <c:barChart>
        <c:barDir val="bar"/>
        <c:grouping val="clustered"/>
        <c:varyColors val="0"/>
        <c:ser>
          <c:idx val="2"/>
          <c:order val="0"/>
          <c:tx>
            <c:strRef>
              <c:f>Sheet1!$B$1</c:f>
              <c:strCache>
                <c:ptCount val="1"/>
                <c:pt idx="0">
                  <c:v>Hershey's Cookies 'n Creme Block 90g</c:v>
                </c:pt>
              </c:strCache>
            </c:strRef>
          </c:tx>
          <c:spPr>
            <a:solidFill>
              <a:srgbClr val="E6E5E5"/>
            </a:solidFill>
            <a:ln w="9525" cap="flat" cmpd="sng" algn="ctr">
              <a:noFill/>
              <a:round/>
            </a:ln>
            <a:effectLst/>
          </c:spPr>
          <c:invertIfNegative val="0"/>
          <c:dPt>
            <c:idx val="0"/>
            <c:invertIfNegative val="1"/>
            <c:bubble3D val="0"/>
            <c:spPr>
              <a:solidFill>
                <a:srgbClr val="E6E5E5"/>
              </a:solidFill>
            </c:spPr>
            <c:extLst>
              <c:ext xmlns:c16="http://schemas.microsoft.com/office/drawing/2014/chart" uri="{C3380CC4-5D6E-409C-BE32-E72D297353CC}">
                <c16:uniqueId val="{00000001-A16F-412C-84B5-C6CF2DB60E7E}"/>
              </c:ext>
            </c:extLst>
          </c:dPt>
          <c:dPt>
            <c:idx val="1"/>
            <c:invertIfNegative val="1"/>
            <c:bubble3D val="0"/>
            <c:spPr>
              <a:solidFill>
                <a:srgbClr val="E6E5E5"/>
              </a:solidFill>
            </c:spPr>
            <c:extLst>
              <c:ext xmlns:c16="http://schemas.microsoft.com/office/drawing/2014/chart" uri="{C3380CC4-5D6E-409C-BE32-E72D297353CC}">
                <c16:uniqueId val="{00000003-A16F-412C-84B5-C6CF2DB60E7E}"/>
              </c:ext>
            </c:extLst>
          </c:dPt>
          <c:dPt>
            <c:idx val="2"/>
            <c:invertIfNegative val="1"/>
            <c:bubble3D val="0"/>
            <c:spPr>
              <a:solidFill>
                <a:srgbClr val="E6E5E5"/>
              </a:solidFill>
            </c:spPr>
            <c:extLst>
              <c:ext xmlns:c16="http://schemas.microsoft.com/office/drawing/2014/chart" uri="{C3380CC4-5D6E-409C-BE32-E72D297353CC}">
                <c16:uniqueId val="{00000005-A16F-412C-84B5-C6CF2DB60E7E}"/>
              </c:ext>
            </c:extLst>
          </c:dPt>
          <c:dPt>
            <c:idx val="3"/>
            <c:invertIfNegative val="1"/>
            <c:bubble3D val="0"/>
            <c:spPr>
              <a:solidFill>
                <a:srgbClr val="E6E5E5"/>
              </a:solidFill>
            </c:spPr>
            <c:extLst>
              <c:ext xmlns:c16="http://schemas.microsoft.com/office/drawing/2014/chart" uri="{C3380CC4-5D6E-409C-BE32-E72D297353CC}">
                <c16:uniqueId val="{00000007-A16F-412C-84B5-C6CF2DB60E7E}"/>
              </c:ext>
            </c:extLst>
          </c:dPt>
          <c:dPt>
            <c:idx val="4"/>
            <c:invertIfNegative val="1"/>
            <c:bubble3D val="0"/>
            <c:spPr>
              <a:solidFill>
                <a:srgbClr val="E6E5E5"/>
              </a:solidFill>
            </c:spPr>
            <c:extLst>
              <c:ext xmlns:c16="http://schemas.microsoft.com/office/drawing/2014/chart" uri="{C3380CC4-5D6E-409C-BE32-E72D297353CC}">
                <c16:uniqueId val="{00000009-A16F-412C-84B5-C6CF2DB60E7E}"/>
              </c:ext>
            </c:extLst>
          </c:dPt>
          <c:dPt>
            <c:idx val="5"/>
            <c:invertIfNegative val="1"/>
            <c:bubble3D val="0"/>
            <c:spPr>
              <a:solidFill>
                <a:srgbClr val="E6E5E5"/>
              </a:solidFill>
            </c:spPr>
            <c:extLst>
              <c:ext xmlns:c16="http://schemas.microsoft.com/office/drawing/2014/chart" uri="{C3380CC4-5D6E-409C-BE32-E72D297353CC}">
                <c16:uniqueId val="{0000000B-A16F-412C-84B5-C6CF2DB60E7E}"/>
              </c:ext>
            </c:extLst>
          </c:dPt>
          <c:dPt>
            <c:idx val="6"/>
            <c:invertIfNegative val="1"/>
            <c:bubble3D val="0"/>
            <c:spPr>
              <a:solidFill>
                <a:srgbClr val="E6E5E5"/>
              </a:solidFill>
            </c:spPr>
            <c:extLst>
              <c:ext xmlns:c16="http://schemas.microsoft.com/office/drawing/2014/chart" uri="{C3380CC4-5D6E-409C-BE32-E72D297353CC}">
                <c16:uniqueId val="{0000000D-A16F-412C-84B5-C6CF2DB60E7E}"/>
              </c:ext>
            </c:extLst>
          </c:dPt>
          <c:dPt>
            <c:idx val="7"/>
            <c:invertIfNegative val="1"/>
            <c:bubble3D val="0"/>
            <c:spPr>
              <a:solidFill>
                <a:srgbClr val="E6E5E5"/>
              </a:solidFill>
            </c:spPr>
            <c:extLst>
              <c:ext xmlns:c16="http://schemas.microsoft.com/office/drawing/2014/chart" uri="{C3380CC4-5D6E-409C-BE32-E72D297353CC}">
                <c16:uniqueId val="{00000000-FE5A-42FB-884A-EEDE11C690F3}"/>
              </c:ext>
            </c:extLst>
          </c:dPt>
          <c:dPt>
            <c:idx val="8"/>
            <c:invertIfNegative val="1"/>
            <c:bubble3D val="0"/>
            <c:spPr>
              <a:solidFill>
                <a:srgbClr val="E6E5E5"/>
              </a:solidFill>
            </c:spPr>
            <c:extLst>
              <c:ext xmlns:c16="http://schemas.microsoft.com/office/drawing/2014/chart" uri="{C3380CC4-5D6E-409C-BE32-E72D297353CC}">
                <c16:uniqueId val="{00000001-FE5A-42FB-884A-EEDE11C690F3}"/>
              </c:ext>
            </c:extLst>
          </c:dPt>
          <c:dPt>
            <c:idx val="9"/>
            <c:invertIfNegative val="1"/>
            <c:bubble3D val="0"/>
            <c:spPr>
              <a:solidFill>
                <a:srgbClr val="E6E5E5"/>
              </a:solidFill>
            </c:spPr>
            <c:extLst>
              <c:ext xmlns:c16="http://schemas.microsoft.com/office/drawing/2014/chart" uri="{C3380CC4-5D6E-409C-BE32-E72D297353CC}">
                <c16:uniqueId val="{00000002-FE5A-42FB-884A-EEDE11C690F3}"/>
              </c:ext>
            </c:extLst>
          </c:dPt>
          <c:dPt>
            <c:idx val="10"/>
            <c:invertIfNegative val="1"/>
            <c:bubble3D val="0"/>
            <c:spPr>
              <a:solidFill>
                <a:srgbClr val="E6E5E5"/>
              </a:solidFill>
            </c:spPr>
            <c:extLst>
              <c:ext xmlns:c16="http://schemas.microsoft.com/office/drawing/2014/chart" uri="{C3380CC4-5D6E-409C-BE32-E72D297353CC}">
                <c16:uniqueId val="{00000003-FE5A-42FB-884A-EEDE11C690F3}"/>
              </c:ext>
            </c:extLst>
          </c:dPt>
          <c:dLbls>
            <c:numFmt formatCode="0.0%" sourceLinked="0"/>
            <c:spPr>
              <a:noFill/>
              <a:ln>
                <a:noFill/>
              </a:ln>
              <a:effectLst/>
            </c:spPr>
            <c:txPr>
              <a:bodyPr rot="0" spcFirstLastPara="1" vertOverflow="ellipsis" vert="horz" wrap="non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A$2:$A$12</c:f>
              <c:numCache>
                <c:formatCode>General</c:formatCode>
                <c:ptCount val="11"/>
                <c:pt idx="0">
                  <c:v>0</c:v>
                </c:pt>
                <c:pt idx="1">
                  <c:v>1</c:v>
                </c:pt>
                <c:pt idx="2">
                  <c:v>2</c:v>
                </c:pt>
                <c:pt idx="3">
                  <c:v>3</c:v>
                </c:pt>
                <c:pt idx="4">
                  <c:v>4</c:v>
                </c:pt>
                <c:pt idx="5">
                  <c:v>5</c:v>
                </c:pt>
                <c:pt idx="6">
                  <c:v>6</c:v>
                </c:pt>
                <c:pt idx="7">
                  <c:v>7</c:v>
                </c:pt>
                <c:pt idx="8">
                  <c:v>8</c:v>
                </c:pt>
                <c:pt idx="9">
                  <c:v>9</c:v>
                </c:pt>
                <c:pt idx="10">
                  <c:v>10</c:v>
                </c:pt>
              </c:numCache>
            </c:numRef>
          </c:cat>
          <c:val>
            <c:numRef>
              <c:f>Sheet1!$B$2:$B$12</c:f>
              <c:numCache>
                <c:formatCode>General</c:formatCode>
                <c:ptCount val="11"/>
                <c:pt idx="0">
                  <c:v>8.3680830643657791E-2</c:v>
                </c:pt>
                <c:pt idx="1">
                  <c:v>8.4832717379492509E-2</c:v>
                </c:pt>
                <c:pt idx="2">
                  <c:v>6.972508654231116E-2</c:v>
                </c:pt>
                <c:pt idx="3">
                  <c:v>7.265896809008994E-2</c:v>
                </c:pt>
                <c:pt idx="4">
                  <c:v>2.6867333324909211E-2</c:v>
                </c:pt>
                <c:pt idx="5">
                  <c:v>3.2846571323964111E-2</c:v>
                </c:pt>
                <c:pt idx="6">
                  <c:v>2.9692361061533581E-2</c:v>
                </c:pt>
                <c:pt idx="7">
                  <c:v>2.4673524627930769E-2</c:v>
                </c:pt>
                <c:pt idx="8">
                  <c:v>2.4801210223196219E-2</c:v>
                </c:pt>
                <c:pt idx="9">
                  <c:v>1.6946024595636509E-2</c:v>
                </c:pt>
                <c:pt idx="10">
                  <c:v>1.974433097199577E-2</c:v>
                </c:pt>
              </c:numCache>
            </c:numRef>
          </c:val>
          <c:extLst>
            <c:ext xmlns:c16="http://schemas.microsoft.com/office/drawing/2014/chart" uri="{C3380CC4-5D6E-409C-BE32-E72D297353CC}">
              <c16:uniqueId val="{00000004-FE5A-42FB-884A-EEDE11C690F3}"/>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39466813932E-2"/>
          <c:y val="0"/>
          <c:w val="0.96518562554386689"/>
          <c:h val="1"/>
        </c:manualLayout>
      </c:layout>
      <c:barChart>
        <c:barDir val="bar"/>
        <c:grouping val="clustered"/>
        <c:varyColors val="0"/>
        <c:ser>
          <c:idx val="2"/>
          <c:order val="0"/>
          <c:tx>
            <c:strRef>
              <c:f>Sheet1!$B$1</c:f>
              <c:strCache>
                <c:ptCount val="1"/>
                <c:pt idx="0">
                  <c:v>Hershey's Cookies 'n Creme Block 90g</c:v>
                </c:pt>
              </c:strCache>
            </c:strRef>
          </c:tx>
          <c:spPr>
            <a:solidFill>
              <a:srgbClr val="E6E5E5"/>
            </a:solidFill>
            <a:ln w="9525" cap="flat" cmpd="sng" algn="ctr">
              <a:noFill/>
              <a:round/>
            </a:ln>
            <a:effectLst/>
          </c:spPr>
          <c:invertIfNegative val="0"/>
          <c:dPt>
            <c:idx val="0"/>
            <c:invertIfNegative val="1"/>
            <c:bubble3D val="0"/>
            <c:spPr>
              <a:solidFill>
                <a:srgbClr val="E6E5E5"/>
              </a:solidFill>
            </c:spPr>
            <c:extLst>
              <c:ext xmlns:c16="http://schemas.microsoft.com/office/drawing/2014/chart" uri="{C3380CC4-5D6E-409C-BE32-E72D297353CC}">
                <c16:uniqueId val="{00000001-A16F-412C-84B5-C6CF2DB60E7E}"/>
              </c:ext>
            </c:extLst>
          </c:dPt>
          <c:dPt>
            <c:idx val="1"/>
            <c:invertIfNegative val="1"/>
            <c:bubble3D val="0"/>
            <c:spPr>
              <a:solidFill>
                <a:srgbClr val="E6E5E5"/>
              </a:solidFill>
            </c:spPr>
            <c:extLst>
              <c:ext xmlns:c16="http://schemas.microsoft.com/office/drawing/2014/chart" uri="{C3380CC4-5D6E-409C-BE32-E72D297353CC}">
                <c16:uniqueId val="{00000003-A16F-412C-84B5-C6CF2DB60E7E}"/>
              </c:ext>
            </c:extLst>
          </c:dPt>
          <c:dPt>
            <c:idx val="2"/>
            <c:invertIfNegative val="1"/>
            <c:bubble3D val="0"/>
            <c:spPr>
              <a:solidFill>
                <a:srgbClr val="E6E5E5"/>
              </a:solidFill>
            </c:spPr>
            <c:extLst>
              <c:ext xmlns:c16="http://schemas.microsoft.com/office/drawing/2014/chart" uri="{C3380CC4-5D6E-409C-BE32-E72D297353CC}">
                <c16:uniqueId val="{00000005-A16F-412C-84B5-C6CF2DB60E7E}"/>
              </c:ext>
            </c:extLst>
          </c:dPt>
          <c:dPt>
            <c:idx val="3"/>
            <c:invertIfNegative val="1"/>
            <c:bubble3D val="0"/>
            <c:spPr>
              <a:solidFill>
                <a:srgbClr val="E6E5E5"/>
              </a:solidFill>
            </c:spPr>
            <c:extLst>
              <c:ext xmlns:c16="http://schemas.microsoft.com/office/drawing/2014/chart" uri="{C3380CC4-5D6E-409C-BE32-E72D297353CC}">
                <c16:uniqueId val="{00000007-A16F-412C-84B5-C6CF2DB60E7E}"/>
              </c:ext>
            </c:extLst>
          </c:dPt>
          <c:dPt>
            <c:idx val="4"/>
            <c:invertIfNegative val="1"/>
            <c:bubble3D val="0"/>
            <c:spPr>
              <a:solidFill>
                <a:srgbClr val="E6E5E5"/>
              </a:solidFill>
            </c:spPr>
            <c:extLst>
              <c:ext xmlns:c16="http://schemas.microsoft.com/office/drawing/2014/chart" uri="{C3380CC4-5D6E-409C-BE32-E72D297353CC}">
                <c16:uniqueId val="{00000009-A16F-412C-84B5-C6CF2DB60E7E}"/>
              </c:ext>
            </c:extLst>
          </c:dPt>
          <c:dPt>
            <c:idx val="5"/>
            <c:invertIfNegative val="1"/>
            <c:bubble3D val="0"/>
            <c:spPr>
              <a:solidFill>
                <a:srgbClr val="E6E5E5"/>
              </a:solidFill>
            </c:spPr>
            <c:extLst>
              <c:ext xmlns:c16="http://schemas.microsoft.com/office/drawing/2014/chart" uri="{C3380CC4-5D6E-409C-BE32-E72D297353CC}">
                <c16:uniqueId val="{0000000B-A16F-412C-84B5-C6CF2DB60E7E}"/>
              </c:ext>
            </c:extLst>
          </c:dPt>
          <c:dPt>
            <c:idx val="6"/>
            <c:invertIfNegative val="1"/>
            <c:bubble3D val="0"/>
            <c:spPr>
              <a:solidFill>
                <a:srgbClr val="E6E5E5"/>
              </a:solidFill>
            </c:spPr>
            <c:extLst>
              <c:ext xmlns:c16="http://schemas.microsoft.com/office/drawing/2014/chart" uri="{C3380CC4-5D6E-409C-BE32-E72D297353CC}">
                <c16:uniqueId val="{0000000D-A16F-412C-84B5-C6CF2DB60E7E}"/>
              </c:ext>
            </c:extLst>
          </c:dPt>
          <c:dPt>
            <c:idx val="7"/>
            <c:invertIfNegative val="1"/>
            <c:bubble3D val="0"/>
            <c:spPr>
              <a:solidFill>
                <a:srgbClr val="E6E5E5"/>
              </a:solidFill>
            </c:spPr>
            <c:extLst>
              <c:ext xmlns:c16="http://schemas.microsoft.com/office/drawing/2014/chart" uri="{C3380CC4-5D6E-409C-BE32-E72D297353CC}">
                <c16:uniqueId val="{00000000-FE5A-42FB-884A-EEDE11C690F3}"/>
              </c:ext>
            </c:extLst>
          </c:dPt>
          <c:dPt>
            <c:idx val="8"/>
            <c:invertIfNegative val="1"/>
            <c:bubble3D val="0"/>
            <c:spPr>
              <a:solidFill>
                <a:srgbClr val="E6E5E5"/>
              </a:solidFill>
            </c:spPr>
            <c:extLst>
              <c:ext xmlns:c16="http://schemas.microsoft.com/office/drawing/2014/chart" uri="{C3380CC4-5D6E-409C-BE32-E72D297353CC}">
                <c16:uniqueId val="{00000001-FE5A-42FB-884A-EEDE11C690F3}"/>
              </c:ext>
            </c:extLst>
          </c:dPt>
          <c:dPt>
            <c:idx val="9"/>
            <c:invertIfNegative val="1"/>
            <c:bubble3D val="0"/>
            <c:spPr>
              <a:solidFill>
                <a:srgbClr val="E6E5E5"/>
              </a:solidFill>
            </c:spPr>
            <c:extLst>
              <c:ext xmlns:c16="http://schemas.microsoft.com/office/drawing/2014/chart" uri="{C3380CC4-5D6E-409C-BE32-E72D297353CC}">
                <c16:uniqueId val="{00000002-FE5A-42FB-884A-EEDE11C690F3}"/>
              </c:ext>
            </c:extLst>
          </c:dPt>
          <c:dPt>
            <c:idx val="10"/>
            <c:invertIfNegative val="1"/>
            <c:bubble3D val="0"/>
            <c:spPr>
              <a:solidFill>
                <a:srgbClr val="E6E5E5"/>
              </a:solidFill>
            </c:spPr>
            <c:extLst>
              <c:ext xmlns:c16="http://schemas.microsoft.com/office/drawing/2014/chart" uri="{C3380CC4-5D6E-409C-BE32-E72D297353CC}">
                <c16:uniqueId val="{00000003-FE5A-42FB-884A-EEDE11C690F3}"/>
              </c:ext>
            </c:extLst>
          </c:dPt>
          <c:dLbls>
            <c:numFmt formatCode="0.0%" sourceLinked="0"/>
            <c:spPr>
              <a:noFill/>
              <a:ln>
                <a:noFill/>
              </a:ln>
              <a:effectLst/>
            </c:spPr>
            <c:txPr>
              <a:bodyPr rot="0" spcFirstLastPara="1" vertOverflow="ellipsis" vert="horz" wrap="non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A$2:$A$12</c:f>
              <c:numCache>
                <c:formatCode>General</c:formatCode>
                <c:ptCount val="11"/>
                <c:pt idx="0">
                  <c:v>0</c:v>
                </c:pt>
                <c:pt idx="1">
                  <c:v>1</c:v>
                </c:pt>
                <c:pt idx="2">
                  <c:v>2</c:v>
                </c:pt>
                <c:pt idx="3">
                  <c:v>3</c:v>
                </c:pt>
                <c:pt idx="4">
                  <c:v>4</c:v>
                </c:pt>
                <c:pt idx="5">
                  <c:v>5</c:v>
                </c:pt>
                <c:pt idx="6">
                  <c:v>6</c:v>
                </c:pt>
                <c:pt idx="7">
                  <c:v>7</c:v>
                </c:pt>
                <c:pt idx="8">
                  <c:v>8</c:v>
                </c:pt>
                <c:pt idx="9">
                  <c:v>9</c:v>
                </c:pt>
                <c:pt idx="10">
                  <c:v>10</c:v>
                </c:pt>
              </c:numCache>
            </c:numRef>
          </c:cat>
          <c:val>
            <c:numRef>
              <c:f>Sheet1!$B$2:$B$12</c:f>
              <c:numCache>
                <c:formatCode>General</c:formatCode>
                <c:ptCount val="11"/>
                <c:pt idx="0">
                  <c:v>8.3680830643657791E-2</c:v>
                </c:pt>
                <c:pt idx="1">
                  <c:v>8.4832717379492509E-2</c:v>
                </c:pt>
                <c:pt idx="2">
                  <c:v>6.972508654231116E-2</c:v>
                </c:pt>
                <c:pt idx="3">
                  <c:v>7.265896809008994E-2</c:v>
                </c:pt>
                <c:pt idx="4">
                  <c:v>2.6867333324909211E-2</c:v>
                </c:pt>
                <c:pt idx="5">
                  <c:v>3.2846571323964111E-2</c:v>
                </c:pt>
                <c:pt idx="6">
                  <c:v>2.9692361061533581E-2</c:v>
                </c:pt>
                <c:pt idx="7">
                  <c:v>2.4673524627930769E-2</c:v>
                </c:pt>
                <c:pt idx="8">
                  <c:v>2.4801210223196219E-2</c:v>
                </c:pt>
                <c:pt idx="9">
                  <c:v>1.6946024595636509E-2</c:v>
                </c:pt>
                <c:pt idx="10">
                  <c:v>1.974433097199577E-2</c:v>
                </c:pt>
              </c:numCache>
            </c:numRef>
          </c:val>
          <c:extLst>
            <c:ext xmlns:c16="http://schemas.microsoft.com/office/drawing/2014/chart" uri="{C3380CC4-5D6E-409C-BE32-E72D297353CC}">
              <c16:uniqueId val="{00000004-FE5A-42FB-884A-EEDE11C690F3}"/>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39466813932E-2"/>
          <c:y val="0"/>
          <c:w val="0.96518562554386689"/>
          <c:h val="1"/>
        </c:manualLayout>
      </c:layout>
      <c:barChart>
        <c:barDir val="bar"/>
        <c:grouping val="clustered"/>
        <c:varyColors val="0"/>
        <c:ser>
          <c:idx val="2"/>
          <c:order val="0"/>
          <c:tx>
            <c:strRef>
              <c:f>Sheet1!$B$1</c:f>
              <c:strCache>
                <c:ptCount val="1"/>
                <c:pt idx="0">
                  <c:v>Hershey's Cookies 'n Creme Creations Salted Caramel 38g</c:v>
                </c:pt>
              </c:strCache>
            </c:strRef>
          </c:tx>
          <c:spPr>
            <a:solidFill>
              <a:srgbClr val="E6E5E5">
                <a:lumMod val="90000"/>
              </a:srgbClr>
            </a:solidFill>
            <a:ln w="9525" cap="flat" cmpd="sng" algn="ctr">
              <a:noFill/>
              <a:round/>
            </a:ln>
            <a:effectLst/>
          </c:spPr>
          <c:invertIfNegative val="0"/>
          <c:dPt>
            <c:idx val="0"/>
            <c:invertIfNegative val="1"/>
            <c:bubble3D val="0"/>
            <c:spPr>
              <a:solidFill>
                <a:srgbClr val="E6E5E5"/>
              </a:solidFill>
            </c:spPr>
            <c:extLst>
              <c:ext xmlns:c16="http://schemas.microsoft.com/office/drawing/2014/chart" uri="{C3380CC4-5D6E-409C-BE32-E72D297353CC}">
                <c16:uniqueId val="{00000001-4521-49DF-A3AD-01B14FDCFE2C}"/>
              </c:ext>
            </c:extLst>
          </c:dPt>
          <c:dPt>
            <c:idx val="1"/>
            <c:invertIfNegative val="1"/>
            <c:bubble3D val="0"/>
            <c:spPr>
              <a:solidFill>
                <a:srgbClr val="E6E5E5"/>
              </a:solidFill>
            </c:spPr>
            <c:extLst>
              <c:ext xmlns:c16="http://schemas.microsoft.com/office/drawing/2014/chart" uri="{C3380CC4-5D6E-409C-BE32-E72D297353CC}">
                <c16:uniqueId val="{00000003-4521-49DF-A3AD-01B14FDCFE2C}"/>
              </c:ext>
            </c:extLst>
          </c:dPt>
          <c:dPt>
            <c:idx val="2"/>
            <c:invertIfNegative val="1"/>
            <c:bubble3D val="0"/>
            <c:spPr>
              <a:solidFill>
                <a:srgbClr val="E6E5E5"/>
              </a:solidFill>
            </c:spPr>
            <c:extLst>
              <c:ext xmlns:c16="http://schemas.microsoft.com/office/drawing/2014/chart" uri="{C3380CC4-5D6E-409C-BE32-E72D297353CC}">
                <c16:uniqueId val="{00000005-4521-49DF-A3AD-01B14FDCFE2C}"/>
              </c:ext>
            </c:extLst>
          </c:dPt>
          <c:dPt>
            <c:idx val="3"/>
            <c:invertIfNegative val="1"/>
            <c:bubble3D val="0"/>
            <c:spPr>
              <a:solidFill>
                <a:srgbClr val="E6E5E5"/>
              </a:solidFill>
            </c:spPr>
            <c:extLst>
              <c:ext xmlns:c16="http://schemas.microsoft.com/office/drawing/2014/chart" uri="{C3380CC4-5D6E-409C-BE32-E72D297353CC}">
                <c16:uniqueId val="{00000007-4521-49DF-A3AD-01B14FDCFE2C}"/>
              </c:ext>
            </c:extLst>
          </c:dPt>
          <c:dPt>
            <c:idx val="4"/>
            <c:invertIfNegative val="1"/>
            <c:bubble3D val="0"/>
            <c:spPr>
              <a:solidFill>
                <a:srgbClr val="E6E5E5"/>
              </a:solidFill>
            </c:spPr>
            <c:extLst>
              <c:ext xmlns:c16="http://schemas.microsoft.com/office/drawing/2014/chart" uri="{C3380CC4-5D6E-409C-BE32-E72D297353CC}">
                <c16:uniqueId val="{00000009-4521-49DF-A3AD-01B14FDCFE2C}"/>
              </c:ext>
            </c:extLst>
          </c:dPt>
          <c:dPt>
            <c:idx val="5"/>
            <c:invertIfNegative val="1"/>
            <c:bubble3D val="0"/>
            <c:spPr>
              <a:solidFill>
                <a:srgbClr val="E6E5E5"/>
              </a:solidFill>
            </c:spPr>
            <c:extLst>
              <c:ext xmlns:c16="http://schemas.microsoft.com/office/drawing/2014/chart" uri="{C3380CC4-5D6E-409C-BE32-E72D297353CC}">
                <c16:uniqueId val="{0000000B-4521-49DF-A3AD-01B14FDCFE2C}"/>
              </c:ext>
            </c:extLst>
          </c:dPt>
          <c:dPt>
            <c:idx val="6"/>
            <c:invertIfNegative val="1"/>
            <c:bubble3D val="0"/>
            <c:spPr>
              <a:solidFill>
                <a:srgbClr val="E6E5E5"/>
              </a:solidFill>
            </c:spPr>
            <c:extLst>
              <c:ext xmlns:c16="http://schemas.microsoft.com/office/drawing/2014/chart" uri="{C3380CC4-5D6E-409C-BE32-E72D297353CC}">
                <c16:uniqueId val="{0000000D-4521-49DF-A3AD-01B14FDCFE2C}"/>
              </c:ext>
            </c:extLst>
          </c:dPt>
          <c:dPt>
            <c:idx val="7"/>
            <c:invertIfNegative val="1"/>
            <c:bubble3D val="0"/>
            <c:spPr>
              <a:solidFill>
                <a:srgbClr val="E6E5E5"/>
              </a:solidFill>
            </c:spPr>
            <c:extLst>
              <c:ext xmlns:c16="http://schemas.microsoft.com/office/drawing/2014/chart" uri="{C3380CC4-5D6E-409C-BE32-E72D297353CC}">
                <c16:uniqueId val="{00000000-46AD-4608-B607-5E413AFB740D}"/>
              </c:ext>
            </c:extLst>
          </c:dPt>
          <c:dPt>
            <c:idx val="8"/>
            <c:invertIfNegative val="1"/>
            <c:bubble3D val="0"/>
            <c:spPr>
              <a:solidFill>
                <a:srgbClr val="E6E5E5"/>
              </a:solidFill>
            </c:spPr>
            <c:extLst>
              <c:ext xmlns:c16="http://schemas.microsoft.com/office/drawing/2014/chart" uri="{C3380CC4-5D6E-409C-BE32-E72D297353CC}">
                <c16:uniqueId val="{00000001-46AD-4608-B607-5E413AFB740D}"/>
              </c:ext>
            </c:extLst>
          </c:dPt>
          <c:dPt>
            <c:idx val="9"/>
            <c:invertIfNegative val="1"/>
            <c:bubble3D val="0"/>
            <c:spPr>
              <a:solidFill>
                <a:srgbClr val="E6E5E5"/>
              </a:solidFill>
            </c:spPr>
            <c:extLst>
              <c:ext xmlns:c16="http://schemas.microsoft.com/office/drawing/2014/chart" uri="{C3380CC4-5D6E-409C-BE32-E72D297353CC}">
                <c16:uniqueId val="{00000002-46AD-4608-B607-5E413AFB740D}"/>
              </c:ext>
            </c:extLst>
          </c:dPt>
          <c:dPt>
            <c:idx val="10"/>
            <c:invertIfNegative val="1"/>
            <c:bubble3D val="0"/>
            <c:spPr>
              <a:solidFill>
                <a:srgbClr val="E6E5E5"/>
              </a:solidFill>
            </c:spPr>
            <c:extLst>
              <c:ext xmlns:c16="http://schemas.microsoft.com/office/drawing/2014/chart" uri="{C3380CC4-5D6E-409C-BE32-E72D297353CC}">
                <c16:uniqueId val="{00000003-46AD-4608-B607-5E413AFB740D}"/>
              </c:ext>
            </c:extLst>
          </c:dPt>
          <c:dPt>
            <c:idx val="11"/>
            <c:invertIfNegative val="1"/>
            <c:bubble3D val="0"/>
            <c:spPr>
              <a:solidFill>
                <a:srgbClr val="E6E5E5"/>
              </a:solidFill>
            </c:spPr>
            <c:extLst>
              <c:ext xmlns:c16="http://schemas.microsoft.com/office/drawing/2014/chart" uri="{C3380CC4-5D6E-409C-BE32-E72D297353CC}">
                <c16:uniqueId val="{00000017-4521-49DF-A3AD-01B14FDCFE2C}"/>
              </c:ext>
            </c:extLst>
          </c:dPt>
          <c:dPt>
            <c:idx val="12"/>
            <c:invertIfNegative val="1"/>
            <c:bubble3D val="0"/>
            <c:spPr>
              <a:solidFill>
                <a:srgbClr val="E6E5E5"/>
              </a:solidFill>
            </c:spPr>
            <c:extLst>
              <c:ext xmlns:c16="http://schemas.microsoft.com/office/drawing/2014/chart" uri="{C3380CC4-5D6E-409C-BE32-E72D297353CC}">
                <c16:uniqueId val="{00000019-4521-49DF-A3AD-01B14FDCFE2C}"/>
              </c:ext>
            </c:extLst>
          </c:dPt>
          <c:dPt>
            <c:idx val="13"/>
            <c:invertIfNegative val="1"/>
            <c:bubble3D val="0"/>
            <c:spPr>
              <a:solidFill>
                <a:srgbClr val="E6E5E5"/>
              </a:solidFill>
            </c:spPr>
            <c:extLst>
              <c:ext xmlns:c16="http://schemas.microsoft.com/office/drawing/2014/chart" uri="{C3380CC4-5D6E-409C-BE32-E72D297353CC}">
                <c16:uniqueId val="{0000001B-4521-49DF-A3AD-01B14FDCFE2C}"/>
              </c:ext>
            </c:extLst>
          </c:dPt>
          <c:dPt>
            <c:idx val="14"/>
            <c:invertIfNegative val="1"/>
            <c:bubble3D val="0"/>
            <c:spPr>
              <a:solidFill>
                <a:srgbClr val="E6E5E5"/>
              </a:solidFill>
            </c:spPr>
            <c:extLst>
              <c:ext xmlns:c16="http://schemas.microsoft.com/office/drawing/2014/chart" uri="{C3380CC4-5D6E-409C-BE32-E72D297353CC}">
                <c16:uniqueId val="{0000001D-4521-49DF-A3AD-01B14FDCFE2C}"/>
              </c:ext>
            </c:extLst>
          </c:dPt>
          <c:dPt>
            <c:idx val="15"/>
            <c:invertIfNegative val="1"/>
            <c:bubble3D val="0"/>
            <c:spPr>
              <a:solidFill>
                <a:srgbClr val="E6E5E5"/>
              </a:solidFill>
            </c:spPr>
            <c:extLst>
              <c:ext xmlns:c16="http://schemas.microsoft.com/office/drawing/2014/chart" uri="{C3380CC4-5D6E-409C-BE32-E72D297353CC}">
                <c16:uniqueId val="{0000001F-4521-49DF-A3AD-01B14FDCFE2C}"/>
              </c:ext>
            </c:extLst>
          </c:dPt>
          <c:dLbls>
            <c:numFmt formatCode="0.0%" sourceLinked="0"/>
            <c:spPr>
              <a:noFill/>
              <a:ln>
                <a:noFill/>
              </a:ln>
              <a:effectLst/>
            </c:spPr>
            <c:txPr>
              <a:bodyPr rot="0" spcFirstLastPara="1" vertOverflow="ellipsis" vert="horz" wrap="non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A$2:$A$12</c:f>
              <c:numCache>
                <c:formatCode>General</c:formatCode>
                <c:ptCount val="11"/>
                <c:pt idx="0">
                  <c:v>0</c:v>
                </c:pt>
                <c:pt idx="1">
                  <c:v>1</c:v>
                </c:pt>
                <c:pt idx="2">
                  <c:v>2</c:v>
                </c:pt>
                <c:pt idx="3">
                  <c:v>3</c:v>
                </c:pt>
                <c:pt idx="4">
                  <c:v>4</c:v>
                </c:pt>
                <c:pt idx="5">
                  <c:v>5</c:v>
                </c:pt>
                <c:pt idx="6">
                  <c:v>6</c:v>
                </c:pt>
                <c:pt idx="7">
                  <c:v>7</c:v>
                </c:pt>
                <c:pt idx="8">
                  <c:v>8</c:v>
                </c:pt>
                <c:pt idx="9">
                  <c:v>9</c:v>
                </c:pt>
                <c:pt idx="10">
                  <c:v>10</c:v>
                </c:pt>
              </c:numCache>
            </c:numRef>
          </c:cat>
          <c:val>
            <c:numRef>
              <c:f>Sheet1!$B$2:$B$12</c:f>
              <c:numCache>
                <c:formatCode>General</c:formatCode>
                <c:ptCount val="11"/>
                <c:pt idx="0">
                  <c:v>5.0447854226814207E-2</c:v>
                </c:pt>
                <c:pt idx="1">
                  <c:v>7.9671669867510259E-2</c:v>
                </c:pt>
                <c:pt idx="2">
                  <c:v>9.5243035433779294E-2</c:v>
                </c:pt>
                <c:pt idx="3">
                  <c:v>4.6930023952282761E-2</c:v>
                </c:pt>
                <c:pt idx="4">
                  <c:v>5.3986451383998227E-2</c:v>
                </c:pt>
                <c:pt idx="5">
                  <c:v>3.9307564557694179E-2</c:v>
                </c:pt>
                <c:pt idx="6">
                  <c:v>1.564990410618107E-2</c:v>
                </c:pt>
                <c:pt idx="7">
                  <c:v>3.8296802999407388E-2</c:v>
                </c:pt>
                <c:pt idx="8">
                  <c:v>1.260545269416481E-2</c:v>
                </c:pt>
                <c:pt idx="9">
                  <c:v>2.5391227092504961E-2</c:v>
                </c:pt>
                <c:pt idx="10">
                  <c:v>1.8423164832667101E-2</c:v>
                </c:pt>
              </c:numCache>
            </c:numRef>
          </c:val>
          <c:extLst>
            <c:ext xmlns:c16="http://schemas.microsoft.com/office/drawing/2014/chart" uri="{C3380CC4-5D6E-409C-BE32-E72D297353CC}">
              <c16:uniqueId val="{00000004-46AD-4608-B607-5E413AFB740D}"/>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39466813932E-2"/>
          <c:y val="8.0536282863718032E-3"/>
          <c:w val="0.96518562554386689"/>
          <c:h val="0.99194624552591137"/>
        </c:manualLayout>
      </c:layout>
      <c:barChart>
        <c:barDir val="bar"/>
        <c:grouping val="clustered"/>
        <c:varyColors val="0"/>
        <c:ser>
          <c:idx val="2"/>
          <c:order val="0"/>
          <c:tx>
            <c:strRef>
              <c:f>Sheet1!$B$1</c:f>
              <c:strCache>
                <c:ptCount val="1"/>
                <c:pt idx="0">
                  <c:v>Hershey's Cookies 'n Creme Block 90g</c:v>
                </c:pt>
              </c:strCache>
            </c:strRef>
          </c:tx>
          <c:spPr>
            <a:solidFill>
              <a:srgbClr val="E6E5E5"/>
            </a:solidFill>
            <a:ln w="9525" cap="flat" cmpd="sng" algn="ctr">
              <a:noFill/>
              <a:round/>
            </a:ln>
            <a:effectLst/>
          </c:spPr>
          <c:invertIfNegative val="0"/>
          <c:dPt>
            <c:idx val="0"/>
            <c:invertIfNegative val="1"/>
            <c:bubble3D val="0"/>
            <c:spPr>
              <a:solidFill>
                <a:srgbClr val="E6E5E5"/>
              </a:solidFill>
            </c:spPr>
            <c:extLst>
              <c:ext xmlns:c16="http://schemas.microsoft.com/office/drawing/2014/chart" uri="{C3380CC4-5D6E-409C-BE32-E72D297353CC}">
                <c16:uniqueId val="{00000001-A16F-412C-84B5-C6CF2DB60E7E}"/>
              </c:ext>
            </c:extLst>
          </c:dPt>
          <c:dPt>
            <c:idx val="1"/>
            <c:invertIfNegative val="1"/>
            <c:bubble3D val="0"/>
            <c:spPr>
              <a:solidFill>
                <a:srgbClr val="E6E5E5"/>
              </a:solidFill>
            </c:spPr>
            <c:extLst>
              <c:ext xmlns:c16="http://schemas.microsoft.com/office/drawing/2014/chart" uri="{C3380CC4-5D6E-409C-BE32-E72D297353CC}">
                <c16:uniqueId val="{00000003-A16F-412C-84B5-C6CF2DB60E7E}"/>
              </c:ext>
            </c:extLst>
          </c:dPt>
          <c:dPt>
            <c:idx val="2"/>
            <c:invertIfNegative val="1"/>
            <c:bubble3D val="0"/>
            <c:spPr>
              <a:solidFill>
                <a:srgbClr val="E6E5E5"/>
              </a:solidFill>
            </c:spPr>
            <c:extLst>
              <c:ext xmlns:c16="http://schemas.microsoft.com/office/drawing/2014/chart" uri="{C3380CC4-5D6E-409C-BE32-E72D297353CC}">
                <c16:uniqueId val="{00000005-A16F-412C-84B5-C6CF2DB60E7E}"/>
              </c:ext>
            </c:extLst>
          </c:dPt>
          <c:dPt>
            <c:idx val="3"/>
            <c:invertIfNegative val="1"/>
            <c:bubble3D val="0"/>
            <c:spPr>
              <a:solidFill>
                <a:srgbClr val="E6E5E5"/>
              </a:solidFill>
            </c:spPr>
            <c:extLst>
              <c:ext xmlns:c16="http://schemas.microsoft.com/office/drawing/2014/chart" uri="{C3380CC4-5D6E-409C-BE32-E72D297353CC}">
                <c16:uniqueId val="{00000007-A16F-412C-84B5-C6CF2DB60E7E}"/>
              </c:ext>
            </c:extLst>
          </c:dPt>
          <c:dPt>
            <c:idx val="4"/>
            <c:invertIfNegative val="1"/>
            <c:bubble3D val="0"/>
            <c:spPr>
              <a:solidFill>
                <a:srgbClr val="E6E5E5"/>
              </a:solidFill>
            </c:spPr>
            <c:extLst>
              <c:ext xmlns:c16="http://schemas.microsoft.com/office/drawing/2014/chart" uri="{C3380CC4-5D6E-409C-BE32-E72D297353CC}">
                <c16:uniqueId val="{00000009-A16F-412C-84B5-C6CF2DB60E7E}"/>
              </c:ext>
            </c:extLst>
          </c:dPt>
          <c:dPt>
            <c:idx val="5"/>
            <c:invertIfNegative val="1"/>
            <c:bubble3D val="0"/>
            <c:spPr>
              <a:solidFill>
                <a:srgbClr val="E6E5E5"/>
              </a:solidFill>
            </c:spPr>
            <c:extLst>
              <c:ext xmlns:c16="http://schemas.microsoft.com/office/drawing/2014/chart" uri="{C3380CC4-5D6E-409C-BE32-E72D297353CC}">
                <c16:uniqueId val="{0000000B-A16F-412C-84B5-C6CF2DB60E7E}"/>
              </c:ext>
            </c:extLst>
          </c:dPt>
          <c:dPt>
            <c:idx val="6"/>
            <c:invertIfNegative val="1"/>
            <c:bubble3D val="0"/>
            <c:spPr>
              <a:solidFill>
                <a:srgbClr val="E6E5E5"/>
              </a:solidFill>
            </c:spPr>
            <c:extLst>
              <c:ext xmlns:c16="http://schemas.microsoft.com/office/drawing/2014/chart" uri="{C3380CC4-5D6E-409C-BE32-E72D297353CC}">
                <c16:uniqueId val="{0000000D-A16F-412C-84B5-C6CF2DB60E7E}"/>
              </c:ext>
            </c:extLst>
          </c:dPt>
          <c:dPt>
            <c:idx val="7"/>
            <c:invertIfNegative val="1"/>
            <c:bubble3D val="0"/>
            <c:spPr>
              <a:solidFill>
                <a:srgbClr val="E6E5E5"/>
              </a:solidFill>
            </c:spPr>
            <c:extLst>
              <c:ext xmlns:c16="http://schemas.microsoft.com/office/drawing/2014/chart" uri="{C3380CC4-5D6E-409C-BE32-E72D297353CC}">
                <c16:uniqueId val="{00000000-FE5A-42FB-884A-EEDE11C690F3}"/>
              </c:ext>
            </c:extLst>
          </c:dPt>
          <c:dPt>
            <c:idx val="8"/>
            <c:invertIfNegative val="1"/>
            <c:bubble3D val="0"/>
            <c:spPr>
              <a:solidFill>
                <a:srgbClr val="E6E5E5"/>
              </a:solidFill>
            </c:spPr>
            <c:extLst>
              <c:ext xmlns:c16="http://schemas.microsoft.com/office/drawing/2014/chart" uri="{C3380CC4-5D6E-409C-BE32-E72D297353CC}">
                <c16:uniqueId val="{00000001-FE5A-42FB-884A-EEDE11C690F3}"/>
              </c:ext>
            </c:extLst>
          </c:dPt>
          <c:dPt>
            <c:idx val="9"/>
            <c:invertIfNegative val="1"/>
            <c:bubble3D val="0"/>
            <c:spPr>
              <a:solidFill>
                <a:srgbClr val="E6E5E5"/>
              </a:solidFill>
            </c:spPr>
            <c:extLst>
              <c:ext xmlns:c16="http://schemas.microsoft.com/office/drawing/2014/chart" uri="{C3380CC4-5D6E-409C-BE32-E72D297353CC}">
                <c16:uniqueId val="{00000002-FE5A-42FB-884A-EEDE11C690F3}"/>
              </c:ext>
            </c:extLst>
          </c:dPt>
          <c:dPt>
            <c:idx val="10"/>
            <c:invertIfNegative val="1"/>
            <c:bubble3D val="0"/>
            <c:spPr>
              <a:solidFill>
                <a:srgbClr val="E6E5E5"/>
              </a:solidFill>
            </c:spPr>
            <c:extLst>
              <c:ext xmlns:c16="http://schemas.microsoft.com/office/drawing/2014/chart" uri="{C3380CC4-5D6E-409C-BE32-E72D297353CC}">
                <c16:uniqueId val="{00000003-FE5A-42FB-884A-EEDE11C690F3}"/>
              </c:ext>
            </c:extLst>
          </c:dPt>
          <c:dLbls>
            <c:numFmt formatCode="0.0%" sourceLinked="0"/>
            <c:spPr>
              <a:noFill/>
              <a:ln>
                <a:noFill/>
              </a:ln>
              <a:effectLst/>
            </c:spPr>
            <c:txPr>
              <a:bodyPr rot="0" spcFirstLastPara="1" vertOverflow="ellipsis" vert="horz" wrap="non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A$2:$A$12</c:f>
              <c:numCache>
                <c:formatCode>General</c:formatCode>
                <c:ptCount val="11"/>
                <c:pt idx="0">
                  <c:v>0</c:v>
                </c:pt>
                <c:pt idx="1">
                  <c:v>1</c:v>
                </c:pt>
                <c:pt idx="2">
                  <c:v>2</c:v>
                </c:pt>
                <c:pt idx="3">
                  <c:v>3</c:v>
                </c:pt>
                <c:pt idx="4">
                  <c:v>4</c:v>
                </c:pt>
                <c:pt idx="5">
                  <c:v>5</c:v>
                </c:pt>
                <c:pt idx="6">
                  <c:v>6</c:v>
                </c:pt>
                <c:pt idx="7">
                  <c:v>7</c:v>
                </c:pt>
                <c:pt idx="8">
                  <c:v>8</c:v>
                </c:pt>
                <c:pt idx="9">
                  <c:v>9</c:v>
                </c:pt>
                <c:pt idx="10">
                  <c:v>10</c:v>
                </c:pt>
              </c:numCache>
            </c:numRef>
          </c:cat>
          <c:val>
            <c:numRef>
              <c:f>Sheet1!$B$2:$B$12</c:f>
              <c:numCache>
                <c:formatCode>General</c:formatCode>
                <c:ptCount val="11"/>
                <c:pt idx="0">
                  <c:v>8.3680830643657791E-2</c:v>
                </c:pt>
                <c:pt idx="1">
                  <c:v>8.4832717379492509E-2</c:v>
                </c:pt>
                <c:pt idx="2">
                  <c:v>6.972508654231116E-2</c:v>
                </c:pt>
                <c:pt idx="3">
                  <c:v>7.265896809008994E-2</c:v>
                </c:pt>
                <c:pt idx="4">
                  <c:v>2.6867333324909211E-2</c:v>
                </c:pt>
                <c:pt idx="5">
                  <c:v>3.2846571323964111E-2</c:v>
                </c:pt>
                <c:pt idx="6">
                  <c:v>2.9692361061533581E-2</c:v>
                </c:pt>
                <c:pt idx="7">
                  <c:v>2.4673524627930769E-2</c:v>
                </c:pt>
                <c:pt idx="8">
                  <c:v>2.4801210223196219E-2</c:v>
                </c:pt>
                <c:pt idx="9">
                  <c:v>1.6946024595636509E-2</c:v>
                </c:pt>
                <c:pt idx="10">
                  <c:v>1.974433097199577E-2</c:v>
                </c:pt>
              </c:numCache>
            </c:numRef>
          </c:val>
          <c:extLst>
            <c:ext xmlns:c16="http://schemas.microsoft.com/office/drawing/2014/chart" uri="{C3380CC4-5D6E-409C-BE32-E72D297353CC}">
              <c16:uniqueId val="{00000004-FE5A-42FB-884A-EEDE11C690F3}"/>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39466813932E-2"/>
          <c:y val="0"/>
          <c:w val="0.96518562554386689"/>
          <c:h val="1"/>
        </c:manualLayout>
      </c:layout>
      <c:barChart>
        <c:barDir val="bar"/>
        <c:grouping val="clustered"/>
        <c:varyColors val="0"/>
        <c:ser>
          <c:idx val="2"/>
          <c:order val="0"/>
          <c:tx>
            <c:strRef>
              <c:f>Sheet1!$B$1</c:f>
              <c:strCache>
                <c:ptCount val="1"/>
                <c:pt idx="0">
                  <c:v>Hershey's Cookies 'n Creme Creations Salted Caramel 38g</c:v>
                </c:pt>
              </c:strCache>
            </c:strRef>
          </c:tx>
          <c:spPr>
            <a:solidFill>
              <a:srgbClr val="E6E5E5">
                <a:lumMod val="90000"/>
              </a:srgbClr>
            </a:solidFill>
            <a:ln w="9525" cap="flat" cmpd="sng" algn="ctr">
              <a:noFill/>
              <a:round/>
            </a:ln>
            <a:effectLst/>
          </c:spPr>
          <c:invertIfNegative val="0"/>
          <c:dPt>
            <c:idx val="0"/>
            <c:invertIfNegative val="1"/>
            <c:bubble3D val="0"/>
            <c:spPr>
              <a:solidFill>
                <a:srgbClr val="E6E5E5"/>
              </a:solidFill>
            </c:spPr>
            <c:extLst>
              <c:ext xmlns:c16="http://schemas.microsoft.com/office/drawing/2014/chart" uri="{C3380CC4-5D6E-409C-BE32-E72D297353CC}">
                <c16:uniqueId val="{00000001-4521-49DF-A3AD-01B14FDCFE2C}"/>
              </c:ext>
            </c:extLst>
          </c:dPt>
          <c:dPt>
            <c:idx val="1"/>
            <c:invertIfNegative val="1"/>
            <c:bubble3D val="0"/>
            <c:spPr>
              <a:solidFill>
                <a:srgbClr val="E6E5E5"/>
              </a:solidFill>
            </c:spPr>
            <c:extLst>
              <c:ext xmlns:c16="http://schemas.microsoft.com/office/drawing/2014/chart" uri="{C3380CC4-5D6E-409C-BE32-E72D297353CC}">
                <c16:uniqueId val="{00000003-4521-49DF-A3AD-01B14FDCFE2C}"/>
              </c:ext>
            </c:extLst>
          </c:dPt>
          <c:dPt>
            <c:idx val="2"/>
            <c:invertIfNegative val="1"/>
            <c:bubble3D val="0"/>
            <c:spPr>
              <a:solidFill>
                <a:srgbClr val="E6E5E5"/>
              </a:solidFill>
            </c:spPr>
            <c:extLst>
              <c:ext xmlns:c16="http://schemas.microsoft.com/office/drawing/2014/chart" uri="{C3380CC4-5D6E-409C-BE32-E72D297353CC}">
                <c16:uniqueId val="{00000005-4521-49DF-A3AD-01B14FDCFE2C}"/>
              </c:ext>
            </c:extLst>
          </c:dPt>
          <c:dPt>
            <c:idx val="3"/>
            <c:invertIfNegative val="1"/>
            <c:bubble3D val="0"/>
            <c:spPr>
              <a:solidFill>
                <a:srgbClr val="E6E5E5"/>
              </a:solidFill>
            </c:spPr>
            <c:extLst>
              <c:ext xmlns:c16="http://schemas.microsoft.com/office/drawing/2014/chart" uri="{C3380CC4-5D6E-409C-BE32-E72D297353CC}">
                <c16:uniqueId val="{00000007-4521-49DF-A3AD-01B14FDCFE2C}"/>
              </c:ext>
            </c:extLst>
          </c:dPt>
          <c:dPt>
            <c:idx val="4"/>
            <c:invertIfNegative val="1"/>
            <c:bubble3D val="0"/>
            <c:spPr>
              <a:solidFill>
                <a:srgbClr val="E6E5E5"/>
              </a:solidFill>
            </c:spPr>
            <c:extLst>
              <c:ext xmlns:c16="http://schemas.microsoft.com/office/drawing/2014/chart" uri="{C3380CC4-5D6E-409C-BE32-E72D297353CC}">
                <c16:uniqueId val="{00000009-4521-49DF-A3AD-01B14FDCFE2C}"/>
              </c:ext>
            </c:extLst>
          </c:dPt>
          <c:dPt>
            <c:idx val="5"/>
            <c:invertIfNegative val="1"/>
            <c:bubble3D val="0"/>
            <c:spPr>
              <a:solidFill>
                <a:srgbClr val="E6E5E5"/>
              </a:solidFill>
            </c:spPr>
            <c:extLst>
              <c:ext xmlns:c16="http://schemas.microsoft.com/office/drawing/2014/chart" uri="{C3380CC4-5D6E-409C-BE32-E72D297353CC}">
                <c16:uniqueId val="{0000000B-4521-49DF-A3AD-01B14FDCFE2C}"/>
              </c:ext>
            </c:extLst>
          </c:dPt>
          <c:dPt>
            <c:idx val="6"/>
            <c:invertIfNegative val="1"/>
            <c:bubble3D val="0"/>
            <c:spPr>
              <a:solidFill>
                <a:srgbClr val="E6E5E5"/>
              </a:solidFill>
            </c:spPr>
            <c:extLst>
              <c:ext xmlns:c16="http://schemas.microsoft.com/office/drawing/2014/chart" uri="{C3380CC4-5D6E-409C-BE32-E72D297353CC}">
                <c16:uniqueId val="{0000000D-4521-49DF-A3AD-01B14FDCFE2C}"/>
              </c:ext>
            </c:extLst>
          </c:dPt>
          <c:dPt>
            <c:idx val="7"/>
            <c:invertIfNegative val="1"/>
            <c:bubble3D val="0"/>
            <c:spPr>
              <a:solidFill>
                <a:srgbClr val="E6E5E5"/>
              </a:solidFill>
            </c:spPr>
            <c:extLst>
              <c:ext xmlns:c16="http://schemas.microsoft.com/office/drawing/2014/chart" uri="{C3380CC4-5D6E-409C-BE32-E72D297353CC}">
                <c16:uniqueId val="{00000000-46AD-4608-B607-5E413AFB740D}"/>
              </c:ext>
            </c:extLst>
          </c:dPt>
          <c:dPt>
            <c:idx val="8"/>
            <c:invertIfNegative val="1"/>
            <c:bubble3D val="0"/>
            <c:spPr>
              <a:solidFill>
                <a:srgbClr val="E6E5E5"/>
              </a:solidFill>
            </c:spPr>
            <c:extLst>
              <c:ext xmlns:c16="http://schemas.microsoft.com/office/drawing/2014/chart" uri="{C3380CC4-5D6E-409C-BE32-E72D297353CC}">
                <c16:uniqueId val="{00000001-46AD-4608-B607-5E413AFB740D}"/>
              </c:ext>
            </c:extLst>
          </c:dPt>
          <c:dPt>
            <c:idx val="9"/>
            <c:invertIfNegative val="1"/>
            <c:bubble3D val="0"/>
            <c:spPr>
              <a:solidFill>
                <a:srgbClr val="E6E5E5"/>
              </a:solidFill>
            </c:spPr>
            <c:extLst>
              <c:ext xmlns:c16="http://schemas.microsoft.com/office/drawing/2014/chart" uri="{C3380CC4-5D6E-409C-BE32-E72D297353CC}">
                <c16:uniqueId val="{00000002-46AD-4608-B607-5E413AFB740D}"/>
              </c:ext>
            </c:extLst>
          </c:dPt>
          <c:dPt>
            <c:idx val="10"/>
            <c:invertIfNegative val="1"/>
            <c:bubble3D val="0"/>
            <c:spPr>
              <a:solidFill>
                <a:srgbClr val="E6E5E5"/>
              </a:solidFill>
            </c:spPr>
            <c:extLst>
              <c:ext xmlns:c16="http://schemas.microsoft.com/office/drawing/2014/chart" uri="{C3380CC4-5D6E-409C-BE32-E72D297353CC}">
                <c16:uniqueId val="{00000003-46AD-4608-B607-5E413AFB740D}"/>
              </c:ext>
            </c:extLst>
          </c:dPt>
          <c:dPt>
            <c:idx val="11"/>
            <c:invertIfNegative val="1"/>
            <c:bubble3D val="0"/>
            <c:spPr>
              <a:solidFill>
                <a:srgbClr val="E6E5E5"/>
              </a:solidFill>
            </c:spPr>
            <c:extLst>
              <c:ext xmlns:c16="http://schemas.microsoft.com/office/drawing/2014/chart" uri="{C3380CC4-5D6E-409C-BE32-E72D297353CC}">
                <c16:uniqueId val="{00000017-4521-49DF-A3AD-01B14FDCFE2C}"/>
              </c:ext>
            </c:extLst>
          </c:dPt>
          <c:dPt>
            <c:idx val="12"/>
            <c:invertIfNegative val="1"/>
            <c:bubble3D val="0"/>
            <c:spPr>
              <a:solidFill>
                <a:srgbClr val="E6E5E5"/>
              </a:solidFill>
            </c:spPr>
            <c:extLst>
              <c:ext xmlns:c16="http://schemas.microsoft.com/office/drawing/2014/chart" uri="{C3380CC4-5D6E-409C-BE32-E72D297353CC}">
                <c16:uniqueId val="{00000019-4521-49DF-A3AD-01B14FDCFE2C}"/>
              </c:ext>
            </c:extLst>
          </c:dPt>
          <c:dPt>
            <c:idx val="13"/>
            <c:invertIfNegative val="1"/>
            <c:bubble3D val="0"/>
            <c:spPr>
              <a:solidFill>
                <a:srgbClr val="E6E5E5"/>
              </a:solidFill>
            </c:spPr>
            <c:extLst>
              <c:ext xmlns:c16="http://schemas.microsoft.com/office/drawing/2014/chart" uri="{C3380CC4-5D6E-409C-BE32-E72D297353CC}">
                <c16:uniqueId val="{0000001B-4521-49DF-A3AD-01B14FDCFE2C}"/>
              </c:ext>
            </c:extLst>
          </c:dPt>
          <c:dPt>
            <c:idx val="14"/>
            <c:invertIfNegative val="1"/>
            <c:bubble3D val="0"/>
            <c:spPr>
              <a:solidFill>
                <a:srgbClr val="E6E5E5"/>
              </a:solidFill>
            </c:spPr>
            <c:extLst>
              <c:ext xmlns:c16="http://schemas.microsoft.com/office/drawing/2014/chart" uri="{C3380CC4-5D6E-409C-BE32-E72D297353CC}">
                <c16:uniqueId val="{0000001D-4521-49DF-A3AD-01B14FDCFE2C}"/>
              </c:ext>
            </c:extLst>
          </c:dPt>
          <c:dPt>
            <c:idx val="15"/>
            <c:invertIfNegative val="1"/>
            <c:bubble3D val="0"/>
            <c:spPr>
              <a:solidFill>
                <a:srgbClr val="E6E5E5"/>
              </a:solidFill>
            </c:spPr>
            <c:extLst>
              <c:ext xmlns:c16="http://schemas.microsoft.com/office/drawing/2014/chart" uri="{C3380CC4-5D6E-409C-BE32-E72D297353CC}">
                <c16:uniqueId val="{0000001F-4521-49DF-A3AD-01B14FDCFE2C}"/>
              </c:ext>
            </c:extLst>
          </c:dPt>
          <c:dLbls>
            <c:numFmt formatCode="0.0%" sourceLinked="0"/>
            <c:spPr>
              <a:noFill/>
              <a:ln>
                <a:noFill/>
              </a:ln>
              <a:effectLst/>
            </c:spPr>
            <c:txPr>
              <a:bodyPr rot="0" spcFirstLastPara="1" vertOverflow="ellipsis" vert="horz" wrap="non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A$2:$A$12</c:f>
              <c:numCache>
                <c:formatCode>General</c:formatCode>
                <c:ptCount val="11"/>
                <c:pt idx="0">
                  <c:v>0</c:v>
                </c:pt>
                <c:pt idx="1">
                  <c:v>1</c:v>
                </c:pt>
                <c:pt idx="2">
                  <c:v>2</c:v>
                </c:pt>
                <c:pt idx="3">
                  <c:v>3</c:v>
                </c:pt>
                <c:pt idx="4">
                  <c:v>4</c:v>
                </c:pt>
                <c:pt idx="5">
                  <c:v>5</c:v>
                </c:pt>
                <c:pt idx="6">
                  <c:v>6</c:v>
                </c:pt>
                <c:pt idx="7">
                  <c:v>7</c:v>
                </c:pt>
                <c:pt idx="8">
                  <c:v>8</c:v>
                </c:pt>
                <c:pt idx="9">
                  <c:v>9</c:v>
                </c:pt>
                <c:pt idx="10">
                  <c:v>10</c:v>
                </c:pt>
              </c:numCache>
            </c:numRef>
          </c:cat>
          <c:val>
            <c:numRef>
              <c:f>Sheet1!$B$2:$B$12</c:f>
              <c:numCache>
                <c:formatCode>General</c:formatCode>
                <c:ptCount val="11"/>
                <c:pt idx="0">
                  <c:v>5.0447854226814207E-2</c:v>
                </c:pt>
                <c:pt idx="1">
                  <c:v>7.9671669867510259E-2</c:v>
                </c:pt>
                <c:pt idx="2">
                  <c:v>9.5243035433779294E-2</c:v>
                </c:pt>
                <c:pt idx="3">
                  <c:v>4.6930023952282761E-2</c:v>
                </c:pt>
                <c:pt idx="4">
                  <c:v>5.3986451383998227E-2</c:v>
                </c:pt>
                <c:pt idx="5">
                  <c:v>3.9307564557694179E-2</c:v>
                </c:pt>
                <c:pt idx="6">
                  <c:v>1.564990410618107E-2</c:v>
                </c:pt>
                <c:pt idx="7">
                  <c:v>3.8296802999407388E-2</c:v>
                </c:pt>
                <c:pt idx="8">
                  <c:v>1.260545269416481E-2</c:v>
                </c:pt>
                <c:pt idx="9">
                  <c:v>2.5391227092504961E-2</c:v>
                </c:pt>
                <c:pt idx="10">
                  <c:v>1.8423164832667101E-2</c:v>
                </c:pt>
              </c:numCache>
            </c:numRef>
          </c:val>
          <c:extLst>
            <c:ext xmlns:c16="http://schemas.microsoft.com/office/drawing/2014/chart" uri="{C3380CC4-5D6E-409C-BE32-E72D297353CC}">
              <c16:uniqueId val="{00000004-46AD-4608-B607-5E413AFB740D}"/>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478263789278E-2"/>
          <c:y val="0"/>
          <c:w val="0.96518562554386689"/>
          <c:h val="1"/>
        </c:manualLayout>
      </c:layout>
      <c:barChart>
        <c:barDir val="bar"/>
        <c:grouping val="clustered"/>
        <c:varyColors val="0"/>
        <c:ser>
          <c:idx val="2"/>
          <c:order val="0"/>
          <c:tx>
            <c:strRef>
              <c:f>Sheet1!$B$1</c:f>
              <c:strCache>
                <c:ptCount val="1"/>
                <c:pt idx="0">
                  <c:v>Hershey's Cookies 'n Creme 40Gx 4</c:v>
                </c:pt>
              </c:strCache>
            </c:strRef>
          </c:tx>
          <c:spPr>
            <a:solidFill>
              <a:srgbClr val="E6E5E5"/>
            </a:solidFill>
            <a:ln w="9525" cap="flat" cmpd="sng" algn="ctr">
              <a:noFill/>
              <a:round/>
            </a:ln>
            <a:effectLst/>
          </c:spPr>
          <c:invertIfNegative val="0"/>
          <c:dPt>
            <c:idx val="0"/>
            <c:invertIfNegative val="1"/>
            <c:bubble3D val="0"/>
            <c:spPr>
              <a:solidFill>
                <a:srgbClr val="E6E5E5"/>
              </a:solidFill>
            </c:spPr>
            <c:extLst>
              <c:ext xmlns:c16="http://schemas.microsoft.com/office/drawing/2014/chart" uri="{C3380CC4-5D6E-409C-BE32-E72D297353CC}">
                <c16:uniqueId val="{00000001-4CF6-426D-AECF-CFB74E12454F}"/>
              </c:ext>
            </c:extLst>
          </c:dPt>
          <c:dPt>
            <c:idx val="1"/>
            <c:invertIfNegative val="1"/>
            <c:bubble3D val="0"/>
            <c:spPr>
              <a:solidFill>
                <a:srgbClr val="E6E5E5"/>
              </a:solidFill>
            </c:spPr>
            <c:extLst>
              <c:ext xmlns:c16="http://schemas.microsoft.com/office/drawing/2014/chart" uri="{C3380CC4-5D6E-409C-BE32-E72D297353CC}">
                <c16:uniqueId val="{00000003-4CF6-426D-AECF-CFB74E12454F}"/>
              </c:ext>
            </c:extLst>
          </c:dPt>
          <c:dPt>
            <c:idx val="2"/>
            <c:invertIfNegative val="1"/>
            <c:bubble3D val="0"/>
            <c:spPr>
              <a:solidFill>
                <a:srgbClr val="E6E5E5"/>
              </a:solidFill>
            </c:spPr>
            <c:extLst>
              <c:ext xmlns:c16="http://schemas.microsoft.com/office/drawing/2014/chart" uri="{C3380CC4-5D6E-409C-BE32-E72D297353CC}">
                <c16:uniqueId val="{00000005-4CF6-426D-AECF-CFB74E12454F}"/>
              </c:ext>
            </c:extLst>
          </c:dPt>
          <c:dPt>
            <c:idx val="3"/>
            <c:invertIfNegative val="1"/>
            <c:bubble3D val="0"/>
            <c:spPr>
              <a:solidFill>
                <a:srgbClr val="E6E5E5"/>
              </a:solidFill>
            </c:spPr>
            <c:extLst>
              <c:ext xmlns:c16="http://schemas.microsoft.com/office/drawing/2014/chart" uri="{C3380CC4-5D6E-409C-BE32-E72D297353CC}">
                <c16:uniqueId val="{00000007-4CF6-426D-AECF-CFB74E12454F}"/>
              </c:ext>
            </c:extLst>
          </c:dPt>
          <c:dPt>
            <c:idx val="4"/>
            <c:invertIfNegative val="1"/>
            <c:bubble3D val="0"/>
            <c:spPr>
              <a:solidFill>
                <a:srgbClr val="E6E5E5"/>
              </a:solidFill>
            </c:spPr>
            <c:extLst>
              <c:ext xmlns:c16="http://schemas.microsoft.com/office/drawing/2014/chart" uri="{C3380CC4-5D6E-409C-BE32-E72D297353CC}">
                <c16:uniqueId val="{00000009-4CF6-426D-AECF-CFB74E12454F}"/>
              </c:ext>
            </c:extLst>
          </c:dPt>
          <c:dPt>
            <c:idx val="5"/>
            <c:invertIfNegative val="1"/>
            <c:bubble3D val="0"/>
            <c:spPr>
              <a:solidFill>
                <a:srgbClr val="E6E5E5"/>
              </a:solidFill>
            </c:spPr>
            <c:extLst>
              <c:ext xmlns:c16="http://schemas.microsoft.com/office/drawing/2014/chart" uri="{C3380CC4-5D6E-409C-BE32-E72D297353CC}">
                <c16:uniqueId val="{0000000B-4CF6-426D-AECF-CFB74E12454F}"/>
              </c:ext>
            </c:extLst>
          </c:dPt>
          <c:dPt>
            <c:idx val="6"/>
            <c:invertIfNegative val="1"/>
            <c:bubble3D val="0"/>
            <c:spPr>
              <a:solidFill>
                <a:srgbClr val="E6E5E5"/>
              </a:solidFill>
            </c:spPr>
            <c:extLst>
              <c:ext xmlns:c16="http://schemas.microsoft.com/office/drawing/2014/chart" uri="{C3380CC4-5D6E-409C-BE32-E72D297353CC}">
                <c16:uniqueId val="{0000000D-4CF6-426D-AECF-CFB74E12454F}"/>
              </c:ext>
            </c:extLst>
          </c:dPt>
          <c:dPt>
            <c:idx val="7"/>
            <c:invertIfNegative val="1"/>
            <c:bubble3D val="0"/>
            <c:spPr>
              <a:solidFill>
                <a:srgbClr val="E6E5E5"/>
              </a:solidFill>
            </c:spPr>
            <c:extLst>
              <c:ext xmlns:c16="http://schemas.microsoft.com/office/drawing/2014/chart" uri="{C3380CC4-5D6E-409C-BE32-E72D297353CC}">
                <c16:uniqueId val="{00000000-2DEF-4275-BB7F-2A2402E29FCF}"/>
              </c:ext>
            </c:extLst>
          </c:dPt>
          <c:dPt>
            <c:idx val="8"/>
            <c:invertIfNegative val="1"/>
            <c:bubble3D val="0"/>
            <c:spPr>
              <a:solidFill>
                <a:srgbClr val="E6E5E5"/>
              </a:solidFill>
            </c:spPr>
            <c:extLst>
              <c:ext xmlns:c16="http://schemas.microsoft.com/office/drawing/2014/chart" uri="{C3380CC4-5D6E-409C-BE32-E72D297353CC}">
                <c16:uniqueId val="{00000001-2DEF-4275-BB7F-2A2402E29FCF}"/>
              </c:ext>
            </c:extLst>
          </c:dPt>
          <c:dPt>
            <c:idx val="9"/>
            <c:invertIfNegative val="1"/>
            <c:bubble3D val="0"/>
            <c:spPr>
              <a:solidFill>
                <a:srgbClr val="E6E5E5"/>
              </a:solidFill>
            </c:spPr>
            <c:extLst>
              <c:ext xmlns:c16="http://schemas.microsoft.com/office/drawing/2014/chart" uri="{C3380CC4-5D6E-409C-BE32-E72D297353CC}">
                <c16:uniqueId val="{00000002-2DEF-4275-BB7F-2A2402E29FCF}"/>
              </c:ext>
            </c:extLst>
          </c:dPt>
          <c:dPt>
            <c:idx val="10"/>
            <c:invertIfNegative val="1"/>
            <c:bubble3D val="0"/>
            <c:spPr>
              <a:solidFill>
                <a:srgbClr val="E6E5E5"/>
              </a:solidFill>
            </c:spPr>
            <c:extLst>
              <c:ext xmlns:c16="http://schemas.microsoft.com/office/drawing/2014/chart" uri="{C3380CC4-5D6E-409C-BE32-E72D297353CC}">
                <c16:uniqueId val="{00000003-2DEF-4275-BB7F-2A2402E29FCF}"/>
              </c:ext>
            </c:extLst>
          </c:dPt>
          <c:dPt>
            <c:idx val="11"/>
            <c:invertIfNegative val="1"/>
            <c:bubble3D val="0"/>
            <c:spPr>
              <a:solidFill>
                <a:srgbClr val="E6E5E5"/>
              </a:solidFill>
            </c:spPr>
            <c:extLst>
              <c:ext xmlns:c16="http://schemas.microsoft.com/office/drawing/2014/chart" uri="{C3380CC4-5D6E-409C-BE32-E72D297353CC}">
                <c16:uniqueId val="{00000017-4CF6-426D-AECF-CFB74E12454F}"/>
              </c:ext>
            </c:extLst>
          </c:dPt>
          <c:dPt>
            <c:idx val="12"/>
            <c:invertIfNegative val="1"/>
            <c:bubble3D val="0"/>
            <c:spPr>
              <a:solidFill>
                <a:srgbClr val="E6E5E5"/>
              </a:solidFill>
            </c:spPr>
            <c:extLst>
              <c:ext xmlns:c16="http://schemas.microsoft.com/office/drawing/2014/chart" uri="{C3380CC4-5D6E-409C-BE32-E72D297353CC}">
                <c16:uniqueId val="{00000019-4CF6-426D-AECF-CFB74E12454F}"/>
              </c:ext>
            </c:extLst>
          </c:dPt>
          <c:dPt>
            <c:idx val="13"/>
            <c:invertIfNegative val="1"/>
            <c:bubble3D val="0"/>
            <c:spPr>
              <a:solidFill>
                <a:srgbClr val="E6E5E5"/>
              </a:solidFill>
            </c:spPr>
            <c:extLst>
              <c:ext xmlns:c16="http://schemas.microsoft.com/office/drawing/2014/chart" uri="{C3380CC4-5D6E-409C-BE32-E72D297353CC}">
                <c16:uniqueId val="{0000001B-4CF6-426D-AECF-CFB74E12454F}"/>
              </c:ext>
            </c:extLst>
          </c:dPt>
          <c:dPt>
            <c:idx val="14"/>
            <c:invertIfNegative val="1"/>
            <c:bubble3D val="0"/>
            <c:spPr>
              <a:solidFill>
                <a:srgbClr val="E6E5E5"/>
              </a:solidFill>
            </c:spPr>
            <c:extLst>
              <c:ext xmlns:c16="http://schemas.microsoft.com/office/drawing/2014/chart" uri="{C3380CC4-5D6E-409C-BE32-E72D297353CC}">
                <c16:uniqueId val="{0000001D-4CF6-426D-AECF-CFB74E12454F}"/>
              </c:ext>
            </c:extLst>
          </c:dPt>
          <c:dPt>
            <c:idx val="15"/>
            <c:invertIfNegative val="1"/>
            <c:bubble3D val="0"/>
            <c:spPr>
              <a:solidFill>
                <a:srgbClr val="E6E5E5"/>
              </a:solidFill>
            </c:spPr>
            <c:extLst>
              <c:ext xmlns:c16="http://schemas.microsoft.com/office/drawing/2014/chart" uri="{C3380CC4-5D6E-409C-BE32-E72D297353CC}">
                <c16:uniqueId val="{0000001F-4CF6-426D-AECF-CFB74E12454F}"/>
              </c:ext>
            </c:extLst>
          </c:dPt>
          <c:dLbls>
            <c:numFmt formatCode="0.0%" sourceLinked="0"/>
            <c:spPr>
              <a:noFill/>
              <a:ln>
                <a:noFill/>
              </a:ln>
              <a:effectLst/>
            </c:spPr>
            <c:txPr>
              <a:bodyPr rot="0" spcFirstLastPara="1" vertOverflow="ellipsis" vert="horz" wrap="non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A$2:$A$12</c:f>
              <c:numCache>
                <c:formatCode>General</c:formatCode>
                <c:ptCount val="11"/>
                <c:pt idx="0">
                  <c:v>0</c:v>
                </c:pt>
                <c:pt idx="1">
                  <c:v>1</c:v>
                </c:pt>
                <c:pt idx="2">
                  <c:v>2</c:v>
                </c:pt>
                <c:pt idx="3">
                  <c:v>3</c:v>
                </c:pt>
                <c:pt idx="4">
                  <c:v>4</c:v>
                </c:pt>
                <c:pt idx="5">
                  <c:v>5</c:v>
                </c:pt>
                <c:pt idx="6">
                  <c:v>6</c:v>
                </c:pt>
                <c:pt idx="7">
                  <c:v>7</c:v>
                </c:pt>
                <c:pt idx="8">
                  <c:v>8</c:v>
                </c:pt>
                <c:pt idx="9">
                  <c:v>9</c:v>
                </c:pt>
                <c:pt idx="10">
                  <c:v>10</c:v>
                </c:pt>
              </c:numCache>
            </c:numRef>
          </c:cat>
          <c:val>
            <c:numRef>
              <c:f>Sheet1!$B$2:$B$12</c:f>
              <c:numCache>
                <c:formatCode>General</c:formatCode>
                <c:ptCount val="11"/>
                <c:pt idx="0">
                  <c:v>0.144625596426422</c:v>
                </c:pt>
                <c:pt idx="1">
                  <c:v>7.3709483938171463E-2</c:v>
                </c:pt>
                <c:pt idx="2">
                  <c:v>7.0107128669837274E-2</c:v>
                </c:pt>
                <c:pt idx="3">
                  <c:v>5.5930863438467572E-2</c:v>
                </c:pt>
                <c:pt idx="4">
                  <c:v>4.1193482742225562E-2</c:v>
                </c:pt>
                <c:pt idx="5">
                  <c:v>3.1577164777321309E-2</c:v>
                </c:pt>
                <c:pt idx="6">
                  <c:v>4.8101004071141019E-2</c:v>
                </c:pt>
                <c:pt idx="7">
                  <c:v>3.0212086643940799E-2</c:v>
                </c:pt>
                <c:pt idx="8">
                  <c:v>3.3038799269343028E-2</c:v>
                </c:pt>
                <c:pt idx="9">
                  <c:v>2.5012729873956439E-2</c:v>
                </c:pt>
                <c:pt idx="10">
                  <c:v>2.2428122238729871E-2</c:v>
                </c:pt>
              </c:numCache>
            </c:numRef>
          </c:val>
          <c:extLst>
            <c:ext xmlns:c16="http://schemas.microsoft.com/office/drawing/2014/chart" uri="{C3380CC4-5D6E-409C-BE32-E72D297353CC}">
              <c16:uniqueId val="{00000004-2DEF-4275-BB7F-2A2402E29FCF}"/>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147466194934E-2"/>
          <c:y val="0"/>
          <c:w val="0.96518562554386689"/>
          <c:h val="1"/>
        </c:manualLayout>
      </c:layout>
      <c:barChart>
        <c:barDir val="bar"/>
        <c:grouping val="clustered"/>
        <c:varyColors val="0"/>
        <c:ser>
          <c:idx val="2"/>
          <c:order val="0"/>
          <c:tx>
            <c:strRef>
              <c:f>Sheet1!$B$1</c:f>
              <c:strCache>
                <c:ptCount val="1"/>
                <c:pt idx="0">
                  <c:v>Hershey's Cookies 'n Creme Block 90g</c:v>
                </c:pt>
              </c:strCache>
            </c:strRef>
          </c:tx>
          <c:spPr>
            <a:solidFill>
              <a:srgbClr val="E6E5E5"/>
            </a:solidFill>
            <a:ln w="9525" cap="flat" cmpd="sng" algn="ctr">
              <a:noFill/>
              <a:round/>
            </a:ln>
            <a:effectLst/>
          </c:spPr>
          <c:invertIfNegative val="0"/>
          <c:dPt>
            <c:idx val="0"/>
            <c:invertIfNegative val="1"/>
            <c:bubble3D val="0"/>
            <c:spPr>
              <a:solidFill>
                <a:srgbClr val="E6E5E5"/>
              </a:solidFill>
            </c:spPr>
            <c:extLst>
              <c:ext xmlns:c16="http://schemas.microsoft.com/office/drawing/2014/chart" uri="{C3380CC4-5D6E-409C-BE32-E72D297353CC}">
                <c16:uniqueId val="{00000001-A16F-412C-84B5-C6CF2DB60E7E}"/>
              </c:ext>
            </c:extLst>
          </c:dPt>
          <c:dPt>
            <c:idx val="1"/>
            <c:invertIfNegative val="1"/>
            <c:bubble3D val="0"/>
            <c:spPr>
              <a:solidFill>
                <a:srgbClr val="E6E5E5"/>
              </a:solidFill>
            </c:spPr>
            <c:extLst>
              <c:ext xmlns:c16="http://schemas.microsoft.com/office/drawing/2014/chart" uri="{C3380CC4-5D6E-409C-BE32-E72D297353CC}">
                <c16:uniqueId val="{00000003-A16F-412C-84B5-C6CF2DB60E7E}"/>
              </c:ext>
            </c:extLst>
          </c:dPt>
          <c:dPt>
            <c:idx val="2"/>
            <c:invertIfNegative val="1"/>
            <c:bubble3D val="0"/>
            <c:spPr>
              <a:solidFill>
                <a:srgbClr val="E6E5E5"/>
              </a:solidFill>
            </c:spPr>
            <c:extLst>
              <c:ext xmlns:c16="http://schemas.microsoft.com/office/drawing/2014/chart" uri="{C3380CC4-5D6E-409C-BE32-E72D297353CC}">
                <c16:uniqueId val="{00000005-A16F-412C-84B5-C6CF2DB60E7E}"/>
              </c:ext>
            </c:extLst>
          </c:dPt>
          <c:dPt>
            <c:idx val="3"/>
            <c:invertIfNegative val="1"/>
            <c:bubble3D val="0"/>
            <c:spPr>
              <a:solidFill>
                <a:srgbClr val="E6E5E5"/>
              </a:solidFill>
            </c:spPr>
            <c:extLst>
              <c:ext xmlns:c16="http://schemas.microsoft.com/office/drawing/2014/chart" uri="{C3380CC4-5D6E-409C-BE32-E72D297353CC}">
                <c16:uniqueId val="{00000007-A16F-412C-84B5-C6CF2DB60E7E}"/>
              </c:ext>
            </c:extLst>
          </c:dPt>
          <c:dPt>
            <c:idx val="4"/>
            <c:invertIfNegative val="1"/>
            <c:bubble3D val="0"/>
            <c:spPr>
              <a:solidFill>
                <a:srgbClr val="E6E5E5"/>
              </a:solidFill>
            </c:spPr>
            <c:extLst>
              <c:ext xmlns:c16="http://schemas.microsoft.com/office/drawing/2014/chart" uri="{C3380CC4-5D6E-409C-BE32-E72D297353CC}">
                <c16:uniqueId val="{00000009-A16F-412C-84B5-C6CF2DB60E7E}"/>
              </c:ext>
            </c:extLst>
          </c:dPt>
          <c:dPt>
            <c:idx val="5"/>
            <c:invertIfNegative val="1"/>
            <c:bubble3D val="0"/>
            <c:spPr>
              <a:solidFill>
                <a:srgbClr val="E6E5E5"/>
              </a:solidFill>
            </c:spPr>
            <c:extLst>
              <c:ext xmlns:c16="http://schemas.microsoft.com/office/drawing/2014/chart" uri="{C3380CC4-5D6E-409C-BE32-E72D297353CC}">
                <c16:uniqueId val="{0000000B-A16F-412C-84B5-C6CF2DB60E7E}"/>
              </c:ext>
            </c:extLst>
          </c:dPt>
          <c:dPt>
            <c:idx val="6"/>
            <c:invertIfNegative val="1"/>
            <c:bubble3D val="0"/>
            <c:spPr>
              <a:solidFill>
                <a:srgbClr val="E6E5E5"/>
              </a:solidFill>
            </c:spPr>
            <c:extLst>
              <c:ext xmlns:c16="http://schemas.microsoft.com/office/drawing/2014/chart" uri="{C3380CC4-5D6E-409C-BE32-E72D297353CC}">
                <c16:uniqueId val="{0000000D-A16F-412C-84B5-C6CF2DB60E7E}"/>
              </c:ext>
            </c:extLst>
          </c:dPt>
          <c:dPt>
            <c:idx val="7"/>
            <c:invertIfNegative val="1"/>
            <c:bubble3D val="0"/>
            <c:spPr>
              <a:solidFill>
                <a:srgbClr val="E6E5E5"/>
              </a:solidFill>
            </c:spPr>
            <c:extLst>
              <c:ext xmlns:c16="http://schemas.microsoft.com/office/drawing/2014/chart" uri="{C3380CC4-5D6E-409C-BE32-E72D297353CC}">
                <c16:uniqueId val="{00000000-FE5A-42FB-884A-EEDE11C690F3}"/>
              </c:ext>
            </c:extLst>
          </c:dPt>
          <c:dPt>
            <c:idx val="8"/>
            <c:invertIfNegative val="1"/>
            <c:bubble3D val="0"/>
            <c:spPr>
              <a:solidFill>
                <a:srgbClr val="E6E5E5"/>
              </a:solidFill>
            </c:spPr>
            <c:extLst>
              <c:ext xmlns:c16="http://schemas.microsoft.com/office/drawing/2014/chart" uri="{C3380CC4-5D6E-409C-BE32-E72D297353CC}">
                <c16:uniqueId val="{00000001-FE5A-42FB-884A-EEDE11C690F3}"/>
              </c:ext>
            </c:extLst>
          </c:dPt>
          <c:dPt>
            <c:idx val="9"/>
            <c:invertIfNegative val="1"/>
            <c:bubble3D val="0"/>
            <c:spPr>
              <a:solidFill>
                <a:srgbClr val="E6E5E5"/>
              </a:solidFill>
            </c:spPr>
            <c:extLst>
              <c:ext xmlns:c16="http://schemas.microsoft.com/office/drawing/2014/chart" uri="{C3380CC4-5D6E-409C-BE32-E72D297353CC}">
                <c16:uniqueId val="{00000002-FE5A-42FB-884A-EEDE11C690F3}"/>
              </c:ext>
            </c:extLst>
          </c:dPt>
          <c:dPt>
            <c:idx val="10"/>
            <c:invertIfNegative val="1"/>
            <c:bubble3D val="0"/>
            <c:spPr>
              <a:solidFill>
                <a:srgbClr val="E6E5E5"/>
              </a:solidFill>
            </c:spPr>
            <c:extLst>
              <c:ext xmlns:c16="http://schemas.microsoft.com/office/drawing/2014/chart" uri="{C3380CC4-5D6E-409C-BE32-E72D297353CC}">
                <c16:uniqueId val="{00000003-FE5A-42FB-884A-EEDE11C690F3}"/>
              </c:ext>
            </c:extLst>
          </c:dPt>
          <c:dLbls>
            <c:numFmt formatCode="0.0%" sourceLinked="0"/>
            <c:spPr>
              <a:noFill/>
              <a:ln>
                <a:noFill/>
              </a:ln>
              <a:effectLst/>
            </c:spPr>
            <c:txPr>
              <a:bodyPr rot="0" spcFirstLastPara="1" vertOverflow="ellipsis" vert="horz" wrap="non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A$2:$A$12</c:f>
              <c:numCache>
                <c:formatCode>General</c:formatCode>
                <c:ptCount val="11"/>
                <c:pt idx="0">
                  <c:v>0</c:v>
                </c:pt>
                <c:pt idx="1">
                  <c:v>1</c:v>
                </c:pt>
                <c:pt idx="2">
                  <c:v>2</c:v>
                </c:pt>
                <c:pt idx="3">
                  <c:v>3</c:v>
                </c:pt>
                <c:pt idx="4">
                  <c:v>4</c:v>
                </c:pt>
                <c:pt idx="5">
                  <c:v>5</c:v>
                </c:pt>
                <c:pt idx="6">
                  <c:v>6</c:v>
                </c:pt>
                <c:pt idx="7">
                  <c:v>7</c:v>
                </c:pt>
                <c:pt idx="8">
                  <c:v>8</c:v>
                </c:pt>
                <c:pt idx="9">
                  <c:v>9</c:v>
                </c:pt>
                <c:pt idx="10">
                  <c:v>10</c:v>
                </c:pt>
              </c:numCache>
            </c:numRef>
          </c:cat>
          <c:val>
            <c:numRef>
              <c:f>Sheet1!$B$2:$B$12</c:f>
              <c:numCache>
                <c:formatCode>General</c:formatCode>
                <c:ptCount val="11"/>
                <c:pt idx="0">
                  <c:v>8.3680830643657791E-2</c:v>
                </c:pt>
                <c:pt idx="1">
                  <c:v>8.4832717379492509E-2</c:v>
                </c:pt>
                <c:pt idx="2">
                  <c:v>6.972508654231116E-2</c:v>
                </c:pt>
                <c:pt idx="3">
                  <c:v>7.265896809008994E-2</c:v>
                </c:pt>
                <c:pt idx="4">
                  <c:v>2.6867333324909211E-2</c:v>
                </c:pt>
                <c:pt idx="5">
                  <c:v>3.2846571323964111E-2</c:v>
                </c:pt>
                <c:pt idx="6">
                  <c:v>2.9692361061533581E-2</c:v>
                </c:pt>
                <c:pt idx="7">
                  <c:v>2.4673524627930769E-2</c:v>
                </c:pt>
                <c:pt idx="8">
                  <c:v>2.4801210223196219E-2</c:v>
                </c:pt>
                <c:pt idx="9">
                  <c:v>1.6946024595636509E-2</c:v>
                </c:pt>
                <c:pt idx="10">
                  <c:v>1.974433097199577E-2</c:v>
                </c:pt>
              </c:numCache>
            </c:numRef>
          </c:val>
          <c:extLst>
            <c:ext xmlns:c16="http://schemas.microsoft.com/office/drawing/2014/chart" uri="{C3380CC4-5D6E-409C-BE32-E72D297353CC}">
              <c16:uniqueId val="{00000004-FE5A-42FB-884A-EEDE11C690F3}"/>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418030674935E-2"/>
          <c:y val="0"/>
          <c:w val="0.96518562554386689"/>
          <c:h val="1"/>
        </c:manualLayout>
      </c:layout>
      <c:barChart>
        <c:barDir val="bar"/>
        <c:grouping val="clustered"/>
        <c:varyColors val="0"/>
        <c:ser>
          <c:idx val="2"/>
          <c:order val="0"/>
          <c:tx>
            <c:strRef>
              <c:f>Sheet1!$B$1</c:f>
              <c:strCache>
                <c:ptCount val="1"/>
                <c:pt idx="0">
                  <c:v>Hershey's Cookies 'n Creme Creations Salted Caramel 38g</c:v>
                </c:pt>
              </c:strCache>
            </c:strRef>
          </c:tx>
          <c:spPr>
            <a:solidFill>
              <a:srgbClr val="E6E5E5">
                <a:lumMod val="90000"/>
              </a:srgbClr>
            </a:solidFill>
            <a:ln w="9525" cap="flat" cmpd="sng" algn="ctr">
              <a:noFill/>
              <a:round/>
            </a:ln>
            <a:effectLst/>
          </c:spPr>
          <c:invertIfNegative val="0"/>
          <c:dPt>
            <c:idx val="0"/>
            <c:invertIfNegative val="1"/>
            <c:bubble3D val="0"/>
            <c:spPr>
              <a:solidFill>
                <a:srgbClr val="E6E5E5"/>
              </a:solidFill>
            </c:spPr>
            <c:extLst>
              <c:ext xmlns:c16="http://schemas.microsoft.com/office/drawing/2014/chart" uri="{C3380CC4-5D6E-409C-BE32-E72D297353CC}">
                <c16:uniqueId val="{00000001-4521-49DF-A3AD-01B14FDCFE2C}"/>
              </c:ext>
            </c:extLst>
          </c:dPt>
          <c:dPt>
            <c:idx val="1"/>
            <c:invertIfNegative val="1"/>
            <c:bubble3D val="0"/>
            <c:spPr>
              <a:solidFill>
                <a:srgbClr val="E6E5E5"/>
              </a:solidFill>
            </c:spPr>
            <c:extLst>
              <c:ext xmlns:c16="http://schemas.microsoft.com/office/drawing/2014/chart" uri="{C3380CC4-5D6E-409C-BE32-E72D297353CC}">
                <c16:uniqueId val="{00000003-4521-49DF-A3AD-01B14FDCFE2C}"/>
              </c:ext>
            </c:extLst>
          </c:dPt>
          <c:dPt>
            <c:idx val="2"/>
            <c:invertIfNegative val="1"/>
            <c:bubble3D val="0"/>
            <c:spPr>
              <a:solidFill>
                <a:srgbClr val="E6E5E5"/>
              </a:solidFill>
            </c:spPr>
            <c:extLst>
              <c:ext xmlns:c16="http://schemas.microsoft.com/office/drawing/2014/chart" uri="{C3380CC4-5D6E-409C-BE32-E72D297353CC}">
                <c16:uniqueId val="{00000005-4521-49DF-A3AD-01B14FDCFE2C}"/>
              </c:ext>
            </c:extLst>
          </c:dPt>
          <c:dPt>
            <c:idx val="3"/>
            <c:invertIfNegative val="1"/>
            <c:bubble3D val="0"/>
            <c:spPr>
              <a:solidFill>
                <a:srgbClr val="E6E5E5"/>
              </a:solidFill>
            </c:spPr>
            <c:extLst>
              <c:ext xmlns:c16="http://schemas.microsoft.com/office/drawing/2014/chart" uri="{C3380CC4-5D6E-409C-BE32-E72D297353CC}">
                <c16:uniqueId val="{00000007-4521-49DF-A3AD-01B14FDCFE2C}"/>
              </c:ext>
            </c:extLst>
          </c:dPt>
          <c:dPt>
            <c:idx val="4"/>
            <c:invertIfNegative val="1"/>
            <c:bubble3D val="0"/>
            <c:spPr>
              <a:solidFill>
                <a:srgbClr val="E6E5E5"/>
              </a:solidFill>
            </c:spPr>
            <c:extLst>
              <c:ext xmlns:c16="http://schemas.microsoft.com/office/drawing/2014/chart" uri="{C3380CC4-5D6E-409C-BE32-E72D297353CC}">
                <c16:uniqueId val="{00000009-4521-49DF-A3AD-01B14FDCFE2C}"/>
              </c:ext>
            </c:extLst>
          </c:dPt>
          <c:dPt>
            <c:idx val="5"/>
            <c:invertIfNegative val="1"/>
            <c:bubble3D val="0"/>
            <c:spPr>
              <a:solidFill>
                <a:srgbClr val="E6E5E5"/>
              </a:solidFill>
            </c:spPr>
            <c:extLst>
              <c:ext xmlns:c16="http://schemas.microsoft.com/office/drawing/2014/chart" uri="{C3380CC4-5D6E-409C-BE32-E72D297353CC}">
                <c16:uniqueId val="{0000000B-4521-49DF-A3AD-01B14FDCFE2C}"/>
              </c:ext>
            </c:extLst>
          </c:dPt>
          <c:dPt>
            <c:idx val="6"/>
            <c:invertIfNegative val="1"/>
            <c:bubble3D val="0"/>
            <c:spPr>
              <a:solidFill>
                <a:srgbClr val="E6E5E5"/>
              </a:solidFill>
            </c:spPr>
            <c:extLst>
              <c:ext xmlns:c16="http://schemas.microsoft.com/office/drawing/2014/chart" uri="{C3380CC4-5D6E-409C-BE32-E72D297353CC}">
                <c16:uniqueId val="{0000000D-4521-49DF-A3AD-01B14FDCFE2C}"/>
              </c:ext>
            </c:extLst>
          </c:dPt>
          <c:dPt>
            <c:idx val="7"/>
            <c:invertIfNegative val="1"/>
            <c:bubble3D val="0"/>
            <c:spPr>
              <a:solidFill>
                <a:srgbClr val="E6E5E5"/>
              </a:solidFill>
            </c:spPr>
            <c:extLst>
              <c:ext xmlns:c16="http://schemas.microsoft.com/office/drawing/2014/chart" uri="{C3380CC4-5D6E-409C-BE32-E72D297353CC}">
                <c16:uniqueId val="{00000000-46AD-4608-B607-5E413AFB740D}"/>
              </c:ext>
            </c:extLst>
          </c:dPt>
          <c:dPt>
            <c:idx val="8"/>
            <c:invertIfNegative val="1"/>
            <c:bubble3D val="0"/>
            <c:spPr>
              <a:solidFill>
                <a:srgbClr val="E6E5E5"/>
              </a:solidFill>
            </c:spPr>
            <c:extLst>
              <c:ext xmlns:c16="http://schemas.microsoft.com/office/drawing/2014/chart" uri="{C3380CC4-5D6E-409C-BE32-E72D297353CC}">
                <c16:uniqueId val="{00000001-46AD-4608-B607-5E413AFB740D}"/>
              </c:ext>
            </c:extLst>
          </c:dPt>
          <c:dPt>
            <c:idx val="9"/>
            <c:invertIfNegative val="1"/>
            <c:bubble3D val="0"/>
            <c:spPr>
              <a:solidFill>
                <a:srgbClr val="E6E5E5"/>
              </a:solidFill>
            </c:spPr>
            <c:extLst>
              <c:ext xmlns:c16="http://schemas.microsoft.com/office/drawing/2014/chart" uri="{C3380CC4-5D6E-409C-BE32-E72D297353CC}">
                <c16:uniqueId val="{00000002-46AD-4608-B607-5E413AFB740D}"/>
              </c:ext>
            </c:extLst>
          </c:dPt>
          <c:dPt>
            <c:idx val="10"/>
            <c:invertIfNegative val="1"/>
            <c:bubble3D val="0"/>
            <c:spPr>
              <a:solidFill>
                <a:srgbClr val="E6E5E5"/>
              </a:solidFill>
            </c:spPr>
            <c:extLst>
              <c:ext xmlns:c16="http://schemas.microsoft.com/office/drawing/2014/chart" uri="{C3380CC4-5D6E-409C-BE32-E72D297353CC}">
                <c16:uniqueId val="{00000003-46AD-4608-B607-5E413AFB740D}"/>
              </c:ext>
            </c:extLst>
          </c:dPt>
          <c:dPt>
            <c:idx val="11"/>
            <c:invertIfNegative val="1"/>
            <c:bubble3D val="0"/>
            <c:spPr>
              <a:solidFill>
                <a:srgbClr val="E6E5E5"/>
              </a:solidFill>
            </c:spPr>
            <c:extLst>
              <c:ext xmlns:c16="http://schemas.microsoft.com/office/drawing/2014/chart" uri="{C3380CC4-5D6E-409C-BE32-E72D297353CC}">
                <c16:uniqueId val="{00000017-4521-49DF-A3AD-01B14FDCFE2C}"/>
              </c:ext>
            </c:extLst>
          </c:dPt>
          <c:dPt>
            <c:idx val="12"/>
            <c:invertIfNegative val="1"/>
            <c:bubble3D val="0"/>
            <c:spPr>
              <a:solidFill>
                <a:srgbClr val="E6E5E5"/>
              </a:solidFill>
            </c:spPr>
            <c:extLst>
              <c:ext xmlns:c16="http://schemas.microsoft.com/office/drawing/2014/chart" uri="{C3380CC4-5D6E-409C-BE32-E72D297353CC}">
                <c16:uniqueId val="{00000019-4521-49DF-A3AD-01B14FDCFE2C}"/>
              </c:ext>
            </c:extLst>
          </c:dPt>
          <c:dPt>
            <c:idx val="13"/>
            <c:invertIfNegative val="1"/>
            <c:bubble3D val="0"/>
            <c:spPr>
              <a:solidFill>
                <a:srgbClr val="E6E5E5"/>
              </a:solidFill>
            </c:spPr>
            <c:extLst>
              <c:ext xmlns:c16="http://schemas.microsoft.com/office/drawing/2014/chart" uri="{C3380CC4-5D6E-409C-BE32-E72D297353CC}">
                <c16:uniqueId val="{0000001B-4521-49DF-A3AD-01B14FDCFE2C}"/>
              </c:ext>
            </c:extLst>
          </c:dPt>
          <c:dPt>
            <c:idx val="14"/>
            <c:invertIfNegative val="1"/>
            <c:bubble3D val="0"/>
            <c:spPr>
              <a:solidFill>
                <a:srgbClr val="E6E5E5"/>
              </a:solidFill>
            </c:spPr>
            <c:extLst>
              <c:ext xmlns:c16="http://schemas.microsoft.com/office/drawing/2014/chart" uri="{C3380CC4-5D6E-409C-BE32-E72D297353CC}">
                <c16:uniqueId val="{0000001D-4521-49DF-A3AD-01B14FDCFE2C}"/>
              </c:ext>
            </c:extLst>
          </c:dPt>
          <c:dPt>
            <c:idx val="15"/>
            <c:invertIfNegative val="1"/>
            <c:bubble3D val="0"/>
            <c:spPr>
              <a:solidFill>
                <a:srgbClr val="E6E5E5"/>
              </a:solidFill>
            </c:spPr>
            <c:extLst>
              <c:ext xmlns:c16="http://schemas.microsoft.com/office/drawing/2014/chart" uri="{C3380CC4-5D6E-409C-BE32-E72D297353CC}">
                <c16:uniqueId val="{0000001F-4521-49DF-A3AD-01B14FDCFE2C}"/>
              </c:ext>
            </c:extLst>
          </c:dPt>
          <c:dLbls>
            <c:numFmt formatCode="0.0%" sourceLinked="0"/>
            <c:spPr>
              <a:noFill/>
              <a:ln>
                <a:noFill/>
              </a:ln>
              <a:effectLst/>
            </c:spPr>
            <c:txPr>
              <a:bodyPr rot="0" spcFirstLastPara="1" vertOverflow="ellipsis" vert="horz" wrap="non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A$2:$A$12</c:f>
              <c:numCache>
                <c:formatCode>General</c:formatCode>
                <c:ptCount val="11"/>
                <c:pt idx="0">
                  <c:v>0</c:v>
                </c:pt>
                <c:pt idx="1">
                  <c:v>1</c:v>
                </c:pt>
                <c:pt idx="2">
                  <c:v>2</c:v>
                </c:pt>
                <c:pt idx="3">
                  <c:v>3</c:v>
                </c:pt>
                <c:pt idx="4">
                  <c:v>4</c:v>
                </c:pt>
                <c:pt idx="5">
                  <c:v>5</c:v>
                </c:pt>
                <c:pt idx="6">
                  <c:v>6</c:v>
                </c:pt>
                <c:pt idx="7">
                  <c:v>7</c:v>
                </c:pt>
                <c:pt idx="8">
                  <c:v>8</c:v>
                </c:pt>
                <c:pt idx="9">
                  <c:v>9</c:v>
                </c:pt>
                <c:pt idx="10">
                  <c:v>10</c:v>
                </c:pt>
              </c:numCache>
            </c:numRef>
          </c:cat>
          <c:val>
            <c:numRef>
              <c:f>Sheet1!$B$2:$B$12</c:f>
              <c:numCache>
                <c:formatCode>General</c:formatCode>
                <c:ptCount val="11"/>
                <c:pt idx="0">
                  <c:v>5.0447854226814207E-2</c:v>
                </c:pt>
                <c:pt idx="1">
                  <c:v>7.9671669867510259E-2</c:v>
                </c:pt>
                <c:pt idx="2">
                  <c:v>9.5243035433779294E-2</c:v>
                </c:pt>
                <c:pt idx="3">
                  <c:v>4.6930023952282761E-2</c:v>
                </c:pt>
                <c:pt idx="4">
                  <c:v>5.3986451383998227E-2</c:v>
                </c:pt>
                <c:pt idx="5">
                  <c:v>3.9307564557694179E-2</c:v>
                </c:pt>
                <c:pt idx="6">
                  <c:v>1.564990410618107E-2</c:v>
                </c:pt>
                <c:pt idx="7">
                  <c:v>3.8296802999407388E-2</c:v>
                </c:pt>
                <c:pt idx="8">
                  <c:v>1.260545269416481E-2</c:v>
                </c:pt>
                <c:pt idx="9">
                  <c:v>2.5391227092504961E-2</c:v>
                </c:pt>
                <c:pt idx="10">
                  <c:v>1.8423164832667101E-2</c:v>
                </c:pt>
              </c:numCache>
            </c:numRef>
          </c:val>
          <c:extLst>
            <c:ext xmlns:c16="http://schemas.microsoft.com/office/drawing/2014/chart" uri="{C3380CC4-5D6E-409C-BE32-E72D297353CC}">
              <c16:uniqueId val="{00000004-46AD-4608-B607-5E413AFB740D}"/>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ershey's Cookies 'n Creme Block 90g</c:v>
                </c:pt>
              </c:strCache>
            </c:strRef>
          </c:tx>
          <c:spPr>
            <a:solidFill>
              <a:schemeClr val="bg2"/>
            </a:solidFill>
            <a:ln>
              <a:noFill/>
            </a:ln>
            <a:effectLst/>
          </c:spPr>
          <c:invertIfNegative val="0"/>
          <c:dPt>
            <c:idx val="0"/>
            <c:invertIfNegative val="0"/>
            <c:bubble3D val="0"/>
            <c:spPr>
              <a:solidFill>
                <a:srgbClr val="E6E5E5"/>
              </a:solidFill>
              <a:ln>
                <a:noFill/>
              </a:ln>
              <a:effectLst/>
            </c:spPr>
            <c:extLst>
              <c:ext xmlns:c16="http://schemas.microsoft.com/office/drawing/2014/chart" uri="{C3380CC4-5D6E-409C-BE32-E72D297353CC}">
                <c16:uniqueId val="{0000000E-7980-4C82-8C1C-32D5A7B4E44B}"/>
              </c:ext>
            </c:extLst>
          </c:dPt>
          <c:dPt>
            <c:idx val="1"/>
            <c:invertIfNegative val="1"/>
            <c:bubble3D val="0"/>
            <c:spPr>
              <a:solidFill>
                <a:srgbClr val="E6E5E5"/>
              </a:solidFill>
            </c:spPr>
            <c:extLst>
              <c:ext xmlns:c16="http://schemas.microsoft.com/office/drawing/2014/chart" uri="{C3380CC4-5D6E-409C-BE32-E72D297353CC}">
                <c16:uniqueId val="{0000000F-7980-4C82-8C1C-32D5A7B4E44B}"/>
              </c:ext>
            </c:extLst>
          </c:dPt>
          <c:dPt>
            <c:idx val="2"/>
            <c:invertIfNegative val="1"/>
            <c:bubble3D val="0"/>
            <c:spPr>
              <a:solidFill>
                <a:srgbClr val="E6E5E5"/>
              </a:solidFill>
            </c:spPr>
            <c:extLst>
              <c:ext xmlns:c16="http://schemas.microsoft.com/office/drawing/2014/chart" uri="{C3380CC4-5D6E-409C-BE32-E72D297353CC}">
                <c16:uniqueId val="{00000010-7980-4C82-8C1C-32D5A7B4E44B}"/>
              </c:ext>
            </c:extLst>
          </c:dPt>
          <c:dPt>
            <c:idx val="3"/>
            <c:invertIfNegative val="0"/>
            <c:bubble3D val="0"/>
            <c:spPr>
              <a:solidFill>
                <a:srgbClr val="E6E5E5"/>
              </a:solidFill>
              <a:ln>
                <a:noFill/>
              </a:ln>
              <a:effectLst/>
            </c:spPr>
            <c:extLst>
              <c:ext xmlns:c16="http://schemas.microsoft.com/office/drawing/2014/chart" uri="{C3380CC4-5D6E-409C-BE32-E72D297353CC}">
                <c16:uniqueId val="{00000011-7980-4C82-8C1C-32D5A7B4E44B}"/>
              </c:ext>
            </c:extLst>
          </c:dPt>
          <c:dPt>
            <c:idx val="4"/>
            <c:invertIfNegative val="1"/>
            <c:bubble3D val="0"/>
            <c:spPr>
              <a:solidFill>
                <a:srgbClr val="E6E5E5"/>
              </a:solidFill>
            </c:spPr>
            <c:extLst>
              <c:ext xmlns:c16="http://schemas.microsoft.com/office/drawing/2014/chart" uri="{C3380CC4-5D6E-409C-BE32-E72D297353CC}">
                <c16:uniqueId val="{00000012-7980-4C82-8C1C-32D5A7B4E44B}"/>
              </c:ext>
            </c:extLst>
          </c:dPt>
          <c:dPt>
            <c:idx val="5"/>
            <c:invertIfNegative val="1"/>
            <c:bubble3D val="0"/>
            <c:spPr>
              <a:solidFill>
                <a:srgbClr val="E6E5E5"/>
              </a:solidFill>
            </c:spPr>
            <c:extLst>
              <c:ext xmlns:c16="http://schemas.microsoft.com/office/drawing/2014/chart" uri="{C3380CC4-5D6E-409C-BE32-E72D297353CC}">
                <c16:uniqueId val="{00000013-7980-4C82-8C1C-32D5A7B4E44B}"/>
              </c:ext>
            </c:extLst>
          </c:dPt>
          <c:dPt>
            <c:idx val="6"/>
            <c:invertIfNegative val="1"/>
            <c:bubble3D val="0"/>
            <c:spPr>
              <a:solidFill>
                <a:srgbClr val="E6E5E5"/>
              </a:solidFill>
            </c:spPr>
            <c:extLst>
              <c:ext xmlns:c16="http://schemas.microsoft.com/office/drawing/2014/chart" uri="{C3380CC4-5D6E-409C-BE32-E72D297353CC}">
                <c16:uniqueId val="{00000014-7980-4C82-8C1C-32D5A7B4E44B}"/>
              </c:ext>
            </c:extLst>
          </c:dPt>
          <c:dPt>
            <c:idx val="7"/>
            <c:invertIfNegative val="1"/>
            <c:bubble3D val="0"/>
            <c:spPr>
              <a:solidFill>
                <a:srgbClr val="E6E5E5"/>
              </a:solidFill>
            </c:spPr>
            <c:extLst>
              <c:ext xmlns:c16="http://schemas.microsoft.com/office/drawing/2014/chart" uri="{C3380CC4-5D6E-409C-BE32-E72D297353CC}">
                <c16:uniqueId val="{00000015-7980-4C82-8C1C-32D5A7B4E44B}"/>
              </c:ext>
            </c:extLst>
          </c:dPt>
          <c:dPt>
            <c:idx val="8"/>
            <c:invertIfNegative val="1"/>
            <c:bubble3D val="0"/>
            <c:spPr>
              <a:solidFill>
                <a:srgbClr val="E6E5E5"/>
              </a:solidFill>
            </c:spPr>
            <c:extLst>
              <c:ext xmlns:c16="http://schemas.microsoft.com/office/drawing/2014/chart" uri="{C3380CC4-5D6E-409C-BE32-E72D297353CC}">
                <c16:uniqueId val="{00000016-7980-4C82-8C1C-32D5A7B4E44B}"/>
              </c:ext>
            </c:extLst>
          </c:dPt>
          <c:dPt>
            <c:idx val="9"/>
            <c:invertIfNegative val="1"/>
            <c:bubble3D val="0"/>
            <c:spPr>
              <a:solidFill>
                <a:srgbClr val="E6E5E5"/>
              </a:solidFill>
            </c:spPr>
            <c:extLst>
              <c:ext xmlns:c16="http://schemas.microsoft.com/office/drawing/2014/chart" uri="{C3380CC4-5D6E-409C-BE32-E72D297353CC}">
                <c16:uniqueId val="{00000017-7980-4C82-8C1C-32D5A7B4E44B}"/>
              </c:ext>
            </c:extLst>
          </c:dPt>
          <c:dPt>
            <c:idx val="10"/>
            <c:invertIfNegative val="1"/>
            <c:bubble3D val="0"/>
            <c:spPr>
              <a:solidFill>
                <a:srgbClr val="E6E5E5"/>
              </a:solidFill>
            </c:spPr>
            <c:extLst>
              <c:ext xmlns:c16="http://schemas.microsoft.com/office/drawing/2014/chart" uri="{C3380CC4-5D6E-409C-BE32-E72D297353CC}">
                <c16:uniqueId val="{00000018-7980-4C82-8C1C-32D5A7B4E44B}"/>
              </c:ext>
            </c:extLst>
          </c:dPt>
          <c:dPt>
            <c:idx val="11"/>
            <c:invertIfNegative val="1"/>
            <c:bubble3D val="0"/>
            <c:spPr>
              <a:solidFill>
                <a:srgbClr val="E6E5E5"/>
              </a:solidFill>
            </c:spPr>
            <c:extLst>
              <c:ext xmlns:c16="http://schemas.microsoft.com/office/drawing/2014/chart" uri="{C3380CC4-5D6E-409C-BE32-E72D297353CC}">
                <c16:uniqueId val="{00000019-7980-4C82-8C1C-32D5A7B4E44B}"/>
              </c:ext>
            </c:extLst>
          </c:dPt>
          <c:dPt>
            <c:idx val="12"/>
            <c:invertIfNegative val="1"/>
            <c:bubble3D val="0"/>
            <c:spPr>
              <a:solidFill>
                <a:srgbClr val="E6E5E5"/>
              </a:solidFill>
            </c:spPr>
            <c:extLst>
              <c:ext xmlns:c16="http://schemas.microsoft.com/office/drawing/2014/chart" uri="{C3380CC4-5D6E-409C-BE32-E72D297353CC}">
                <c16:uniqueId val="{0000001A-7980-4C82-8C1C-32D5A7B4E44B}"/>
              </c:ext>
            </c:extLst>
          </c:dPt>
          <c:dPt>
            <c:idx val="13"/>
            <c:invertIfNegative val="1"/>
            <c:bubble3D val="0"/>
            <c:spPr>
              <a:solidFill>
                <a:srgbClr val="E6E5E5"/>
              </a:solidFill>
            </c:spPr>
            <c:extLst>
              <c:ext xmlns:c16="http://schemas.microsoft.com/office/drawing/2014/chart" uri="{C3380CC4-5D6E-409C-BE32-E72D297353CC}">
                <c16:uniqueId val="{0000001B-7980-4C82-8C1C-32D5A7B4E44B}"/>
              </c:ext>
            </c:extLst>
          </c:dPt>
          <c:dPt>
            <c:idx val="14"/>
            <c:invertIfNegative val="0"/>
            <c:bubble3D val="0"/>
            <c:spPr>
              <a:solidFill>
                <a:srgbClr val="E6E5E5"/>
              </a:solidFill>
              <a:ln>
                <a:noFill/>
              </a:ln>
              <a:effectLst/>
            </c:spPr>
            <c:extLst>
              <c:ext xmlns:c16="http://schemas.microsoft.com/office/drawing/2014/chart" uri="{C3380CC4-5D6E-409C-BE32-E72D297353CC}">
                <c16:uniqueId val="{0000001C-7980-4C82-8C1C-32D5A7B4E44B}"/>
              </c:ext>
            </c:extLst>
          </c:dPt>
          <c:dPt>
            <c:idx val="15"/>
            <c:invertIfNegative val="1"/>
            <c:bubble3D val="0"/>
            <c:spPr>
              <a:solidFill>
                <a:srgbClr val="E6E5E5"/>
              </a:solidFill>
            </c:spPr>
            <c:extLst>
              <c:ext xmlns:c16="http://schemas.microsoft.com/office/drawing/2014/chart" uri="{C3380CC4-5D6E-409C-BE32-E72D297353CC}">
                <c16:uniqueId val="{0000001D-7980-4C82-8C1C-32D5A7B4E44B}"/>
              </c:ext>
            </c:extLst>
          </c:dPt>
          <c:dPt>
            <c:idx val="16"/>
            <c:invertIfNegative val="1"/>
            <c:bubble3D val="0"/>
            <c:spPr>
              <a:solidFill>
                <a:srgbClr val="E6E5E5"/>
              </a:solidFill>
            </c:spPr>
            <c:extLst>
              <c:ext xmlns:c16="http://schemas.microsoft.com/office/drawing/2014/chart" uri="{C3380CC4-5D6E-409C-BE32-E72D297353CC}">
                <c16:uniqueId val="{0000001E-7980-4C82-8C1C-32D5A7B4E44B}"/>
              </c:ext>
            </c:extLst>
          </c:dPt>
          <c:dPt>
            <c:idx val="17"/>
            <c:invertIfNegative val="0"/>
            <c:bubble3D val="0"/>
            <c:spPr>
              <a:solidFill>
                <a:srgbClr val="E6E5E5"/>
              </a:solidFill>
              <a:ln>
                <a:noFill/>
              </a:ln>
              <a:effectLst/>
            </c:spPr>
            <c:extLst>
              <c:ext xmlns:c16="http://schemas.microsoft.com/office/drawing/2014/chart" uri="{C3380CC4-5D6E-409C-BE32-E72D297353CC}">
                <c16:uniqueId val="{0000001F-7980-4C82-8C1C-32D5A7B4E44B}"/>
              </c:ext>
            </c:extLst>
          </c:dPt>
          <c:dPt>
            <c:idx val="18"/>
            <c:invertIfNegative val="1"/>
            <c:bubble3D val="0"/>
            <c:spPr>
              <a:solidFill>
                <a:srgbClr val="E6E5E5"/>
              </a:solidFill>
            </c:spPr>
            <c:extLst>
              <c:ext xmlns:c16="http://schemas.microsoft.com/office/drawing/2014/chart" uri="{C3380CC4-5D6E-409C-BE32-E72D297353CC}">
                <c16:uniqueId val="{00000020-7980-4C82-8C1C-32D5A7B4E44B}"/>
              </c:ext>
            </c:extLst>
          </c:dPt>
          <c:dPt>
            <c:idx val="19"/>
            <c:invertIfNegative val="1"/>
            <c:bubble3D val="0"/>
            <c:spPr>
              <a:solidFill>
                <a:srgbClr val="E6E5E5"/>
              </a:solidFill>
            </c:spPr>
            <c:extLst>
              <c:ext xmlns:c16="http://schemas.microsoft.com/office/drawing/2014/chart" uri="{C3380CC4-5D6E-409C-BE32-E72D297353CC}">
                <c16:uniqueId val="{00000021-7980-4C82-8C1C-32D5A7B4E44B}"/>
              </c:ext>
            </c:extLst>
          </c:dPt>
          <c:dPt>
            <c:idx val="20"/>
            <c:invertIfNegative val="1"/>
            <c:bubble3D val="0"/>
            <c:spPr>
              <a:solidFill>
                <a:srgbClr val="E6E5E5"/>
              </a:solidFill>
            </c:spPr>
            <c:extLst>
              <c:ext xmlns:c16="http://schemas.microsoft.com/office/drawing/2014/chart" uri="{C3380CC4-5D6E-409C-BE32-E72D297353CC}">
                <c16:uniqueId val="{00000022-7980-4C82-8C1C-32D5A7B4E44B}"/>
              </c:ext>
            </c:extLst>
          </c:dPt>
          <c:dPt>
            <c:idx val="21"/>
            <c:invertIfNegative val="1"/>
            <c:bubble3D val="0"/>
            <c:spPr>
              <a:solidFill>
                <a:srgbClr val="E6E5E5"/>
              </a:solidFill>
            </c:spPr>
            <c:extLst>
              <c:ext xmlns:c16="http://schemas.microsoft.com/office/drawing/2014/chart" uri="{C3380CC4-5D6E-409C-BE32-E72D297353CC}">
                <c16:uniqueId val="{00000001-7980-4C82-8C1C-32D5A7B4E44B}"/>
              </c:ext>
            </c:extLst>
          </c:dPt>
          <c:dPt>
            <c:idx val="22"/>
            <c:invertIfNegative val="1"/>
            <c:bubble3D val="0"/>
            <c:spPr>
              <a:solidFill>
                <a:srgbClr val="E6E5E5"/>
              </a:solidFill>
            </c:spPr>
            <c:extLst>
              <c:ext xmlns:c16="http://schemas.microsoft.com/office/drawing/2014/chart" uri="{C3380CC4-5D6E-409C-BE32-E72D297353CC}">
                <c16:uniqueId val="{00000023-7980-4C82-8C1C-32D5A7B4E44B}"/>
              </c:ext>
            </c:extLst>
          </c:dPt>
          <c:dPt>
            <c:idx val="23"/>
            <c:invertIfNegative val="1"/>
            <c:bubble3D val="0"/>
            <c:spPr>
              <a:solidFill>
                <a:srgbClr val="E6E5E5"/>
              </a:solidFill>
            </c:spPr>
            <c:extLst>
              <c:ext xmlns:c16="http://schemas.microsoft.com/office/drawing/2014/chart" uri="{C3380CC4-5D6E-409C-BE32-E72D297353CC}">
                <c16:uniqueId val="{00000003-7980-4C82-8C1C-32D5A7B4E44B}"/>
              </c:ext>
            </c:extLst>
          </c:dPt>
          <c:dPt>
            <c:idx val="24"/>
            <c:invertIfNegative val="1"/>
            <c:bubble3D val="0"/>
            <c:spPr>
              <a:solidFill>
                <a:srgbClr val="E6E5E5"/>
              </a:solidFill>
            </c:spPr>
            <c:extLst>
              <c:ext xmlns:c16="http://schemas.microsoft.com/office/drawing/2014/chart" uri="{C3380CC4-5D6E-409C-BE32-E72D297353CC}">
                <c16:uniqueId val="{00000024-7980-4C82-8C1C-32D5A7B4E44B}"/>
              </c:ext>
            </c:extLst>
          </c:dPt>
          <c:dPt>
            <c:idx val="25"/>
            <c:invertIfNegative val="1"/>
            <c:bubble3D val="0"/>
            <c:spPr>
              <a:solidFill>
                <a:srgbClr val="E6E5E5"/>
              </a:solidFill>
            </c:spPr>
            <c:extLst>
              <c:ext xmlns:c16="http://schemas.microsoft.com/office/drawing/2014/chart" uri="{C3380CC4-5D6E-409C-BE32-E72D297353CC}">
                <c16:uniqueId val="{00000025-7980-4C82-8C1C-32D5A7B4E44B}"/>
              </c:ext>
            </c:extLst>
          </c:dPt>
          <c:dPt>
            <c:idx val="26"/>
            <c:invertIfNegative val="1"/>
            <c:bubble3D val="0"/>
            <c:spPr>
              <a:solidFill>
                <a:srgbClr val="E6E5E5"/>
              </a:solidFill>
            </c:spPr>
            <c:extLst>
              <c:ext xmlns:c16="http://schemas.microsoft.com/office/drawing/2014/chart" uri="{C3380CC4-5D6E-409C-BE32-E72D297353CC}">
                <c16:uniqueId val="{00000026-7980-4C82-8C1C-32D5A7B4E44B}"/>
              </c:ext>
            </c:extLst>
          </c:dPt>
          <c:dPt>
            <c:idx val="27"/>
            <c:invertIfNegative val="1"/>
            <c:bubble3D val="0"/>
            <c:spPr>
              <a:solidFill>
                <a:srgbClr val="E6E5E5"/>
              </a:solidFill>
            </c:spPr>
            <c:extLst>
              <c:ext xmlns:c16="http://schemas.microsoft.com/office/drawing/2014/chart" uri="{C3380CC4-5D6E-409C-BE32-E72D297353CC}">
                <c16:uniqueId val="{00000027-7980-4C82-8C1C-32D5A7B4E44B}"/>
              </c:ext>
            </c:extLst>
          </c:dPt>
          <c:dPt>
            <c:idx val="28"/>
            <c:invertIfNegative val="1"/>
            <c:bubble3D val="0"/>
            <c:spPr>
              <a:solidFill>
                <a:srgbClr val="E6E5E5"/>
              </a:solidFill>
            </c:spPr>
            <c:extLst>
              <c:ext xmlns:c16="http://schemas.microsoft.com/office/drawing/2014/chart" uri="{C3380CC4-5D6E-409C-BE32-E72D297353CC}">
                <c16:uniqueId val="{00000028-7980-4C82-8C1C-32D5A7B4E44B}"/>
              </c:ext>
            </c:extLst>
          </c:dPt>
          <c:dPt>
            <c:idx val="29"/>
            <c:invertIfNegative val="1"/>
            <c:bubble3D val="0"/>
            <c:spPr>
              <a:solidFill>
                <a:srgbClr val="E6E5E5"/>
              </a:solidFill>
            </c:spPr>
            <c:extLst>
              <c:ext xmlns:c16="http://schemas.microsoft.com/office/drawing/2014/chart" uri="{C3380CC4-5D6E-409C-BE32-E72D297353CC}">
                <c16:uniqueId val="{00000029-7980-4C82-8C1C-32D5A7B4E44B}"/>
              </c:ext>
            </c:extLst>
          </c:dPt>
          <c:dPt>
            <c:idx val="30"/>
            <c:invertIfNegative val="1"/>
            <c:bubble3D val="0"/>
            <c:spPr>
              <a:solidFill>
                <a:srgbClr val="E6E5E5"/>
              </a:solidFill>
            </c:spPr>
            <c:extLst>
              <c:ext xmlns:c16="http://schemas.microsoft.com/office/drawing/2014/chart" uri="{C3380CC4-5D6E-409C-BE32-E72D297353CC}">
                <c16:uniqueId val="{0000002A-7980-4C82-8C1C-32D5A7B4E44B}"/>
              </c:ext>
            </c:extLst>
          </c:dPt>
          <c:dPt>
            <c:idx val="31"/>
            <c:invertIfNegative val="1"/>
            <c:bubble3D val="0"/>
            <c:spPr>
              <a:solidFill>
                <a:srgbClr val="E6E5E5"/>
              </a:solidFill>
            </c:spPr>
            <c:extLst>
              <c:ext xmlns:c16="http://schemas.microsoft.com/office/drawing/2014/chart" uri="{C3380CC4-5D6E-409C-BE32-E72D297353CC}">
                <c16:uniqueId val="{0000002B-7980-4C82-8C1C-32D5A7B4E44B}"/>
              </c:ext>
            </c:extLst>
          </c:dPt>
          <c:dPt>
            <c:idx val="32"/>
            <c:invertIfNegative val="0"/>
            <c:bubble3D val="0"/>
            <c:spPr>
              <a:solidFill>
                <a:srgbClr val="E6E5E5"/>
              </a:solidFill>
              <a:ln>
                <a:noFill/>
              </a:ln>
              <a:effectLst/>
            </c:spPr>
            <c:extLst>
              <c:ext xmlns:c16="http://schemas.microsoft.com/office/drawing/2014/chart" uri="{C3380CC4-5D6E-409C-BE32-E72D297353CC}">
                <c16:uniqueId val="{00000005-7980-4C82-8C1C-32D5A7B4E44B}"/>
              </c:ext>
            </c:extLst>
          </c:dPt>
          <c:dPt>
            <c:idx val="33"/>
            <c:invertIfNegative val="1"/>
            <c:bubble3D val="0"/>
            <c:spPr>
              <a:solidFill>
                <a:srgbClr val="E6E5E5"/>
              </a:solidFill>
            </c:spPr>
            <c:extLst>
              <c:ext xmlns:c16="http://schemas.microsoft.com/office/drawing/2014/chart" uri="{C3380CC4-5D6E-409C-BE32-E72D297353CC}">
                <c16:uniqueId val="{0000002C-7980-4C82-8C1C-32D5A7B4E44B}"/>
              </c:ext>
            </c:extLst>
          </c:dPt>
          <c:dPt>
            <c:idx val="34"/>
            <c:invertIfNegative val="1"/>
            <c:bubble3D val="0"/>
            <c:spPr>
              <a:solidFill>
                <a:srgbClr val="E6E5E5"/>
              </a:solidFill>
            </c:spPr>
            <c:extLst>
              <c:ext xmlns:c16="http://schemas.microsoft.com/office/drawing/2014/chart" uri="{C3380CC4-5D6E-409C-BE32-E72D297353CC}">
                <c16:uniqueId val="{00000007-7980-4C82-8C1C-32D5A7B4E44B}"/>
              </c:ext>
            </c:extLst>
          </c:dPt>
          <c:dPt>
            <c:idx val="35"/>
            <c:invertIfNegative val="1"/>
            <c:bubble3D val="0"/>
            <c:spPr>
              <a:solidFill>
                <a:srgbClr val="E6E5E5"/>
              </a:solidFill>
            </c:spPr>
            <c:extLst>
              <c:ext xmlns:c16="http://schemas.microsoft.com/office/drawing/2014/chart" uri="{C3380CC4-5D6E-409C-BE32-E72D297353CC}">
                <c16:uniqueId val="{0000002D-7980-4C82-8C1C-32D5A7B4E44B}"/>
              </c:ext>
            </c:extLst>
          </c:dPt>
          <c:dPt>
            <c:idx val="36"/>
            <c:invertIfNegative val="1"/>
            <c:bubble3D val="0"/>
            <c:spPr>
              <a:solidFill>
                <a:srgbClr val="E6E5E5"/>
              </a:solidFill>
            </c:spPr>
            <c:extLst>
              <c:ext xmlns:c16="http://schemas.microsoft.com/office/drawing/2014/chart" uri="{C3380CC4-5D6E-409C-BE32-E72D297353CC}">
                <c16:uniqueId val="{0000002E-7980-4C82-8C1C-32D5A7B4E44B}"/>
              </c:ext>
            </c:extLst>
          </c:dPt>
          <c:dPt>
            <c:idx val="37"/>
            <c:invertIfNegative val="1"/>
            <c:bubble3D val="0"/>
            <c:spPr>
              <a:solidFill>
                <a:srgbClr val="E6E5E5"/>
              </a:solidFill>
            </c:spPr>
            <c:extLst>
              <c:ext xmlns:c16="http://schemas.microsoft.com/office/drawing/2014/chart" uri="{C3380CC4-5D6E-409C-BE32-E72D297353CC}">
                <c16:uniqueId val="{0000002F-7980-4C82-8C1C-32D5A7B4E44B}"/>
              </c:ext>
            </c:extLst>
          </c:dPt>
          <c:dPt>
            <c:idx val="38"/>
            <c:invertIfNegative val="1"/>
            <c:bubble3D val="0"/>
            <c:spPr>
              <a:solidFill>
                <a:srgbClr val="E6E5E5"/>
              </a:solidFill>
            </c:spPr>
            <c:extLst>
              <c:ext xmlns:c16="http://schemas.microsoft.com/office/drawing/2014/chart" uri="{C3380CC4-5D6E-409C-BE32-E72D297353CC}">
                <c16:uniqueId val="{00000030-7980-4C82-8C1C-32D5A7B4E44B}"/>
              </c:ext>
            </c:extLst>
          </c:dPt>
          <c:dPt>
            <c:idx val="39"/>
            <c:invertIfNegative val="1"/>
            <c:bubble3D val="0"/>
            <c:spPr>
              <a:solidFill>
                <a:srgbClr val="E6E5E5"/>
              </a:solidFill>
            </c:spPr>
            <c:extLst>
              <c:ext xmlns:c16="http://schemas.microsoft.com/office/drawing/2014/chart" uri="{C3380CC4-5D6E-409C-BE32-E72D297353CC}">
                <c16:uniqueId val="{00000031-7980-4C82-8C1C-32D5A7B4E44B}"/>
              </c:ext>
            </c:extLst>
          </c:dPt>
          <c:dPt>
            <c:idx val="40"/>
            <c:invertIfNegative val="1"/>
            <c:bubble3D val="0"/>
            <c:spPr>
              <a:solidFill>
                <a:srgbClr val="E6E5E5"/>
              </a:solidFill>
            </c:spPr>
            <c:extLst>
              <c:ext xmlns:c16="http://schemas.microsoft.com/office/drawing/2014/chart" uri="{C3380CC4-5D6E-409C-BE32-E72D297353CC}">
                <c16:uniqueId val="{00000032-7980-4C82-8C1C-32D5A7B4E44B}"/>
              </c:ext>
            </c:extLst>
          </c:dPt>
          <c:dPt>
            <c:idx val="41"/>
            <c:invertIfNegative val="1"/>
            <c:bubble3D val="0"/>
            <c:spPr>
              <a:solidFill>
                <a:srgbClr val="E6E5E5"/>
              </a:solidFill>
            </c:spPr>
            <c:extLst>
              <c:ext xmlns:c16="http://schemas.microsoft.com/office/drawing/2014/chart" uri="{C3380CC4-5D6E-409C-BE32-E72D297353CC}">
                <c16:uniqueId val="{00000033-7980-4C82-8C1C-32D5A7B4E44B}"/>
              </c:ext>
            </c:extLst>
          </c:dPt>
          <c:dPt>
            <c:idx val="42"/>
            <c:invertIfNegative val="1"/>
            <c:bubble3D val="0"/>
            <c:spPr>
              <a:solidFill>
                <a:srgbClr val="E6E5E5"/>
              </a:solidFill>
            </c:spPr>
            <c:extLst>
              <c:ext xmlns:c16="http://schemas.microsoft.com/office/drawing/2014/chart" uri="{C3380CC4-5D6E-409C-BE32-E72D297353CC}">
                <c16:uniqueId val="{00000009-7980-4C82-8C1C-32D5A7B4E44B}"/>
              </c:ext>
            </c:extLst>
          </c:dPt>
          <c:dPt>
            <c:idx val="43"/>
            <c:invertIfNegative val="1"/>
            <c:bubble3D val="0"/>
            <c:spPr>
              <a:solidFill>
                <a:srgbClr val="E6E5E5"/>
              </a:solidFill>
            </c:spPr>
            <c:extLst>
              <c:ext xmlns:c16="http://schemas.microsoft.com/office/drawing/2014/chart" uri="{C3380CC4-5D6E-409C-BE32-E72D297353CC}">
                <c16:uniqueId val="{0000000B-7980-4C82-8C1C-32D5A7B4E44B}"/>
              </c:ext>
            </c:extLst>
          </c:dPt>
          <c:dPt>
            <c:idx val="44"/>
            <c:invertIfNegative val="0"/>
            <c:bubble3D val="0"/>
            <c:spPr>
              <a:solidFill>
                <a:srgbClr val="E6E5E5"/>
              </a:solidFill>
              <a:ln>
                <a:noFill/>
              </a:ln>
              <a:effectLst/>
            </c:spPr>
            <c:extLst>
              <c:ext xmlns:c16="http://schemas.microsoft.com/office/drawing/2014/chart" uri="{C3380CC4-5D6E-409C-BE32-E72D297353CC}">
                <c16:uniqueId val="{00000034-7980-4C82-8C1C-32D5A7B4E44B}"/>
              </c:ext>
            </c:extLst>
          </c:dPt>
          <c:dPt>
            <c:idx val="45"/>
            <c:invertIfNegative val="1"/>
            <c:bubble3D val="0"/>
            <c:spPr>
              <a:solidFill>
                <a:srgbClr val="E6E5E5"/>
              </a:solidFill>
            </c:spPr>
            <c:extLst>
              <c:ext xmlns:c16="http://schemas.microsoft.com/office/drawing/2014/chart" uri="{C3380CC4-5D6E-409C-BE32-E72D297353CC}">
                <c16:uniqueId val="{00000035-7980-4C82-8C1C-32D5A7B4E44B}"/>
              </c:ext>
            </c:extLst>
          </c:dPt>
          <c:dPt>
            <c:idx val="46"/>
            <c:invertIfNegative val="1"/>
            <c:bubble3D val="0"/>
            <c:spPr>
              <a:solidFill>
                <a:srgbClr val="E6E5E5"/>
              </a:solidFill>
            </c:spPr>
            <c:extLst>
              <c:ext xmlns:c16="http://schemas.microsoft.com/office/drawing/2014/chart" uri="{C3380CC4-5D6E-409C-BE32-E72D297353CC}">
                <c16:uniqueId val="{00000036-7980-4C82-8C1C-32D5A7B4E44B}"/>
              </c:ext>
            </c:extLst>
          </c:dPt>
          <c:dPt>
            <c:idx val="47"/>
            <c:invertIfNegative val="1"/>
            <c:bubble3D val="0"/>
            <c:spPr>
              <a:solidFill>
                <a:srgbClr val="E6E5E5"/>
              </a:solidFill>
            </c:spPr>
            <c:extLst>
              <c:ext xmlns:c16="http://schemas.microsoft.com/office/drawing/2014/chart" uri="{C3380CC4-5D6E-409C-BE32-E72D297353CC}">
                <c16:uniqueId val="{00000037-7980-4C82-8C1C-32D5A7B4E44B}"/>
              </c:ext>
            </c:extLst>
          </c:dPt>
          <c:dPt>
            <c:idx val="48"/>
            <c:invertIfNegative val="1"/>
            <c:bubble3D val="0"/>
            <c:spPr>
              <a:solidFill>
                <a:srgbClr val="E6E5E5"/>
              </a:solidFill>
            </c:spPr>
            <c:extLst>
              <c:ext xmlns:c16="http://schemas.microsoft.com/office/drawing/2014/chart" uri="{C3380CC4-5D6E-409C-BE32-E72D297353CC}">
                <c16:uniqueId val="{00000038-7980-4C82-8C1C-32D5A7B4E44B}"/>
              </c:ext>
            </c:extLst>
          </c:dPt>
          <c:dPt>
            <c:idx val="49"/>
            <c:invertIfNegative val="0"/>
            <c:bubble3D val="0"/>
            <c:spPr>
              <a:solidFill>
                <a:srgbClr val="E6E5E5"/>
              </a:solidFill>
              <a:ln>
                <a:noFill/>
              </a:ln>
              <a:effectLst/>
            </c:spPr>
            <c:extLst>
              <c:ext xmlns:c16="http://schemas.microsoft.com/office/drawing/2014/chart" uri="{C3380CC4-5D6E-409C-BE32-E72D297353CC}">
                <c16:uniqueId val="{00000039-7980-4C82-8C1C-32D5A7B4E44B}"/>
              </c:ext>
            </c:extLst>
          </c:dPt>
          <c:dPt>
            <c:idx val="50"/>
            <c:invertIfNegative val="0"/>
            <c:bubble3D val="0"/>
            <c:spPr>
              <a:solidFill>
                <a:srgbClr val="E6E5E5"/>
              </a:solidFill>
              <a:ln>
                <a:noFill/>
              </a:ln>
              <a:effectLst/>
            </c:spPr>
            <c:extLst>
              <c:ext xmlns:c16="http://schemas.microsoft.com/office/drawing/2014/chart" uri="{C3380CC4-5D6E-409C-BE32-E72D297353CC}">
                <c16:uniqueId val="{0000003A-7980-4C82-8C1C-32D5A7B4E44B}"/>
              </c:ext>
            </c:extLst>
          </c:dPt>
          <c:dPt>
            <c:idx val="51"/>
            <c:invertIfNegative val="1"/>
            <c:bubble3D val="0"/>
            <c:spPr>
              <a:solidFill>
                <a:srgbClr val="E6E5E5"/>
              </a:solidFill>
            </c:spPr>
            <c:extLst>
              <c:ext xmlns:c16="http://schemas.microsoft.com/office/drawing/2014/chart" uri="{C3380CC4-5D6E-409C-BE32-E72D297353CC}">
                <c16:uniqueId val="{0000003B-7980-4C82-8C1C-32D5A7B4E44B}"/>
              </c:ext>
            </c:extLst>
          </c:dPt>
          <c:dPt>
            <c:idx val="52"/>
            <c:invertIfNegative val="1"/>
            <c:bubble3D val="0"/>
            <c:spPr>
              <a:solidFill>
                <a:srgbClr val="E6E5E5"/>
              </a:solidFill>
            </c:spPr>
            <c:extLst>
              <c:ext xmlns:c16="http://schemas.microsoft.com/office/drawing/2014/chart" uri="{C3380CC4-5D6E-409C-BE32-E72D297353CC}">
                <c16:uniqueId val="{0000003C-7980-4C82-8C1C-32D5A7B4E44B}"/>
              </c:ext>
            </c:extLst>
          </c:dPt>
          <c:dPt>
            <c:idx val="53"/>
            <c:invertIfNegative val="1"/>
            <c:bubble3D val="0"/>
            <c:spPr>
              <a:solidFill>
                <a:srgbClr val="E6E5E5"/>
              </a:solidFill>
            </c:spPr>
            <c:extLst>
              <c:ext xmlns:c16="http://schemas.microsoft.com/office/drawing/2014/chart" uri="{C3380CC4-5D6E-409C-BE32-E72D297353CC}">
                <c16:uniqueId val="{0000006B-77EF-42ED-BAFF-03BF265C16B5}"/>
              </c:ext>
            </c:extLst>
          </c:dPt>
          <c:dPt>
            <c:idx val="54"/>
            <c:invertIfNegative val="1"/>
            <c:bubble3D val="0"/>
            <c:spPr>
              <a:solidFill>
                <a:srgbClr val="E6E5E5"/>
              </a:solidFill>
            </c:spPr>
            <c:extLst>
              <c:ext xmlns:c16="http://schemas.microsoft.com/office/drawing/2014/chart" uri="{C3380CC4-5D6E-409C-BE32-E72D297353CC}">
                <c16:uniqueId val="{0000006D-77EF-42ED-BAFF-03BF265C16B5}"/>
              </c:ext>
            </c:extLst>
          </c:dPt>
          <c:dPt>
            <c:idx val="55"/>
            <c:invertIfNegative val="1"/>
            <c:bubble3D val="0"/>
            <c:spPr>
              <a:solidFill>
                <a:srgbClr val="E6E5E5"/>
              </a:solidFill>
            </c:spPr>
            <c:extLst>
              <c:ext xmlns:c16="http://schemas.microsoft.com/office/drawing/2014/chart" uri="{C3380CC4-5D6E-409C-BE32-E72D297353CC}">
                <c16:uniqueId val="{0000006F-77EF-42ED-BAFF-03BF265C16B5}"/>
              </c:ext>
            </c:extLst>
          </c:dPt>
          <c:dPt>
            <c:idx val="56"/>
            <c:invertIfNegative val="1"/>
            <c:bubble3D val="0"/>
            <c:spPr>
              <a:solidFill>
                <a:srgbClr val="E6E5E5"/>
              </a:solidFill>
            </c:spPr>
            <c:extLst>
              <c:ext xmlns:c16="http://schemas.microsoft.com/office/drawing/2014/chart" uri="{C3380CC4-5D6E-409C-BE32-E72D297353CC}">
                <c16:uniqueId val="{00000071-77EF-42ED-BAFF-03BF265C16B5}"/>
              </c:ext>
            </c:extLst>
          </c:dPt>
          <c:dPt>
            <c:idx val="57"/>
            <c:invertIfNegative val="1"/>
            <c:bubble3D val="0"/>
            <c:spPr>
              <a:solidFill>
                <a:srgbClr val="E6E5E5"/>
              </a:solidFill>
            </c:spPr>
            <c:extLst>
              <c:ext xmlns:c16="http://schemas.microsoft.com/office/drawing/2014/chart" uri="{C3380CC4-5D6E-409C-BE32-E72D297353CC}">
                <c16:uniqueId val="{00000073-77EF-42ED-BAFF-03BF265C16B5}"/>
              </c:ext>
            </c:extLst>
          </c:dPt>
          <c:dPt>
            <c:idx val="58"/>
            <c:invertIfNegative val="1"/>
            <c:bubble3D val="0"/>
            <c:spPr>
              <a:solidFill>
                <a:srgbClr val="E6E5E5"/>
              </a:solidFill>
            </c:spPr>
            <c:extLst>
              <c:ext xmlns:c16="http://schemas.microsoft.com/office/drawing/2014/chart" uri="{C3380CC4-5D6E-409C-BE32-E72D297353CC}">
                <c16:uniqueId val="{00000075-77EF-42ED-BAFF-03BF265C16B5}"/>
              </c:ext>
            </c:extLst>
          </c:dPt>
          <c:dPt>
            <c:idx val="59"/>
            <c:invertIfNegative val="1"/>
            <c:bubble3D val="0"/>
            <c:spPr>
              <a:solidFill>
                <a:srgbClr val="E6E5E5"/>
              </a:solidFill>
            </c:spPr>
            <c:extLst>
              <c:ext xmlns:c16="http://schemas.microsoft.com/office/drawing/2014/chart" uri="{C3380CC4-5D6E-409C-BE32-E72D297353CC}">
                <c16:uniqueId val="{00000077-77EF-42ED-BAFF-03BF265C16B5}"/>
              </c:ext>
            </c:extLst>
          </c:dPt>
          <c:dPt>
            <c:idx val="60"/>
            <c:invertIfNegative val="1"/>
            <c:bubble3D val="0"/>
            <c:spPr>
              <a:solidFill>
                <a:srgbClr val="E6E5E5"/>
              </a:solidFill>
            </c:spPr>
            <c:extLst>
              <c:ext xmlns:c16="http://schemas.microsoft.com/office/drawing/2014/chart" uri="{C3380CC4-5D6E-409C-BE32-E72D297353CC}">
                <c16:uniqueId val="{00000079-77EF-42ED-BAFF-03BF265C16B5}"/>
              </c:ext>
            </c:extLst>
          </c:dPt>
          <c:dPt>
            <c:idx val="61"/>
            <c:invertIfNegative val="1"/>
            <c:bubble3D val="0"/>
            <c:spPr>
              <a:solidFill>
                <a:srgbClr val="E6E5E5"/>
              </a:solidFill>
            </c:spPr>
            <c:extLst>
              <c:ext xmlns:c16="http://schemas.microsoft.com/office/drawing/2014/chart" uri="{C3380CC4-5D6E-409C-BE32-E72D297353CC}">
                <c16:uniqueId val="{0000007B-77EF-42ED-BAFF-03BF265C16B5}"/>
              </c:ext>
            </c:extLst>
          </c:dPt>
          <c:dPt>
            <c:idx val="62"/>
            <c:invertIfNegative val="1"/>
            <c:bubble3D val="0"/>
            <c:spPr>
              <a:solidFill>
                <a:srgbClr val="E6E5E5"/>
              </a:solidFill>
            </c:spPr>
            <c:extLst>
              <c:ext xmlns:c16="http://schemas.microsoft.com/office/drawing/2014/chart" uri="{C3380CC4-5D6E-409C-BE32-E72D297353CC}">
                <c16:uniqueId val="{0000007D-77EF-42ED-BAFF-03BF265C16B5}"/>
              </c:ext>
            </c:extLst>
          </c:dPt>
          <c:dPt>
            <c:idx val="63"/>
            <c:invertIfNegative val="1"/>
            <c:bubble3D val="0"/>
            <c:spPr>
              <a:solidFill>
                <a:srgbClr val="E6E5E5"/>
              </a:solidFill>
            </c:spPr>
            <c:extLst>
              <c:ext xmlns:c16="http://schemas.microsoft.com/office/drawing/2014/chart" uri="{C3380CC4-5D6E-409C-BE32-E72D297353CC}">
                <c16:uniqueId val="{0000007F-77EF-42ED-BAFF-03BF265C16B5}"/>
              </c:ext>
            </c:extLst>
          </c:dPt>
          <c:dPt>
            <c:idx val="64"/>
            <c:invertIfNegative val="1"/>
            <c:bubble3D val="0"/>
            <c:spPr>
              <a:solidFill>
                <a:srgbClr val="E6E5E5"/>
              </a:solidFill>
            </c:spPr>
            <c:extLst>
              <c:ext xmlns:c16="http://schemas.microsoft.com/office/drawing/2014/chart" uri="{C3380CC4-5D6E-409C-BE32-E72D297353CC}">
                <c16:uniqueId val="{00000081-77EF-42ED-BAFF-03BF265C16B5}"/>
              </c:ext>
            </c:extLst>
          </c:dPt>
          <c:dPt>
            <c:idx val="65"/>
            <c:invertIfNegative val="1"/>
            <c:bubble3D val="0"/>
            <c:spPr>
              <a:solidFill>
                <a:srgbClr val="E6E5E5"/>
              </a:solidFill>
            </c:spPr>
            <c:extLst>
              <c:ext xmlns:c16="http://schemas.microsoft.com/office/drawing/2014/chart" uri="{C3380CC4-5D6E-409C-BE32-E72D297353CC}">
                <c16:uniqueId val="{00000083-77EF-42ED-BAFF-03BF265C16B5}"/>
              </c:ext>
            </c:extLst>
          </c:dPt>
          <c:dPt>
            <c:idx val="66"/>
            <c:invertIfNegative val="1"/>
            <c:bubble3D val="0"/>
            <c:spPr>
              <a:solidFill>
                <a:srgbClr val="E6E5E5"/>
              </a:solidFill>
            </c:spPr>
            <c:extLst>
              <c:ext xmlns:c16="http://schemas.microsoft.com/office/drawing/2014/chart" uri="{C3380CC4-5D6E-409C-BE32-E72D297353CC}">
                <c16:uniqueId val="{00000085-77EF-42ED-BAFF-03BF265C16B5}"/>
              </c:ext>
            </c:extLst>
          </c:dPt>
          <c:dPt>
            <c:idx val="67"/>
            <c:invertIfNegative val="1"/>
            <c:bubble3D val="0"/>
            <c:spPr>
              <a:solidFill>
                <a:srgbClr val="E6E5E5"/>
              </a:solidFill>
            </c:spPr>
            <c:extLst>
              <c:ext xmlns:c16="http://schemas.microsoft.com/office/drawing/2014/chart" uri="{C3380CC4-5D6E-409C-BE32-E72D297353CC}">
                <c16:uniqueId val="{00000087-77EF-42ED-BAFF-03BF265C16B5}"/>
              </c:ext>
            </c:extLst>
          </c:dPt>
          <c:dPt>
            <c:idx val="68"/>
            <c:invertIfNegative val="1"/>
            <c:bubble3D val="0"/>
            <c:spPr>
              <a:solidFill>
                <a:srgbClr val="E6E5E5"/>
              </a:solidFill>
            </c:spPr>
            <c:extLst>
              <c:ext xmlns:c16="http://schemas.microsoft.com/office/drawing/2014/chart" uri="{C3380CC4-5D6E-409C-BE32-E72D297353CC}">
                <c16:uniqueId val="{00000089-77EF-42ED-BAFF-03BF265C16B5}"/>
              </c:ext>
            </c:extLst>
          </c:dPt>
          <c:dPt>
            <c:idx val="69"/>
            <c:invertIfNegative val="1"/>
            <c:bubble3D val="0"/>
            <c:spPr>
              <a:solidFill>
                <a:srgbClr val="E6E5E5"/>
              </a:solidFill>
            </c:spPr>
            <c:extLst>
              <c:ext xmlns:c16="http://schemas.microsoft.com/office/drawing/2014/chart" uri="{C3380CC4-5D6E-409C-BE32-E72D297353CC}">
                <c16:uniqueId val="{0000008B-77EF-42ED-BAFF-03BF265C16B5}"/>
              </c:ext>
            </c:extLst>
          </c:dPt>
          <c:dPt>
            <c:idx val="70"/>
            <c:invertIfNegative val="1"/>
            <c:bubble3D val="0"/>
            <c:spPr>
              <a:solidFill>
                <a:srgbClr val="E6E5E5"/>
              </a:solidFill>
            </c:spPr>
            <c:extLst>
              <c:ext xmlns:c16="http://schemas.microsoft.com/office/drawing/2014/chart" uri="{C3380CC4-5D6E-409C-BE32-E72D297353CC}">
                <c16:uniqueId val="{0000008D-77EF-42ED-BAFF-03BF265C16B5}"/>
              </c:ext>
            </c:extLst>
          </c:dPt>
          <c:dPt>
            <c:idx val="71"/>
            <c:invertIfNegative val="1"/>
            <c:bubble3D val="0"/>
            <c:spPr>
              <a:solidFill>
                <a:srgbClr val="E6E5E5"/>
              </a:solidFill>
            </c:spPr>
            <c:extLst>
              <c:ext xmlns:c16="http://schemas.microsoft.com/office/drawing/2014/chart" uri="{C3380CC4-5D6E-409C-BE32-E72D297353CC}">
                <c16:uniqueId val="{0000008F-77EF-42ED-BAFF-03BF265C16B5}"/>
              </c:ext>
            </c:extLst>
          </c:dPt>
          <c:dPt>
            <c:idx val="72"/>
            <c:invertIfNegative val="1"/>
            <c:bubble3D val="0"/>
            <c:spPr>
              <a:solidFill>
                <a:srgbClr val="E6E5E5"/>
              </a:solidFill>
            </c:spPr>
            <c:extLst>
              <c:ext xmlns:c16="http://schemas.microsoft.com/office/drawing/2014/chart" uri="{C3380CC4-5D6E-409C-BE32-E72D297353CC}">
                <c16:uniqueId val="{00000091-77EF-42ED-BAFF-03BF265C16B5}"/>
              </c:ext>
            </c:extLst>
          </c:dPt>
          <c:dPt>
            <c:idx val="73"/>
            <c:invertIfNegative val="1"/>
            <c:bubble3D val="0"/>
            <c:spPr>
              <a:solidFill>
                <a:srgbClr val="E6E5E5"/>
              </a:solidFill>
            </c:spPr>
            <c:extLst>
              <c:ext xmlns:c16="http://schemas.microsoft.com/office/drawing/2014/chart" uri="{C3380CC4-5D6E-409C-BE32-E72D297353CC}">
                <c16:uniqueId val="{00000093-77EF-42ED-BAFF-03BF265C16B5}"/>
              </c:ext>
            </c:extLst>
          </c:dPt>
          <c:dPt>
            <c:idx val="74"/>
            <c:invertIfNegative val="1"/>
            <c:bubble3D val="0"/>
            <c:spPr>
              <a:solidFill>
                <a:srgbClr val="E6E5E5"/>
              </a:solidFill>
            </c:spPr>
            <c:extLst>
              <c:ext xmlns:c16="http://schemas.microsoft.com/office/drawing/2014/chart" uri="{C3380CC4-5D6E-409C-BE32-E72D297353CC}">
                <c16:uniqueId val="{00000095-77EF-42ED-BAFF-03BF265C16B5}"/>
              </c:ext>
            </c:extLst>
          </c:dPt>
          <c:dPt>
            <c:idx val="75"/>
            <c:invertIfNegative val="1"/>
            <c:bubble3D val="0"/>
            <c:spPr>
              <a:solidFill>
                <a:srgbClr val="E6E5E5"/>
              </a:solidFill>
            </c:spPr>
            <c:extLst>
              <c:ext xmlns:c16="http://schemas.microsoft.com/office/drawing/2014/chart" uri="{C3380CC4-5D6E-409C-BE32-E72D297353CC}">
                <c16:uniqueId val="{00000097-77EF-42ED-BAFF-03BF265C16B5}"/>
              </c:ext>
            </c:extLst>
          </c:dPt>
          <c:dPt>
            <c:idx val="76"/>
            <c:invertIfNegative val="1"/>
            <c:bubble3D val="0"/>
            <c:spPr>
              <a:solidFill>
                <a:srgbClr val="E6E5E5"/>
              </a:solidFill>
            </c:spPr>
            <c:extLst>
              <c:ext xmlns:c16="http://schemas.microsoft.com/office/drawing/2014/chart" uri="{C3380CC4-5D6E-409C-BE32-E72D297353CC}">
                <c16:uniqueId val="{00000099-77EF-42ED-BAFF-03BF265C16B5}"/>
              </c:ext>
            </c:extLst>
          </c:dPt>
          <c:dPt>
            <c:idx val="77"/>
            <c:invertIfNegative val="1"/>
            <c:bubble3D val="0"/>
            <c:spPr>
              <a:solidFill>
                <a:srgbClr val="E6E5E5"/>
              </a:solidFill>
            </c:spPr>
            <c:extLst>
              <c:ext xmlns:c16="http://schemas.microsoft.com/office/drawing/2014/chart" uri="{C3380CC4-5D6E-409C-BE32-E72D297353CC}">
                <c16:uniqueId val="{0000009B-77EF-42ED-BAFF-03BF265C16B5}"/>
              </c:ext>
            </c:extLst>
          </c:dPt>
          <c:dPt>
            <c:idx val="78"/>
            <c:invertIfNegative val="1"/>
            <c:bubble3D val="0"/>
            <c:spPr>
              <a:solidFill>
                <a:srgbClr val="E6E5E5"/>
              </a:solidFill>
            </c:spPr>
            <c:extLst>
              <c:ext xmlns:c16="http://schemas.microsoft.com/office/drawing/2014/chart" uri="{C3380CC4-5D6E-409C-BE32-E72D297353CC}">
                <c16:uniqueId val="{0000009D-77EF-42ED-BAFF-03BF265C16B5}"/>
              </c:ext>
            </c:extLst>
          </c:dPt>
          <c:dPt>
            <c:idx val="79"/>
            <c:invertIfNegative val="1"/>
            <c:bubble3D val="0"/>
            <c:spPr>
              <a:solidFill>
                <a:srgbClr val="E6E5E5"/>
              </a:solidFill>
            </c:spPr>
            <c:extLst>
              <c:ext xmlns:c16="http://schemas.microsoft.com/office/drawing/2014/chart" uri="{C3380CC4-5D6E-409C-BE32-E72D297353CC}">
                <c16:uniqueId val="{0000009F-77EF-42ED-BAFF-03BF265C16B5}"/>
              </c:ext>
            </c:extLst>
          </c:dPt>
          <c:dPt>
            <c:idx val="80"/>
            <c:invertIfNegative val="1"/>
            <c:bubble3D val="0"/>
            <c:spPr>
              <a:solidFill>
                <a:srgbClr val="E6E5E5"/>
              </a:solidFill>
            </c:spPr>
            <c:extLst>
              <c:ext xmlns:c16="http://schemas.microsoft.com/office/drawing/2014/chart" uri="{C3380CC4-5D6E-409C-BE32-E72D297353CC}">
                <c16:uniqueId val="{000000A1-77EF-42ED-BAFF-03BF265C16B5}"/>
              </c:ext>
            </c:extLst>
          </c:dPt>
          <c:dPt>
            <c:idx val="81"/>
            <c:invertIfNegative val="1"/>
            <c:bubble3D val="0"/>
            <c:spPr>
              <a:solidFill>
                <a:srgbClr val="E6E5E5"/>
              </a:solidFill>
            </c:spPr>
            <c:extLst>
              <c:ext xmlns:c16="http://schemas.microsoft.com/office/drawing/2014/chart" uri="{C3380CC4-5D6E-409C-BE32-E72D297353CC}">
                <c16:uniqueId val="{000000A3-77EF-42ED-BAFF-03BF265C16B5}"/>
              </c:ext>
            </c:extLst>
          </c:dPt>
          <c:dPt>
            <c:idx val="82"/>
            <c:invertIfNegative val="1"/>
            <c:bubble3D val="0"/>
            <c:spPr>
              <a:solidFill>
                <a:srgbClr val="E6E5E5"/>
              </a:solidFill>
            </c:spPr>
            <c:extLst>
              <c:ext xmlns:c16="http://schemas.microsoft.com/office/drawing/2014/chart" uri="{C3380CC4-5D6E-409C-BE32-E72D297353CC}">
                <c16:uniqueId val="{000000A5-77EF-42ED-BAFF-03BF265C16B5}"/>
              </c:ext>
            </c:extLst>
          </c:dPt>
          <c:dPt>
            <c:idx val="83"/>
            <c:invertIfNegative val="1"/>
            <c:bubble3D val="0"/>
            <c:spPr>
              <a:solidFill>
                <a:srgbClr val="E6E5E5"/>
              </a:solidFill>
            </c:spPr>
            <c:extLst>
              <c:ext xmlns:c16="http://schemas.microsoft.com/office/drawing/2014/chart" uri="{C3380CC4-5D6E-409C-BE32-E72D297353CC}">
                <c16:uniqueId val="{000000A7-77EF-42ED-BAFF-03BF265C16B5}"/>
              </c:ext>
            </c:extLst>
          </c:dPt>
          <c:dPt>
            <c:idx val="84"/>
            <c:invertIfNegative val="1"/>
            <c:bubble3D val="0"/>
            <c:spPr>
              <a:solidFill>
                <a:srgbClr val="E6E5E5"/>
              </a:solidFill>
            </c:spPr>
            <c:extLst>
              <c:ext xmlns:c16="http://schemas.microsoft.com/office/drawing/2014/chart" uri="{C3380CC4-5D6E-409C-BE32-E72D297353CC}">
                <c16:uniqueId val="{000000A9-77EF-42ED-BAFF-03BF265C16B5}"/>
              </c:ext>
            </c:extLst>
          </c:dPt>
          <c:dPt>
            <c:idx val="85"/>
            <c:invertIfNegative val="1"/>
            <c:bubble3D val="0"/>
            <c:spPr>
              <a:solidFill>
                <a:srgbClr val="E6E5E5"/>
              </a:solidFill>
            </c:spPr>
            <c:extLst>
              <c:ext xmlns:c16="http://schemas.microsoft.com/office/drawing/2014/chart" uri="{C3380CC4-5D6E-409C-BE32-E72D297353CC}">
                <c16:uniqueId val="{000000AB-77EF-42ED-BAFF-03BF265C16B5}"/>
              </c:ext>
            </c:extLst>
          </c:dPt>
          <c:dPt>
            <c:idx val="86"/>
            <c:invertIfNegative val="1"/>
            <c:bubble3D val="0"/>
            <c:spPr>
              <a:solidFill>
                <a:srgbClr val="E6E5E5"/>
              </a:solidFill>
            </c:spPr>
            <c:extLst>
              <c:ext xmlns:c16="http://schemas.microsoft.com/office/drawing/2014/chart" uri="{C3380CC4-5D6E-409C-BE32-E72D297353CC}">
                <c16:uniqueId val="{000000AD-77EF-42ED-BAFF-03BF265C16B5}"/>
              </c:ext>
            </c:extLst>
          </c:dPt>
          <c:dPt>
            <c:idx val="87"/>
            <c:invertIfNegative val="1"/>
            <c:bubble3D val="0"/>
            <c:spPr>
              <a:solidFill>
                <a:srgbClr val="E6E5E5"/>
              </a:solidFill>
            </c:spPr>
            <c:extLst>
              <c:ext xmlns:c16="http://schemas.microsoft.com/office/drawing/2014/chart" uri="{C3380CC4-5D6E-409C-BE32-E72D297353CC}">
                <c16:uniqueId val="{000000AF-77EF-42ED-BAFF-03BF265C16B5}"/>
              </c:ext>
            </c:extLst>
          </c:dPt>
          <c:dPt>
            <c:idx val="88"/>
            <c:invertIfNegative val="1"/>
            <c:bubble3D val="0"/>
            <c:spPr>
              <a:solidFill>
                <a:srgbClr val="E6E5E5"/>
              </a:solidFill>
            </c:spPr>
            <c:extLst>
              <c:ext xmlns:c16="http://schemas.microsoft.com/office/drawing/2014/chart" uri="{C3380CC4-5D6E-409C-BE32-E72D297353CC}">
                <c16:uniqueId val="{000000B1-77EF-42ED-BAFF-03BF265C16B5}"/>
              </c:ext>
            </c:extLst>
          </c:dPt>
          <c:dPt>
            <c:idx val="89"/>
            <c:invertIfNegative val="1"/>
            <c:bubble3D val="0"/>
            <c:spPr>
              <a:solidFill>
                <a:srgbClr val="E6E5E5"/>
              </a:solidFill>
            </c:spPr>
            <c:extLst>
              <c:ext xmlns:c16="http://schemas.microsoft.com/office/drawing/2014/chart" uri="{C3380CC4-5D6E-409C-BE32-E72D297353CC}">
                <c16:uniqueId val="{000000B3-77EF-42ED-BAFF-03BF265C16B5}"/>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7980-4C82-8C1C-32D5A7B4E44B}"/>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7980-4C82-8C1C-32D5A7B4E44B}"/>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7980-4C82-8C1C-32D5A7B4E44B}"/>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7980-4C82-8C1C-32D5A7B4E44B}"/>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7980-4C82-8C1C-32D5A7B4E44B}"/>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7980-4C82-8C1C-32D5A7B4E44B}"/>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7980-4C82-8C1C-32D5A7B4E44B}"/>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7980-4C82-8C1C-32D5A7B4E44B}"/>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7980-4C82-8C1C-32D5A7B4E44B}"/>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7980-4C82-8C1C-32D5A7B4E44B}"/>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7980-4C82-8C1C-32D5A7B4E44B}"/>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7980-4C82-8C1C-32D5A7B4E44B}"/>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7980-4C82-8C1C-32D5A7B4E44B}"/>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7980-4C82-8C1C-32D5A7B4E44B}"/>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7980-4C82-8C1C-32D5A7B4E44B}"/>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7980-4C82-8C1C-32D5A7B4E44B}"/>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7980-4C82-8C1C-32D5A7B4E44B}"/>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7980-4C82-8C1C-32D5A7B4E44B}"/>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7980-4C82-8C1C-32D5A7B4E44B}"/>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7980-4C82-8C1C-32D5A7B4E44B}"/>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7980-4C82-8C1C-32D5A7B4E44B}"/>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7980-4C82-8C1C-32D5A7B4E44B}"/>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7980-4C82-8C1C-32D5A7B4E44B}"/>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7980-4C82-8C1C-32D5A7B4E44B}"/>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7980-4C82-8C1C-32D5A7B4E44B}"/>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7980-4C82-8C1C-32D5A7B4E44B}"/>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7980-4C82-8C1C-32D5A7B4E44B}"/>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7980-4C82-8C1C-32D5A7B4E44B}"/>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7980-4C82-8C1C-32D5A7B4E44B}"/>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7980-4C82-8C1C-32D5A7B4E44B}"/>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7980-4C82-8C1C-32D5A7B4E44B}"/>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7980-4C82-8C1C-32D5A7B4E44B}"/>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980-4C82-8C1C-32D5A7B4E44B}"/>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7980-4C82-8C1C-32D5A7B4E44B}"/>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980-4C82-8C1C-32D5A7B4E44B}"/>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7980-4C82-8C1C-32D5A7B4E44B}"/>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7980-4C82-8C1C-32D5A7B4E44B}"/>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7980-4C82-8C1C-32D5A7B4E44B}"/>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7980-4C82-8C1C-32D5A7B4E44B}"/>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7980-4C82-8C1C-32D5A7B4E44B}"/>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layout>
                    <c:manualLayout>
                      <c:w val="4.4718783068783061E-2"/>
                      <c:h val="5.0377414451733424E-2"/>
                    </c:manualLayout>
                  </c15:layout>
                  <c15:showDataLabelsRange val="0"/>
                </c:ext>
                <c:ext xmlns:c16="http://schemas.microsoft.com/office/drawing/2014/chart" uri="{C3380CC4-5D6E-409C-BE32-E72D297353CC}">
                  <c16:uniqueId val="{00000032-7980-4C82-8C1C-32D5A7B4E44B}"/>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7980-4C82-8C1C-32D5A7B4E44B}"/>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7980-4C82-8C1C-32D5A7B4E44B}"/>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7980-4C82-8C1C-32D5A7B4E44B}"/>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7980-4C82-8C1C-32D5A7B4E44B}"/>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7980-4C82-8C1C-32D5A7B4E44B}"/>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7980-4C82-8C1C-32D5A7B4E44B}"/>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7980-4C82-8C1C-32D5A7B4E44B}"/>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7980-4C82-8C1C-32D5A7B4E44B}"/>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7980-4C82-8C1C-32D5A7B4E44B}"/>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7980-4C82-8C1C-32D5A7B4E44B}"/>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7980-4C82-8C1C-32D5A7B4E44B}"/>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7980-4C82-8C1C-32D5A7B4E44B}"/>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77EF-42ED-BAFF-03BF265C16B5}"/>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77EF-42ED-BAFF-03BF265C16B5}"/>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77EF-42ED-BAFF-03BF265C16B5}"/>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77EF-42ED-BAFF-03BF265C16B5}"/>
                </c:ext>
              </c:extLst>
            </c:dLbl>
            <c:dLbl>
              <c:idx val="5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77EF-42ED-BAFF-03BF265C16B5}"/>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77EF-42ED-BAFF-03BF265C16B5}"/>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77EF-42ED-BAFF-03BF265C16B5}"/>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77EF-42ED-BAFF-03BF265C16B5}"/>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77EF-42ED-BAFF-03BF265C16B5}"/>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77EF-42ED-BAFF-03BF265C16B5}"/>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77EF-42ED-BAFF-03BF265C16B5}"/>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77EF-42ED-BAFF-03BF265C16B5}"/>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77EF-42ED-BAFF-03BF265C16B5}"/>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77EF-42ED-BAFF-03BF265C16B5}"/>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77EF-42ED-BAFF-03BF265C16B5}"/>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77EF-42ED-BAFF-03BF265C16B5}"/>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77EF-42ED-BAFF-03BF265C16B5}"/>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77EF-42ED-BAFF-03BF265C16B5}"/>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77EF-42ED-BAFF-03BF265C16B5}"/>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77EF-42ED-BAFF-03BF265C16B5}"/>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77EF-42ED-BAFF-03BF265C16B5}"/>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77EF-42ED-BAFF-03BF265C16B5}"/>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77EF-42ED-BAFF-03BF265C16B5}"/>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77EF-42ED-BAFF-03BF265C16B5}"/>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77EF-42ED-BAFF-03BF265C16B5}"/>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77EF-42ED-BAFF-03BF265C16B5}"/>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77EF-42ED-BAFF-03BF265C16B5}"/>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77EF-42ED-BAFF-03BF265C16B5}"/>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77EF-42ED-BAFF-03BF265C16B5}"/>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77EF-42ED-BAFF-03BF265C16B5}"/>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77EF-42ED-BAFF-03BF265C16B5}"/>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77EF-42ED-BAFF-03BF265C16B5}"/>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77EF-42ED-BAFF-03BF265C16B5}"/>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77EF-42ED-BAFF-03BF265C16B5}"/>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77EF-42ED-BAFF-03BF265C16B5}"/>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77EF-42ED-BAFF-03BF265C16B5}"/>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9</c:f>
              <c:strCache>
                <c:ptCount val="78"/>
                <c:pt idx="0">
                  <c:v>Galaxy Jewels 1.4kg</c:v>
                </c:pt>
                <c:pt idx="1">
                  <c:v>Ferrero Rocher 300g</c:v>
                </c:pt>
                <c:pt idx="2">
                  <c:v>Galaxy Smooth Milk Chocolate 36g x 24</c:v>
                </c:pt>
                <c:pt idx="3">
                  <c:v>Galaxy Jewels 900g</c:v>
                </c:pt>
                <c:pt idx="4">
                  <c:v>Galaxy Jewels 650g</c:v>
                </c:pt>
                <c:pt idx="5">
                  <c:v>Cadbury Dairy Milk Minis Selection 500g</c:v>
                </c:pt>
                <c:pt idx="6">
                  <c:v>Kit Kat 17.7g x 18</c:v>
                </c:pt>
                <c:pt idx="7">
                  <c:v>Kinder Bueno Milk&amp;Hazelnut 43g</c:v>
                </c:pt>
                <c:pt idx="8">
                  <c:v>Tiffany Break Supa 38gx12</c:v>
                </c:pt>
                <c:pt idx="9">
                  <c:v>Snickers 50gx6</c:v>
                </c:pt>
                <c:pt idx="10">
                  <c:v>Tiffany Break 24x15.5g</c:v>
                </c:pt>
                <c:pt idx="11">
                  <c:v>Tiffany Break Mini Fun 384g</c:v>
                </c:pt>
                <c:pt idx="12">
                  <c:v>Kinder Bueno Milk&amp;Hazelnut 43gx10</c:v>
                </c:pt>
                <c:pt idx="13">
                  <c:v>Mackintosh Quality Street Chocolate 600g</c:v>
                </c:pt>
                <c:pt idx="14">
                  <c:v>Snickers Bar 50g</c:v>
                </c:pt>
                <c:pt idx="15">
                  <c:v>Maltesers Chocolate 175g</c:v>
                </c:pt>
                <c:pt idx="16">
                  <c:v>Tiffany Break 31gx12</c:v>
                </c:pt>
                <c:pt idx="17">
                  <c:v>Tiffany Break Delight 25gx12</c:v>
                </c:pt>
                <c:pt idx="18">
                  <c:v>Snickers Minis Bag 252g</c:v>
                </c:pt>
                <c:pt idx="19">
                  <c:v>Cadbury Miniatures Box 400g</c:v>
                </c:pt>
                <c:pt idx="20">
                  <c:v>Bounty Bar 57g</c:v>
                </c:pt>
                <c:pt idx="21">
                  <c:v>Galaxy Smooth Milk Minis 237.5g</c:v>
                </c:pt>
                <c:pt idx="22">
                  <c:v>Bounty Bar 57g x 5</c:v>
                </c:pt>
                <c:pt idx="23">
                  <c:v>Kinder Maxi Chocolate 21gx11 (10+1)</c:v>
                </c:pt>
                <c:pt idx="24">
                  <c:v>Ferrero Rocher 200g</c:v>
                </c:pt>
                <c:pt idx="25">
                  <c:v>Ferrero Raffaello 150g box </c:v>
                </c:pt>
                <c:pt idx="26">
                  <c:v>Galaxy Hazelnut Minis 237.5g</c:v>
                </c:pt>
                <c:pt idx="27">
                  <c:v>Twix 50gx5</c:v>
                </c:pt>
                <c:pt idx="28">
                  <c:v>Twix Bar 50g</c:v>
                </c:pt>
                <c:pt idx="29">
                  <c:v>Maltesers Chocolate 37g</c:v>
                </c:pt>
                <c:pt idx="30">
                  <c:v>Snickers Miniatures 150g</c:v>
                </c:pt>
                <c:pt idx="31">
                  <c:v>Cadbury Flake Minis Bag 159.5g</c:v>
                </c:pt>
                <c:pt idx="32">
                  <c:v>M&amp;M's Peanut 165g</c:v>
                </c:pt>
                <c:pt idx="33">
                  <c:v>Twix Miniatures 150g</c:v>
                </c:pt>
                <c:pt idx="34">
                  <c:v>Cadbury Timeout Minis Wafer 247.2g</c:v>
                </c:pt>
                <c:pt idx="35">
                  <c:v>Toblerone Milk Chocolate 200g</c:v>
                </c:pt>
                <c:pt idx="36">
                  <c:v>Galaxy Smooth Milk Minis 162.5g</c:v>
                </c:pt>
                <c:pt idx="37">
                  <c:v>Mars 45g x 6</c:v>
                </c:pt>
                <c:pt idx="38">
                  <c:v>Bounty Miniatures 150g</c:v>
                </c:pt>
                <c:pt idx="39">
                  <c:v>Kinder Chocolate Bar 8x12.5g</c:v>
                </c:pt>
                <c:pt idx="40">
                  <c:v>Galaxy Smooth Dark Chocolate 40g</c:v>
                </c:pt>
                <c:pt idx="41">
                  <c:v>Mars Bar 51g </c:v>
                </c:pt>
                <c:pt idx="42">
                  <c:v>Hershey's Kisses Special Selection Assorted 325g</c:v>
                </c:pt>
                <c:pt idx="43">
                  <c:v>Galaxy Hazelnut Chocolate 36g</c:v>
                </c:pt>
                <c:pt idx="44">
                  <c:v>Galaxy Smooth Milk Chocolate 36g</c:v>
                </c:pt>
                <c:pt idx="45">
                  <c:v>Galaxy Caramel Bar 40g</c:v>
                </c:pt>
                <c:pt idx="46">
                  <c:v>Kinder Chocolate Bar 50g</c:v>
                </c:pt>
                <c:pt idx="47">
                  <c:v>Kinder Bueno White 39g</c:v>
                </c:pt>
                <c:pt idx="48">
                  <c:v>Hershey's Kisses Classic Selection Assorted 325g</c:v>
                </c:pt>
                <c:pt idx="49">
                  <c:v>Galaxy Crispy Milk Chocolate 36g</c:v>
                </c:pt>
                <c:pt idx="50">
                  <c:v> Reeses Peanut Butter Cup Mini 340g </c:v>
                </c:pt>
                <c:pt idx="51">
                  <c:v>Kit Kat 17.7g</c:v>
                </c:pt>
                <c:pt idx="52">
                  <c:v> Reeses Peanut Butter Cup 42g x 6</c:v>
                </c:pt>
                <c:pt idx="53">
                  <c:v>Reeses Peanut Butter Cups 46g</c:v>
                </c:pt>
                <c:pt idx="54">
                  <c:v>Reeses Peanut Butter Cup Mini 215g</c:v>
                </c:pt>
                <c:pt idx="55">
                  <c:v>M&amp;M's Milk Chocolate 30.6g</c:v>
                </c:pt>
                <c:pt idx="56">
                  <c:v>Godiva Double Chocolate Bar 35g</c:v>
                </c:pt>
                <c:pt idx="57">
                  <c:v>Galaxy Smooth Milk Chocolate 80g</c:v>
                </c:pt>
                <c:pt idx="58">
                  <c:v>Galaxy Ripple Bar 33g</c:v>
                </c:pt>
                <c:pt idx="59">
                  <c:v>Hershey's Chocobites Cookies 'n Creme 90g</c:v>
                </c:pt>
                <c:pt idx="60">
                  <c:v>Hershey's Kisses Special Selection Assorted 100g</c:v>
                </c:pt>
                <c:pt idx="61">
                  <c:v>Hershey's Chocobites Salted Caramel 81g</c:v>
                </c:pt>
                <c:pt idx="62">
                  <c:v>Hershey's Cookies N' Chocolate 40g</c:v>
                </c:pt>
                <c:pt idx="63">
                  <c:v>Reeses Block 90g</c:v>
                </c:pt>
                <c:pt idx="64">
                  <c:v>Reeses Nut Bar 47g</c:v>
                </c:pt>
                <c:pt idx="65">
                  <c:v>Hershey's Kisses Classic Selection Assorted 100g</c:v>
                </c:pt>
                <c:pt idx="66">
                  <c:v>Hershey's Cookies 'n Creme Block 90g</c:v>
                </c:pt>
                <c:pt idx="67">
                  <c:v>Hershey's Cookies N' Crème 12.76g</c:v>
                </c:pt>
                <c:pt idx="68">
                  <c:v> Reeses Wafer Sticks 42g</c:v>
                </c:pt>
                <c:pt idx="69">
                  <c:v>Hershey's Choco Tubes Cookies N' Creme 18g</c:v>
                </c:pt>
                <c:pt idx="70">
                  <c:v> Reeses Peanut Butter Cup Mini 500G</c:v>
                </c:pt>
                <c:pt idx="71">
                  <c:v>Reeses Pieces 180g</c:v>
                </c:pt>
                <c:pt idx="72">
                  <c:v>Reeses Mini King Size 71g</c:v>
                </c:pt>
                <c:pt idx="73">
                  <c:v>Hershey's Cookies 'n Creme Creations Salted Caramel 38g</c:v>
                </c:pt>
                <c:pt idx="74">
                  <c:v>Hersheys Kisses Classic Selection Assorted 600G</c:v>
                </c:pt>
                <c:pt idx="75">
                  <c:v>Hershey's Cookies 'n Creme 40Gx 4</c:v>
                </c:pt>
                <c:pt idx="76">
                  <c:v>Hershey's Variety Pack 40Gx3</c:v>
                </c:pt>
                <c:pt idx="77">
                  <c:v>Reeses Fast break 51g</c:v>
                </c:pt>
              </c:strCache>
            </c:strRef>
          </c:cat>
          <c:val>
            <c:numRef>
              <c:f>Sheet1!$B$2:$B$79</c:f>
              <c:numCache>
                <c:formatCode>General</c:formatCode>
                <c:ptCount val="78"/>
                <c:pt idx="0">
                  <c:v>8.7472496097121558E-2</c:v>
                </c:pt>
                <c:pt idx="1">
                  <c:v>5.7538947324104119E-2</c:v>
                </c:pt>
                <c:pt idx="2">
                  <c:v>5.2433248127097418E-2</c:v>
                </c:pt>
                <c:pt idx="3">
                  <c:v>5.2427028090236263E-2</c:v>
                </c:pt>
                <c:pt idx="4">
                  <c:v>4.8702496145713738E-2</c:v>
                </c:pt>
                <c:pt idx="5">
                  <c:v>3.984530703204197E-2</c:v>
                </c:pt>
                <c:pt idx="6">
                  <c:v>2.9281333941963E-2</c:v>
                </c:pt>
                <c:pt idx="7">
                  <c:v>2.7690668434504601E-2</c:v>
                </c:pt>
                <c:pt idx="8">
                  <c:v>2.5210000455187748E-2</c:v>
                </c:pt>
                <c:pt idx="9">
                  <c:v>2.4943187003251179E-2</c:v>
                </c:pt>
                <c:pt idx="10">
                  <c:v>2.4410882866364541E-2</c:v>
                </c:pt>
                <c:pt idx="11">
                  <c:v>2.431449668967391E-2</c:v>
                </c:pt>
                <c:pt idx="12">
                  <c:v>2.2624836421410909E-2</c:v>
                </c:pt>
                <c:pt idx="13">
                  <c:v>2.240126222098935E-2</c:v>
                </c:pt>
                <c:pt idx="14">
                  <c:v>2.1312383520667021E-2</c:v>
                </c:pt>
                <c:pt idx="15">
                  <c:v>2.0948557967625781E-2</c:v>
                </c:pt>
                <c:pt idx="16">
                  <c:v>2.0802759209870909E-2</c:v>
                </c:pt>
                <c:pt idx="17">
                  <c:v>1.796715545025266E-2</c:v>
                </c:pt>
                <c:pt idx="18">
                  <c:v>1.6841617507406651E-2</c:v>
                </c:pt>
                <c:pt idx="19">
                  <c:v>1.595185798501797E-2</c:v>
                </c:pt>
                <c:pt idx="20">
                  <c:v>1.5133684418223889E-2</c:v>
                </c:pt>
                <c:pt idx="21">
                  <c:v>1.4607463502544641E-2</c:v>
                </c:pt>
                <c:pt idx="22">
                  <c:v>1.4327795755228641E-2</c:v>
                </c:pt>
                <c:pt idx="23">
                  <c:v>1.4300496139580759E-2</c:v>
                </c:pt>
                <c:pt idx="24">
                  <c:v>1.428543080773065E-2</c:v>
                </c:pt>
                <c:pt idx="25">
                  <c:v>1.4034261062238269E-2</c:v>
                </c:pt>
                <c:pt idx="26">
                  <c:v>1.329639293211704E-2</c:v>
                </c:pt>
                <c:pt idx="27">
                  <c:v>1.2785194916348211E-2</c:v>
                </c:pt>
                <c:pt idx="28">
                  <c:v>1.1550390621815201E-2</c:v>
                </c:pt>
                <c:pt idx="29">
                  <c:v>1.1357457804435761E-2</c:v>
                </c:pt>
                <c:pt idx="30">
                  <c:v>1.086426231323109E-2</c:v>
                </c:pt>
                <c:pt idx="31">
                  <c:v>1.0480589734489711E-2</c:v>
                </c:pt>
                <c:pt idx="32">
                  <c:v>1.0430399563066959E-2</c:v>
                </c:pt>
                <c:pt idx="33">
                  <c:v>1.020525301098122E-2</c:v>
                </c:pt>
                <c:pt idx="34">
                  <c:v>9.9953769134242237E-3</c:v>
                </c:pt>
                <c:pt idx="35">
                  <c:v>9.681768078509994E-3</c:v>
                </c:pt>
                <c:pt idx="36">
                  <c:v>9.4015158630799279E-3</c:v>
                </c:pt>
                <c:pt idx="37">
                  <c:v>8.0950411657840678E-3</c:v>
                </c:pt>
                <c:pt idx="38">
                  <c:v>7.5484160737205926E-3</c:v>
                </c:pt>
                <c:pt idx="39">
                  <c:v>7.4456816552401391E-3</c:v>
                </c:pt>
                <c:pt idx="40">
                  <c:v>7.2259315698773264E-3</c:v>
                </c:pt>
                <c:pt idx="41">
                  <c:v>7.1656336772027091E-3</c:v>
                </c:pt>
                <c:pt idx="42">
                  <c:v>6.7758356553924001E-3</c:v>
                </c:pt>
                <c:pt idx="43">
                  <c:v>6.6474385250116421E-3</c:v>
                </c:pt>
                <c:pt idx="44">
                  <c:v>6.5896804076022017E-3</c:v>
                </c:pt>
                <c:pt idx="45">
                  <c:v>6.1115357976134982E-3</c:v>
                </c:pt>
                <c:pt idx="46">
                  <c:v>5.451110043885531E-3</c:v>
                </c:pt>
                <c:pt idx="47">
                  <c:v>5.4366567437936376E-3</c:v>
                </c:pt>
                <c:pt idx="48">
                  <c:v>5.0655794386848208E-3</c:v>
                </c:pt>
                <c:pt idx="49">
                  <c:v>4.8777439605028356E-3</c:v>
                </c:pt>
                <c:pt idx="50">
                  <c:v>4.8173841850306202E-3</c:v>
                </c:pt>
                <c:pt idx="51">
                  <c:v>4.757078936432276E-3</c:v>
                </c:pt>
                <c:pt idx="52">
                  <c:v>4.6073366062554071E-3</c:v>
                </c:pt>
                <c:pt idx="53">
                  <c:v>4.4996529359943851E-3</c:v>
                </c:pt>
                <c:pt idx="54">
                  <c:v>4.3987723156036279E-3</c:v>
                </c:pt>
                <c:pt idx="55">
                  <c:v>4.0273573708384863E-3</c:v>
                </c:pt>
                <c:pt idx="56">
                  <c:v>3.9203779776991127E-3</c:v>
                </c:pt>
                <c:pt idx="57">
                  <c:v>3.4968857436555559E-3</c:v>
                </c:pt>
                <c:pt idx="58">
                  <c:v>3.318392300390517E-3</c:v>
                </c:pt>
                <c:pt idx="59">
                  <c:v>2.7099351522742849E-3</c:v>
                </c:pt>
                <c:pt idx="60">
                  <c:v>2.541972149100086E-3</c:v>
                </c:pt>
                <c:pt idx="61">
                  <c:v>2.4365023024946779E-3</c:v>
                </c:pt>
                <c:pt idx="62">
                  <c:v>2.4242122973904402E-3</c:v>
                </c:pt>
                <c:pt idx="63">
                  <c:v>2.1546631701556051E-3</c:v>
                </c:pt>
                <c:pt idx="64">
                  <c:v>1.6539174754250411E-3</c:v>
                </c:pt>
                <c:pt idx="65">
                  <c:v>1.533100664626598E-3</c:v>
                </c:pt>
                <c:pt idx="66">
                  <c:v>1.2803795821592181E-3</c:v>
                </c:pt>
                <c:pt idx="67">
                  <c:v>7.8328664731944621E-4</c:v>
                </c:pt>
                <c:pt idx="68">
                  <c:v>2.7127970870976262E-4</c:v>
                </c:pt>
                <c:pt idx="69">
                  <c:v>7.2971836586101626E-5</c:v>
                </c:pt>
                <c:pt idx="70">
                  <c:v>0</c:v>
                </c:pt>
                <c:pt idx="71">
                  <c:v>0</c:v>
                </c:pt>
                <c:pt idx="72">
                  <c:v>0</c:v>
                </c:pt>
                <c:pt idx="73">
                  <c:v>0</c:v>
                </c:pt>
                <c:pt idx="74">
                  <c:v>0</c:v>
                </c:pt>
                <c:pt idx="75">
                  <c:v>0</c:v>
                </c:pt>
                <c:pt idx="76">
                  <c:v>0</c:v>
                </c:pt>
                <c:pt idx="77">
                  <c:v>0</c:v>
                </c:pt>
              </c:numCache>
            </c:numRef>
          </c:val>
          <c:extLst>
            <c:ext xmlns:c16="http://schemas.microsoft.com/office/drawing/2014/chart" uri="{C3380CC4-5D6E-409C-BE32-E72D297353CC}">
              <c16:uniqueId val="{00000042-7980-4C82-8C1C-32D5A7B4E44B}"/>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478263789278E-2"/>
          <c:y val="0"/>
          <c:w val="0.96518562554386689"/>
          <c:h val="1"/>
        </c:manualLayout>
      </c:layout>
      <c:barChart>
        <c:barDir val="bar"/>
        <c:grouping val="clustered"/>
        <c:varyColors val="0"/>
        <c:ser>
          <c:idx val="2"/>
          <c:order val="0"/>
          <c:tx>
            <c:strRef>
              <c:f>Sheet1!$B$1</c:f>
              <c:strCache>
                <c:ptCount val="1"/>
                <c:pt idx="0">
                  <c:v>Hershey's Cookies 'n Creme 40Gx 4</c:v>
                </c:pt>
              </c:strCache>
            </c:strRef>
          </c:tx>
          <c:spPr>
            <a:solidFill>
              <a:srgbClr val="E6E5E5"/>
            </a:solidFill>
            <a:ln w="9525" cap="flat" cmpd="sng" algn="ctr">
              <a:noFill/>
              <a:round/>
            </a:ln>
            <a:effectLst/>
          </c:spPr>
          <c:invertIfNegative val="0"/>
          <c:dPt>
            <c:idx val="0"/>
            <c:invertIfNegative val="1"/>
            <c:bubble3D val="0"/>
            <c:spPr>
              <a:solidFill>
                <a:srgbClr val="E6E5E5"/>
              </a:solidFill>
            </c:spPr>
            <c:extLst>
              <c:ext xmlns:c16="http://schemas.microsoft.com/office/drawing/2014/chart" uri="{C3380CC4-5D6E-409C-BE32-E72D297353CC}">
                <c16:uniqueId val="{00000001-4CF6-426D-AECF-CFB74E12454F}"/>
              </c:ext>
            </c:extLst>
          </c:dPt>
          <c:dPt>
            <c:idx val="1"/>
            <c:invertIfNegative val="1"/>
            <c:bubble3D val="0"/>
            <c:spPr>
              <a:solidFill>
                <a:srgbClr val="E6E5E5"/>
              </a:solidFill>
            </c:spPr>
            <c:extLst>
              <c:ext xmlns:c16="http://schemas.microsoft.com/office/drawing/2014/chart" uri="{C3380CC4-5D6E-409C-BE32-E72D297353CC}">
                <c16:uniqueId val="{00000003-4CF6-426D-AECF-CFB74E12454F}"/>
              </c:ext>
            </c:extLst>
          </c:dPt>
          <c:dPt>
            <c:idx val="2"/>
            <c:invertIfNegative val="1"/>
            <c:bubble3D val="0"/>
            <c:spPr>
              <a:solidFill>
                <a:srgbClr val="E6E5E5"/>
              </a:solidFill>
            </c:spPr>
            <c:extLst>
              <c:ext xmlns:c16="http://schemas.microsoft.com/office/drawing/2014/chart" uri="{C3380CC4-5D6E-409C-BE32-E72D297353CC}">
                <c16:uniqueId val="{00000005-4CF6-426D-AECF-CFB74E12454F}"/>
              </c:ext>
            </c:extLst>
          </c:dPt>
          <c:dPt>
            <c:idx val="3"/>
            <c:invertIfNegative val="1"/>
            <c:bubble3D val="0"/>
            <c:spPr>
              <a:solidFill>
                <a:srgbClr val="E6E5E5"/>
              </a:solidFill>
            </c:spPr>
            <c:extLst>
              <c:ext xmlns:c16="http://schemas.microsoft.com/office/drawing/2014/chart" uri="{C3380CC4-5D6E-409C-BE32-E72D297353CC}">
                <c16:uniqueId val="{00000007-4CF6-426D-AECF-CFB74E12454F}"/>
              </c:ext>
            </c:extLst>
          </c:dPt>
          <c:dPt>
            <c:idx val="4"/>
            <c:invertIfNegative val="1"/>
            <c:bubble3D val="0"/>
            <c:spPr>
              <a:solidFill>
                <a:srgbClr val="E6E5E5"/>
              </a:solidFill>
            </c:spPr>
            <c:extLst>
              <c:ext xmlns:c16="http://schemas.microsoft.com/office/drawing/2014/chart" uri="{C3380CC4-5D6E-409C-BE32-E72D297353CC}">
                <c16:uniqueId val="{00000009-4CF6-426D-AECF-CFB74E12454F}"/>
              </c:ext>
            </c:extLst>
          </c:dPt>
          <c:dPt>
            <c:idx val="5"/>
            <c:invertIfNegative val="1"/>
            <c:bubble3D val="0"/>
            <c:spPr>
              <a:solidFill>
                <a:srgbClr val="E6E5E5"/>
              </a:solidFill>
            </c:spPr>
            <c:extLst>
              <c:ext xmlns:c16="http://schemas.microsoft.com/office/drawing/2014/chart" uri="{C3380CC4-5D6E-409C-BE32-E72D297353CC}">
                <c16:uniqueId val="{0000000B-4CF6-426D-AECF-CFB74E12454F}"/>
              </c:ext>
            </c:extLst>
          </c:dPt>
          <c:dPt>
            <c:idx val="6"/>
            <c:invertIfNegative val="1"/>
            <c:bubble3D val="0"/>
            <c:spPr>
              <a:solidFill>
                <a:srgbClr val="E6E5E5"/>
              </a:solidFill>
            </c:spPr>
            <c:extLst>
              <c:ext xmlns:c16="http://schemas.microsoft.com/office/drawing/2014/chart" uri="{C3380CC4-5D6E-409C-BE32-E72D297353CC}">
                <c16:uniqueId val="{0000000D-4CF6-426D-AECF-CFB74E12454F}"/>
              </c:ext>
            </c:extLst>
          </c:dPt>
          <c:dPt>
            <c:idx val="7"/>
            <c:invertIfNegative val="1"/>
            <c:bubble3D val="0"/>
            <c:spPr>
              <a:solidFill>
                <a:srgbClr val="E6E5E5"/>
              </a:solidFill>
            </c:spPr>
            <c:extLst>
              <c:ext xmlns:c16="http://schemas.microsoft.com/office/drawing/2014/chart" uri="{C3380CC4-5D6E-409C-BE32-E72D297353CC}">
                <c16:uniqueId val="{00000000-2DEF-4275-BB7F-2A2402E29FCF}"/>
              </c:ext>
            </c:extLst>
          </c:dPt>
          <c:dPt>
            <c:idx val="8"/>
            <c:invertIfNegative val="1"/>
            <c:bubble3D val="0"/>
            <c:spPr>
              <a:solidFill>
                <a:srgbClr val="E6E5E5"/>
              </a:solidFill>
            </c:spPr>
            <c:extLst>
              <c:ext xmlns:c16="http://schemas.microsoft.com/office/drawing/2014/chart" uri="{C3380CC4-5D6E-409C-BE32-E72D297353CC}">
                <c16:uniqueId val="{00000001-2DEF-4275-BB7F-2A2402E29FCF}"/>
              </c:ext>
            </c:extLst>
          </c:dPt>
          <c:dPt>
            <c:idx val="9"/>
            <c:invertIfNegative val="1"/>
            <c:bubble3D val="0"/>
            <c:spPr>
              <a:solidFill>
                <a:srgbClr val="E6E5E5"/>
              </a:solidFill>
            </c:spPr>
            <c:extLst>
              <c:ext xmlns:c16="http://schemas.microsoft.com/office/drawing/2014/chart" uri="{C3380CC4-5D6E-409C-BE32-E72D297353CC}">
                <c16:uniqueId val="{00000002-2DEF-4275-BB7F-2A2402E29FCF}"/>
              </c:ext>
            </c:extLst>
          </c:dPt>
          <c:dPt>
            <c:idx val="10"/>
            <c:invertIfNegative val="1"/>
            <c:bubble3D val="0"/>
            <c:spPr>
              <a:solidFill>
                <a:srgbClr val="E6E5E5"/>
              </a:solidFill>
            </c:spPr>
            <c:extLst>
              <c:ext xmlns:c16="http://schemas.microsoft.com/office/drawing/2014/chart" uri="{C3380CC4-5D6E-409C-BE32-E72D297353CC}">
                <c16:uniqueId val="{00000003-2DEF-4275-BB7F-2A2402E29FCF}"/>
              </c:ext>
            </c:extLst>
          </c:dPt>
          <c:dPt>
            <c:idx val="11"/>
            <c:invertIfNegative val="1"/>
            <c:bubble3D val="0"/>
            <c:spPr>
              <a:solidFill>
                <a:srgbClr val="E6E5E5"/>
              </a:solidFill>
            </c:spPr>
            <c:extLst>
              <c:ext xmlns:c16="http://schemas.microsoft.com/office/drawing/2014/chart" uri="{C3380CC4-5D6E-409C-BE32-E72D297353CC}">
                <c16:uniqueId val="{00000017-4CF6-426D-AECF-CFB74E12454F}"/>
              </c:ext>
            </c:extLst>
          </c:dPt>
          <c:dPt>
            <c:idx val="12"/>
            <c:invertIfNegative val="1"/>
            <c:bubble3D val="0"/>
            <c:spPr>
              <a:solidFill>
                <a:srgbClr val="E6E5E5"/>
              </a:solidFill>
            </c:spPr>
            <c:extLst>
              <c:ext xmlns:c16="http://schemas.microsoft.com/office/drawing/2014/chart" uri="{C3380CC4-5D6E-409C-BE32-E72D297353CC}">
                <c16:uniqueId val="{00000019-4CF6-426D-AECF-CFB74E12454F}"/>
              </c:ext>
            </c:extLst>
          </c:dPt>
          <c:dPt>
            <c:idx val="13"/>
            <c:invertIfNegative val="1"/>
            <c:bubble3D val="0"/>
            <c:spPr>
              <a:solidFill>
                <a:srgbClr val="E6E5E5"/>
              </a:solidFill>
            </c:spPr>
            <c:extLst>
              <c:ext xmlns:c16="http://schemas.microsoft.com/office/drawing/2014/chart" uri="{C3380CC4-5D6E-409C-BE32-E72D297353CC}">
                <c16:uniqueId val="{0000001B-4CF6-426D-AECF-CFB74E12454F}"/>
              </c:ext>
            </c:extLst>
          </c:dPt>
          <c:dPt>
            <c:idx val="14"/>
            <c:invertIfNegative val="1"/>
            <c:bubble3D val="0"/>
            <c:spPr>
              <a:solidFill>
                <a:srgbClr val="E6E5E5"/>
              </a:solidFill>
            </c:spPr>
            <c:extLst>
              <c:ext xmlns:c16="http://schemas.microsoft.com/office/drawing/2014/chart" uri="{C3380CC4-5D6E-409C-BE32-E72D297353CC}">
                <c16:uniqueId val="{0000001D-4CF6-426D-AECF-CFB74E12454F}"/>
              </c:ext>
            </c:extLst>
          </c:dPt>
          <c:dPt>
            <c:idx val="15"/>
            <c:invertIfNegative val="1"/>
            <c:bubble3D val="0"/>
            <c:spPr>
              <a:solidFill>
                <a:srgbClr val="E6E5E5"/>
              </a:solidFill>
            </c:spPr>
            <c:extLst>
              <c:ext xmlns:c16="http://schemas.microsoft.com/office/drawing/2014/chart" uri="{C3380CC4-5D6E-409C-BE32-E72D297353CC}">
                <c16:uniqueId val="{0000001F-4CF6-426D-AECF-CFB74E12454F}"/>
              </c:ext>
            </c:extLst>
          </c:dPt>
          <c:dLbls>
            <c:numFmt formatCode="0.0%" sourceLinked="0"/>
            <c:spPr>
              <a:noFill/>
              <a:ln>
                <a:noFill/>
              </a:ln>
              <a:effectLst/>
            </c:spPr>
            <c:txPr>
              <a:bodyPr rot="0" spcFirstLastPara="1" vertOverflow="ellipsis" vert="horz" wrap="non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A$2:$A$12</c:f>
              <c:numCache>
                <c:formatCode>General</c:formatCode>
                <c:ptCount val="11"/>
                <c:pt idx="0">
                  <c:v>0</c:v>
                </c:pt>
                <c:pt idx="1">
                  <c:v>1</c:v>
                </c:pt>
                <c:pt idx="2">
                  <c:v>2</c:v>
                </c:pt>
                <c:pt idx="3">
                  <c:v>3</c:v>
                </c:pt>
                <c:pt idx="4">
                  <c:v>4</c:v>
                </c:pt>
                <c:pt idx="5">
                  <c:v>5</c:v>
                </c:pt>
                <c:pt idx="6">
                  <c:v>6</c:v>
                </c:pt>
                <c:pt idx="7">
                  <c:v>7</c:v>
                </c:pt>
                <c:pt idx="8">
                  <c:v>8</c:v>
                </c:pt>
                <c:pt idx="9">
                  <c:v>9</c:v>
                </c:pt>
                <c:pt idx="10">
                  <c:v>10</c:v>
                </c:pt>
              </c:numCache>
            </c:numRef>
          </c:cat>
          <c:val>
            <c:numRef>
              <c:f>Sheet1!$B$2:$B$12</c:f>
              <c:numCache>
                <c:formatCode>General</c:formatCode>
                <c:ptCount val="11"/>
                <c:pt idx="0">
                  <c:v>0.144625596426422</c:v>
                </c:pt>
                <c:pt idx="1">
                  <c:v>7.3709483938171463E-2</c:v>
                </c:pt>
                <c:pt idx="2">
                  <c:v>7.0107128669837274E-2</c:v>
                </c:pt>
                <c:pt idx="3">
                  <c:v>5.5930863438467572E-2</c:v>
                </c:pt>
                <c:pt idx="4">
                  <c:v>4.1193482742225562E-2</c:v>
                </c:pt>
                <c:pt idx="5">
                  <c:v>3.1577164777321309E-2</c:v>
                </c:pt>
                <c:pt idx="6">
                  <c:v>4.8101004071141019E-2</c:v>
                </c:pt>
                <c:pt idx="7">
                  <c:v>3.0212086643940799E-2</c:v>
                </c:pt>
                <c:pt idx="8">
                  <c:v>3.3038799269343028E-2</c:v>
                </c:pt>
                <c:pt idx="9">
                  <c:v>2.5012729873956439E-2</c:v>
                </c:pt>
                <c:pt idx="10">
                  <c:v>2.2428122238729871E-2</c:v>
                </c:pt>
              </c:numCache>
            </c:numRef>
          </c:val>
          <c:extLst>
            <c:ext xmlns:c16="http://schemas.microsoft.com/office/drawing/2014/chart" uri="{C3380CC4-5D6E-409C-BE32-E72D297353CC}">
              <c16:uniqueId val="{00000004-2DEF-4275-BB7F-2A2402E29FCF}"/>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478263789278E-2"/>
          <c:y val="0"/>
          <c:w val="0.96518562554386689"/>
          <c:h val="1"/>
        </c:manualLayout>
      </c:layout>
      <c:barChart>
        <c:barDir val="bar"/>
        <c:grouping val="clustered"/>
        <c:varyColors val="0"/>
        <c:ser>
          <c:idx val="2"/>
          <c:order val="0"/>
          <c:tx>
            <c:strRef>
              <c:f>Sheet1!$B$1</c:f>
              <c:strCache>
                <c:ptCount val="1"/>
                <c:pt idx="0">
                  <c:v>Hershey's Cookies 'n Creme 40Gx 4</c:v>
                </c:pt>
              </c:strCache>
            </c:strRef>
          </c:tx>
          <c:spPr>
            <a:solidFill>
              <a:srgbClr val="E6E5E5"/>
            </a:solidFill>
            <a:ln w="9525" cap="flat" cmpd="sng" algn="ctr">
              <a:noFill/>
              <a:round/>
            </a:ln>
            <a:effectLst/>
          </c:spPr>
          <c:invertIfNegative val="0"/>
          <c:dPt>
            <c:idx val="0"/>
            <c:invertIfNegative val="1"/>
            <c:bubble3D val="0"/>
            <c:spPr>
              <a:solidFill>
                <a:srgbClr val="E6E5E5"/>
              </a:solidFill>
            </c:spPr>
            <c:extLst>
              <c:ext xmlns:c16="http://schemas.microsoft.com/office/drawing/2014/chart" uri="{C3380CC4-5D6E-409C-BE32-E72D297353CC}">
                <c16:uniqueId val="{00000001-E4D7-4CB3-9344-2F66B04EE15D}"/>
              </c:ext>
            </c:extLst>
          </c:dPt>
          <c:dPt>
            <c:idx val="1"/>
            <c:invertIfNegative val="1"/>
            <c:bubble3D val="0"/>
            <c:spPr>
              <a:solidFill>
                <a:srgbClr val="E6E5E5"/>
              </a:solidFill>
            </c:spPr>
            <c:extLst>
              <c:ext xmlns:c16="http://schemas.microsoft.com/office/drawing/2014/chart" uri="{C3380CC4-5D6E-409C-BE32-E72D297353CC}">
                <c16:uniqueId val="{00000003-E4D7-4CB3-9344-2F66B04EE15D}"/>
              </c:ext>
            </c:extLst>
          </c:dPt>
          <c:dPt>
            <c:idx val="2"/>
            <c:invertIfNegative val="1"/>
            <c:bubble3D val="0"/>
            <c:spPr>
              <a:solidFill>
                <a:srgbClr val="E6E5E5"/>
              </a:solidFill>
            </c:spPr>
            <c:extLst>
              <c:ext xmlns:c16="http://schemas.microsoft.com/office/drawing/2014/chart" uri="{C3380CC4-5D6E-409C-BE32-E72D297353CC}">
                <c16:uniqueId val="{00000005-E4D7-4CB3-9344-2F66B04EE15D}"/>
              </c:ext>
            </c:extLst>
          </c:dPt>
          <c:dPt>
            <c:idx val="3"/>
            <c:invertIfNegative val="1"/>
            <c:bubble3D val="0"/>
            <c:spPr>
              <a:solidFill>
                <a:srgbClr val="E6E5E5"/>
              </a:solidFill>
            </c:spPr>
            <c:extLst>
              <c:ext xmlns:c16="http://schemas.microsoft.com/office/drawing/2014/chart" uri="{C3380CC4-5D6E-409C-BE32-E72D297353CC}">
                <c16:uniqueId val="{00000007-E4D7-4CB3-9344-2F66B04EE15D}"/>
              </c:ext>
            </c:extLst>
          </c:dPt>
          <c:dPt>
            <c:idx val="4"/>
            <c:invertIfNegative val="1"/>
            <c:bubble3D val="0"/>
            <c:spPr>
              <a:solidFill>
                <a:srgbClr val="E6E5E5"/>
              </a:solidFill>
            </c:spPr>
            <c:extLst>
              <c:ext xmlns:c16="http://schemas.microsoft.com/office/drawing/2014/chart" uri="{C3380CC4-5D6E-409C-BE32-E72D297353CC}">
                <c16:uniqueId val="{00000009-E4D7-4CB3-9344-2F66B04EE15D}"/>
              </c:ext>
            </c:extLst>
          </c:dPt>
          <c:dPt>
            <c:idx val="5"/>
            <c:invertIfNegative val="1"/>
            <c:bubble3D val="0"/>
            <c:spPr>
              <a:solidFill>
                <a:srgbClr val="E6E5E5"/>
              </a:solidFill>
            </c:spPr>
            <c:extLst>
              <c:ext xmlns:c16="http://schemas.microsoft.com/office/drawing/2014/chart" uri="{C3380CC4-5D6E-409C-BE32-E72D297353CC}">
                <c16:uniqueId val="{0000000B-E4D7-4CB3-9344-2F66B04EE15D}"/>
              </c:ext>
            </c:extLst>
          </c:dPt>
          <c:dPt>
            <c:idx val="6"/>
            <c:invertIfNegative val="1"/>
            <c:bubble3D val="0"/>
            <c:spPr>
              <a:solidFill>
                <a:srgbClr val="E6E5E5"/>
              </a:solidFill>
            </c:spPr>
            <c:extLst>
              <c:ext xmlns:c16="http://schemas.microsoft.com/office/drawing/2014/chart" uri="{C3380CC4-5D6E-409C-BE32-E72D297353CC}">
                <c16:uniqueId val="{0000000D-E4D7-4CB3-9344-2F66B04EE15D}"/>
              </c:ext>
            </c:extLst>
          </c:dPt>
          <c:dPt>
            <c:idx val="7"/>
            <c:invertIfNegative val="1"/>
            <c:bubble3D val="0"/>
            <c:spPr>
              <a:solidFill>
                <a:srgbClr val="E6E5E5"/>
              </a:solidFill>
            </c:spPr>
            <c:extLst>
              <c:ext xmlns:c16="http://schemas.microsoft.com/office/drawing/2014/chart" uri="{C3380CC4-5D6E-409C-BE32-E72D297353CC}">
                <c16:uniqueId val="{0000000F-E4D7-4CB3-9344-2F66B04EE15D}"/>
              </c:ext>
            </c:extLst>
          </c:dPt>
          <c:dPt>
            <c:idx val="8"/>
            <c:invertIfNegative val="1"/>
            <c:bubble3D val="0"/>
            <c:spPr>
              <a:solidFill>
                <a:srgbClr val="E6E5E5"/>
              </a:solidFill>
            </c:spPr>
            <c:extLst>
              <c:ext xmlns:c16="http://schemas.microsoft.com/office/drawing/2014/chart" uri="{C3380CC4-5D6E-409C-BE32-E72D297353CC}">
                <c16:uniqueId val="{00000011-E4D7-4CB3-9344-2F66B04EE15D}"/>
              </c:ext>
            </c:extLst>
          </c:dPt>
          <c:dPt>
            <c:idx val="9"/>
            <c:invertIfNegative val="1"/>
            <c:bubble3D val="0"/>
            <c:spPr>
              <a:solidFill>
                <a:srgbClr val="E6E5E5"/>
              </a:solidFill>
            </c:spPr>
            <c:extLst>
              <c:ext xmlns:c16="http://schemas.microsoft.com/office/drawing/2014/chart" uri="{C3380CC4-5D6E-409C-BE32-E72D297353CC}">
                <c16:uniqueId val="{00000013-E4D7-4CB3-9344-2F66B04EE15D}"/>
              </c:ext>
            </c:extLst>
          </c:dPt>
          <c:dPt>
            <c:idx val="10"/>
            <c:invertIfNegative val="1"/>
            <c:bubble3D val="0"/>
            <c:spPr>
              <a:solidFill>
                <a:srgbClr val="E6E5E5"/>
              </a:solidFill>
            </c:spPr>
            <c:extLst>
              <c:ext xmlns:c16="http://schemas.microsoft.com/office/drawing/2014/chart" uri="{C3380CC4-5D6E-409C-BE32-E72D297353CC}">
                <c16:uniqueId val="{00000015-E4D7-4CB3-9344-2F66B04EE15D}"/>
              </c:ext>
            </c:extLst>
          </c:dPt>
          <c:dPt>
            <c:idx val="11"/>
            <c:invertIfNegative val="1"/>
            <c:bubble3D val="0"/>
            <c:spPr>
              <a:solidFill>
                <a:srgbClr val="E6E5E5"/>
              </a:solidFill>
            </c:spPr>
            <c:extLst>
              <c:ext xmlns:c16="http://schemas.microsoft.com/office/drawing/2014/chart" uri="{C3380CC4-5D6E-409C-BE32-E72D297353CC}">
                <c16:uniqueId val="{00000017-E4D7-4CB3-9344-2F66B04EE15D}"/>
              </c:ext>
            </c:extLst>
          </c:dPt>
          <c:dPt>
            <c:idx val="12"/>
            <c:invertIfNegative val="1"/>
            <c:bubble3D val="0"/>
            <c:spPr>
              <a:solidFill>
                <a:srgbClr val="E6E5E5"/>
              </a:solidFill>
            </c:spPr>
            <c:extLst>
              <c:ext xmlns:c16="http://schemas.microsoft.com/office/drawing/2014/chart" uri="{C3380CC4-5D6E-409C-BE32-E72D297353CC}">
                <c16:uniqueId val="{00000019-E4D7-4CB3-9344-2F66B04EE15D}"/>
              </c:ext>
            </c:extLst>
          </c:dPt>
          <c:dPt>
            <c:idx val="13"/>
            <c:invertIfNegative val="1"/>
            <c:bubble3D val="0"/>
            <c:spPr>
              <a:solidFill>
                <a:srgbClr val="E6E5E5"/>
              </a:solidFill>
            </c:spPr>
            <c:extLst>
              <c:ext xmlns:c16="http://schemas.microsoft.com/office/drawing/2014/chart" uri="{C3380CC4-5D6E-409C-BE32-E72D297353CC}">
                <c16:uniqueId val="{0000001B-E4D7-4CB3-9344-2F66B04EE15D}"/>
              </c:ext>
            </c:extLst>
          </c:dPt>
          <c:dPt>
            <c:idx val="14"/>
            <c:invertIfNegative val="1"/>
            <c:bubble3D val="0"/>
            <c:spPr>
              <a:solidFill>
                <a:srgbClr val="E6E5E5"/>
              </a:solidFill>
            </c:spPr>
            <c:extLst>
              <c:ext xmlns:c16="http://schemas.microsoft.com/office/drawing/2014/chart" uri="{C3380CC4-5D6E-409C-BE32-E72D297353CC}">
                <c16:uniqueId val="{0000001D-E4D7-4CB3-9344-2F66B04EE15D}"/>
              </c:ext>
            </c:extLst>
          </c:dPt>
          <c:dPt>
            <c:idx val="15"/>
            <c:invertIfNegative val="1"/>
            <c:bubble3D val="0"/>
            <c:spPr>
              <a:solidFill>
                <a:srgbClr val="E6E5E5"/>
              </a:solidFill>
            </c:spPr>
            <c:extLst>
              <c:ext xmlns:c16="http://schemas.microsoft.com/office/drawing/2014/chart" uri="{C3380CC4-5D6E-409C-BE32-E72D297353CC}">
                <c16:uniqueId val="{0000001F-E4D7-4CB3-9344-2F66B04EE15D}"/>
              </c:ext>
            </c:extLst>
          </c:dPt>
          <c:dLbls>
            <c:numFmt formatCode="0.0%" sourceLinked="0"/>
            <c:spPr>
              <a:noFill/>
              <a:ln>
                <a:noFill/>
              </a:ln>
              <a:effectLst/>
            </c:spPr>
            <c:txPr>
              <a:bodyPr rot="0" spcFirstLastPara="1" vertOverflow="ellipsis" vert="horz" wrap="non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A$2:$A$12</c:f>
              <c:numCache>
                <c:formatCode>General</c:formatCode>
                <c:ptCount val="11"/>
                <c:pt idx="0">
                  <c:v>0</c:v>
                </c:pt>
                <c:pt idx="1">
                  <c:v>1</c:v>
                </c:pt>
                <c:pt idx="2">
                  <c:v>2</c:v>
                </c:pt>
                <c:pt idx="3">
                  <c:v>3</c:v>
                </c:pt>
                <c:pt idx="4">
                  <c:v>4</c:v>
                </c:pt>
                <c:pt idx="5">
                  <c:v>5</c:v>
                </c:pt>
                <c:pt idx="6">
                  <c:v>6</c:v>
                </c:pt>
                <c:pt idx="7">
                  <c:v>7</c:v>
                </c:pt>
                <c:pt idx="8">
                  <c:v>8</c:v>
                </c:pt>
                <c:pt idx="9">
                  <c:v>9</c:v>
                </c:pt>
                <c:pt idx="10">
                  <c:v>10</c:v>
                </c:pt>
              </c:numCache>
            </c:numRef>
          </c:cat>
          <c:val>
            <c:numRef>
              <c:f>Sheet1!$B$2:$B$12</c:f>
              <c:numCache>
                <c:formatCode>General</c:formatCode>
                <c:ptCount val="11"/>
                <c:pt idx="0">
                  <c:v>0.144625596426422</c:v>
                </c:pt>
                <c:pt idx="1">
                  <c:v>7.3709483938171463E-2</c:v>
                </c:pt>
                <c:pt idx="2">
                  <c:v>7.0107128669837274E-2</c:v>
                </c:pt>
                <c:pt idx="3">
                  <c:v>5.5930863438467572E-2</c:v>
                </c:pt>
                <c:pt idx="4">
                  <c:v>4.1193482742225562E-2</c:v>
                </c:pt>
                <c:pt idx="5">
                  <c:v>3.1577164777321309E-2</c:v>
                </c:pt>
                <c:pt idx="6">
                  <c:v>4.8101004071141019E-2</c:v>
                </c:pt>
                <c:pt idx="7">
                  <c:v>3.0212086643940799E-2</c:v>
                </c:pt>
                <c:pt idx="8">
                  <c:v>3.3038799269343028E-2</c:v>
                </c:pt>
                <c:pt idx="9">
                  <c:v>2.5012729873956439E-2</c:v>
                </c:pt>
                <c:pt idx="10">
                  <c:v>2.2428122238729871E-2</c:v>
                </c:pt>
              </c:numCache>
            </c:numRef>
          </c:val>
          <c:extLst>
            <c:ext xmlns:c16="http://schemas.microsoft.com/office/drawing/2014/chart" uri="{C3380CC4-5D6E-409C-BE32-E72D297353CC}">
              <c16:uniqueId val="{00000020-E4D7-4CB3-9344-2F66B04EE15D}"/>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39466813932E-2"/>
          <c:y val="0"/>
          <c:w val="0.96518562554386689"/>
          <c:h val="0.99725383032353521"/>
        </c:manualLayout>
      </c:layout>
      <c:barChart>
        <c:barDir val="bar"/>
        <c:grouping val="clustered"/>
        <c:varyColors val="0"/>
        <c:ser>
          <c:idx val="2"/>
          <c:order val="0"/>
          <c:tx>
            <c:strRef>
              <c:f>Sheet1!$B$1</c:f>
              <c:strCache>
                <c:ptCount val="1"/>
                <c:pt idx="0">
                  <c:v>Hershey's Cookies 'n Creme Block 90g</c:v>
                </c:pt>
              </c:strCache>
            </c:strRef>
          </c:tx>
          <c:spPr>
            <a:solidFill>
              <a:srgbClr val="E6E5E5"/>
            </a:solidFill>
            <a:ln w="9525" cap="flat" cmpd="sng" algn="ctr">
              <a:noFill/>
              <a:round/>
            </a:ln>
            <a:effectLst/>
          </c:spPr>
          <c:invertIfNegative val="0"/>
          <c:dPt>
            <c:idx val="0"/>
            <c:invertIfNegative val="1"/>
            <c:bubble3D val="0"/>
            <c:spPr>
              <a:solidFill>
                <a:srgbClr val="E6E5E5"/>
              </a:solidFill>
            </c:spPr>
            <c:extLst>
              <c:ext xmlns:c16="http://schemas.microsoft.com/office/drawing/2014/chart" uri="{C3380CC4-5D6E-409C-BE32-E72D297353CC}">
                <c16:uniqueId val="{00000001-A16F-412C-84B5-C6CF2DB60E7E}"/>
              </c:ext>
            </c:extLst>
          </c:dPt>
          <c:dPt>
            <c:idx val="1"/>
            <c:invertIfNegative val="1"/>
            <c:bubble3D val="0"/>
            <c:spPr>
              <a:solidFill>
                <a:srgbClr val="E6E5E5"/>
              </a:solidFill>
            </c:spPr>
            <c:extLst>
              <c:ext xmlns:c16="http://schemas.microsoft.com/office/drawing/2014/chart" uri="{C3380CC4-5D6E-409C-BE32-E72D297353CC}">
                <c16:uniqueId val="{00000003-A16F-412C-84B5-C6CF2DB60E7E}"/>
              </c:ext>
            </c:extLst>
          </c:dPt>
          <c:dPt>
            <c:idx val="2"/>
            <c:invertIfNegative val="1"/>
            <c:bubble3D val="0"/>
            <c:spPr>
              <a:solidFill>
                <a:srgbClr val="E6E5E5"/>
              </a:solidFill>
            </c:spPr>
            <c:extLst>
              <c:ext xmlns:c16="http://schemas.microsoft.com/office/drawing/2014/chart" uri="{C3380CC4-5D6E-409C-BE32-E72D297353CC}">
                <c16:uniqueId val="{00000005-A16F-412C-84B5-C6CF2DB60E7E}"/>
              </c:ext>
            </c:extLst>
          </c:dPt>
          <c:dPt>
            <c:idx val="3"/>
            <c:invertIfNegative val="1"/>
            <c:bubble3D val="0"/>
            <c:spPr>
              <a:solidFill>
                <a:srgbClr val="E6E5E5"/>
              </a:solidFill>
            </c:spPr>
            <c:extLst>
              <c:ext xmlns:c16="http://schemas.microsoft.com/office/drawing/2014/chart" uri="{C3380CC4-5D6E-409C-BE32-E72D297353CC}">
                <c16:uniqueId val="{00000007-A16F-412C-84B5-C6CF2DB60E7E}"/>
              </c:ext>
            </c:extLst>
          </c:dPt>
          <c:dPt>
            <c:idx val="4"/>
            <c:invertIfNegative val="1"/>
            <c:bubble3D val="0"/>
            <c:spPr>
              <a:solidFill>
                <a:srgbClr val="E6E5E5"/>
              </a:solidFill>
            </c:spPr>
            <c:extLst>
              <c:ext xmlns:c16="http://schemas.microsoft.com/office/drawing/2014/chart" uri="{C3380CC4-5D6E-409C-BE32-E72D297353CC}">
                <c16:uniqueId val="{00000009-A16F-412C-84B5-C6CF2DB60E7E}"/>
              </c:ext>
            </c:extLst>
          </c:dPt>
          <c:dPt>
            <c:idx val="5"/>
            <c:invertIfNegative val="1"/>
            <c:bubble3D val="0"/>
            <c:spPr>
              <a:solidFill>
                <a:srgbClr val="E6E5E5"/>
              </a:solidFill>
            </c:spPr>
            <c:extLst>
              <c:ext xmlns:c16="http://schemas.microsoft.com/office/drawing/2014/chart" uri="{C3380CC4-5D6E-409C-BE32-E72D297353CC}">
                <c16:uniqueId val="{0000000B-A16F-412C-84B5-C6CF2DB60E7E}"/>
              </c:ext>
            </c:extLst>
          </c:dPt>
          <c:dPt>
            <c:idx val="6"/>
            <c:invertIfNegative val="1"/>
            <c:bubble3D val="0"/>
            <c:spPr>
              <a:solidFill>
                <a:srgbClr val="E6E5E5"/>
              </a:solidFill>
            </c:spPr>
            <c:extLst>
              <c:ext xmlns:c16="http://schemas.microsoft.com/office/drawing/2014/chart" uri="{C3380CC4-5D6E-409C-BE32-E72D297353CC}">
                <c16:uniqueId val="{0000000D-A16F-412C-84B5-C6CF2DB60E7E}"/>
              </c:ext>
            </c:extLst>
          </c:dPt>
          <c:dPt>
            <c:idx val="7"/>
            <c:invertIfNegative val="1"/>
            <c:bubble3D val="0"/>
            <c:spPr>
              <a:solidFill>
                <a:srgbClr val="E6E5E5"/>
              </a:solidFill>
            </c:spPr>
            <c:extLst>
              <c:ext xmlns:c16="http://schemas.microsoft.com/office/drawing/2014/chart" uri="{C3380CC4-5D6E-409C-BE32-E72D297353CC}">
                <c16:uniqueId val="{00000000-FE5A-42FB-884A-EEDE11C690F3}"/>
              </c:ext>
            </c:extLst>
          </c:dPt>
          <c:dPt>
            <c:idx val="8"/>
            <c:invertIfNegative val="1"/>
            <c:bubble3D val="0"/>
            <c:spPr>
              <a:solidFill>
                <a:srgbClr val="E6E5E5"/>
              </a:solidFill>
            </c:spPr>
            <c:extLst>
              <c:ext xmlns:c16="http://schemas.microsoft.com/office/drawing/2014/chart" uri="{C3380CC4-5D6E-409C-BE32-E72D297353CC}">
                <c16:uniqueId val="{00000001-FE5A-42FB-884A-EEDE11C690F3}"/>
              </c:ext>
            </c:extLst>
          </c:dPt>
          <c:dPt>
            <c:idx val="9"/>
            <c:invertIfNegative val="1"/>
            <c:bubble3D val="0"/>
            <c:spPr>
              <a:solidFill>
                <a:srgbClr val="E6E5E5"/>
              </a:solidFill>
            </c:spPr>
            <c:extLst>
              <c:ext xmlns:c16="http://schemas.microsoft.com/office/drawing/2014/chart" uri="{C3380CC4-5D6E-409C-BE32-E72D297353CC}">
                <c16:uniqueId val="{00000002-FE5A-42FB-884A-EEDE11C690F3}"/>
              </c:ext>
            </c:extLst>
          </c:dPt>
          <c:dPt>
            <c:idx val="10"/>
            <c:invertIfNegative val="1"/>
            <c:bubble3D val="0"/>
            <c:spPr>
              <a:solidFill>
                <a:srgbClr val="E6E5E5"/>
              </a:solidFill>
            </c:spPr>
            <c:extLst>
              <c:ext xmlns:c16="http://schemas.microsoft.com/office/drawing/2014/chart" uri="{C3380CC4-5D6E-409C-BE32-E72D297353CC}">
                <c16:uniqueId val="{00000003-FE5A-42FB-884A-EEDE11C690F3}"/>
              </c:ext>
            </c:extLst>
          </c:dPt>
          <c:dLbls>
            <c:numFmt formatCode="0.0%" sourceLinked="0"/>
            <c:spPr>
              <a:noFill/>
              <a:ln>
                <a:noFill/>
              </a:ln>
              <a:effectLst/>
            </c:spPr>
            <c:txPr>
              <a:bodyPr rot="0" spcFirstLastPara="1" vertOverflow="ellipsis" vert="horz" wrap="non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A$2:$A$12</c:f>
              <c:numCache>
                <c:formatCode>General</c:formatCode>
                <c:ptCount val="11"/>
                <c:pt idx="0">
                  <c:v>0</c:v>
                </c:pt>
                <c:pt idx="1">
                  <c:v>1</c:v>
                </c:pt>
                <c:pt idx="2">
                  <c:v>2</c:v>
                </c:pt>
                <c:pt idx="3">
                  <c:v>3</c:v>
                </c:pt>
                <c:pt idx="4">
                  <c:v>4</c:v>
                </c:pt>
                <c:pt idx="5">
                  <c:v>5</c:v>
                </c:pt>
                <c:pt idx="6">
                  <c:v>6</c:v>
                </c:pt>
                <c:pt idx="7">
                  <c:v>7</c:v>
                </c:pt>
                <c:pt idx="8">
                  <c:v>8</c:v>
                </c:pt>
                <c:pt idx="9">
                  <c:v>9</c:v>
                </c:pt>
                <c:pt idx="10">
                  <c:v>10</c:v>
                </c:pt>
              </c:numCache>
            </c:numRef>
          </c:cat>
          <c:val>
            <c:numRef>
              <c:f>Sheet1!$B$2:$B$12</c:f>
              <c:numCache>
                <c:formatCode>General</c:formatCode>
                <c:ptCount val="11"/>
                <c:pt idx="0">
                  <c:v>8.3680830643657791E-2</c:v>
                </c:pt>
                <c:pt idx="1">
                  <c:v>8.4832717379492509E-2</c:v>
                </c:pt>
                <c:pt idx="2">
                  <c:v>6.972508654231116E-2</c:v>
                </c:pt>
                <c:pt idx="3">
                  <c:v>7.265896809008994E-2</c:v>
                </c:pt>
                <c:pt idx="4">
                  <c:v>2.6867333324909211E-2</c:v>
                </c:pt>
                <c:pt idx="5">
                  <c:v>3.2846571323964111E-2</c:v>
                </c:pt>
                <c:pt idx="6">
                  <c:v>2.9692361061533581E-2</c:v>
                </c:pt>
                <c:pt idx="7">
                  <c:v>2.4673524627930769E-2</c:v>
                </c:pt>
                <c:pt idx="8">
                  <c:v>2.4801210223196219E-2</c:v>
                </c:pt>
                <c:pt idx="9">
                  <c:v>1.6946024595636509E-2</c:v>
                </c:pt>
                <c:pt idx="10">
                  <c:v>1.974433097199577E-2</c:v>
                </c:pt>
              </c:numCache>
            </c:numRef>
          </c:val>
          <c:extLst>
            <c:ext xmlns:c16="http://schemas.microsoft.com/office/drawing/2014/chart" uri="{C3380CC4-5D6E-409C-BE32-E72D297353CC}">
              <c16:uniqueId val="{00000004-FE5A-42FB-884A-EEDE11C690F3}"/>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39466813932E-2"/>
          <c:y val="0"/>
          <c:w val="0.96518562554386689"/>
          <c:h val="1"/>
        </c:manualLayout>
      </c:layout>
      <c:barChart>
        <c:barDir val="bar"/>
        <c:grouping val="clustered"/>
        <c:varyColors val="0"/>
        <c:ser>
          <c:idx val="2"/>
          <c:order val="0"/>
          <c:tx>
            <c:strRef>
              <c:f>Sheet1!$B$1</c:f>
              <c:strCache>
                <c:ptCount val="1"/>
                <c:pt idx="0">
                  <c:v>Hershey's Cookies 'n Creme Creations Salted Caramel 38g</c:v>
                </c:pt>
              </c:strCache>
            </c:strRef>
          </c:tx>
          <c:spPr>
            <a:solidFill>
              <a:srgbClr val="E6E5E5">
                <a:lumMod val="90000"/>
              </a:srgbClr>
            </a:solidFill>
            <a:ln w="9525" cap="flat" cmpd="sng" algn="ctr">
              <a:noFill/>
              <a:round/>
            </a:ln>
            <a:effectLst/>
          </c:spPr>
          <c:invertIfNegative val="0"/>
          <c:dPt>
            <c:idx val="0"/>
            <c:invertIfNegative val="1"/>
            <c:bubble3D val="0"/>
            <c:spPr>
              <a:solidFill>
                <a:srgbClr val="E6E5E5"/>
              </a:solidFill>
            </c:spPr>
            <c:extLst>
              <c:ext xmlns:c16="http://schemas.microsoft.com/office/drawing/2014/chart" uri="{C3380CC4-5D6E-409C-BE32-E72D297353CC}">
                <c16:uniqueId val="{00000001-4521-49DF-A3AD-01B14FDCFE2C}"/>
              </c:ext>
            </c:extLst>
          </c:dPt>
          <c:dPt>
            <c:idx val="1"/>
            <c:invertIfNegative val="1"/>
            <c:bubble3D val="0"/>
            <c:spPr>
              <a:solidFill>
                <a:srgbClr val="E6E5E5"/>
              </a:solidFill>
            </c:spPr>
            <c:extLst>
              <c:ext xmlns:c16="http://schemas.microsoft.com/office/drawing/2014/chart" uri="{C3380CC4-5D6E-409C-BE32-E72D297353CC}">
                <c16:uniqueId val="{00000003-4521-49DF-A3AD-01B14FDCFE2C}"/>
              </c:ext>
            </c:extLst>
          </c:dPt>
          <c:dPt>
            <c:idx val="2"/>
            <c:invertIfNegative val="1"/>
            <c:bubble3D val="0"/>
            <c:spPr>
              <a:solidFill>
                <a:srgbClr val="E6E5E5"/>
              </a:solidFill>
            </c:spPr>
            <c:extLst>
              <c:ext xmlns:c16="http://schemas.microsoft.com/office/drawing/2014/chart" uri="{C3380CC4-5D6E-409C-BE32-E72D297353CC}">
                <c16:uniqueId val="{00000005-4521-49DF-A3AD-01B14FDCFE2C}"/>
              </c:ext>
            </c:extLst>
          </c:dPt>
          <c:dPt>
            <c:idx val="3"/>
            <c:invertIfNegative val="1"/>
            <c:bubble3D val="0"/>
            <c:spPr>
              <a:solidFill>
                <a:srgbClr val="E6E5E5"/>
              </a:solidFill>
            </c:spPr>
            <c:extLst>
              <c:ext xmlns:c16="http://schemas.microsoft.com/office/drawing/2014/chart" uri="{C3380CC4-5D6E-409C-BE32-E72D297353CC}">
                <c16:uniqueId val="{00000007-4521-49DF-A3AD-01B14FDCFE2C}"/>
              </c:ext>
            </c:extLst>
          </c:dPt>
          <c:dPt>
            <c:idx val="4"/>
            <c:invertIfNegative val="1"/>
            <c:bubble3D val="0"/>
            <c:spPr>
              <a:solidFill>
                <a:srgbClr val="E6E5E5"/>
              </a:solidFill>
            </c:spPr>
            <c:extLst>
              <c:ext xmlns:c16="http://schemas.microsoft.com/office/drawing/2014/chart" uri="{C3380CC4-5D6E-409C-BE32-E72D297353CC}">
                <c16:uniqueId val="{00000009-4521-49DF-A3AD-01B14FDCFE2C}"/>
              </c:ext>
            </c:extLst>
          </c:dPt>
          <c:dPt>
            <c:idx val="5"/>
            <c:invertIfNegative val="1"/>
            <c:bubble3D val="0"/>
            <c:spPr>
              <a:solidFill>
                <a:srgbClr val="E6E5E5"/>
              </a:solidFill>
            </c:spPr>
            <c:extLst>
              <c:ext xmlns:c16="http://schemas.microsoft.com/office/drawing/2014/chart" uri="{C3380CC4-5D6E-409C-BE32-E72D297353CC}">
                <c16:uniqueId val="{0000000B-4521-49DF-A3AD-01B14FDCFE2C}"/>
              </c:ext>
            </c:extLst>
          </c:dPt>
          <c:dPt>
            <c:idx val="6"/>
            <c:invertIfNegative val="1"/>
            <c:bubble3D val="0"/>
            <c:spPr>
              <a:solidFill>
                <a:srgbClr val="E6E5E5"/>
              </a:solidFill>
            </c:spPr>
            <c:extLst>
              <c:ext xmlns:c16="http://schemas.microsoft.com/office/drawing/2014/chart" uri="{C3380CC4-5D6E-409C-BE32-E72D297353CC}">
                <c16:uniqueId val="{0000000D-4521-49DF-A3AD-01B14FDCFE2C}"/>
              </c:ext>
            </c:extLst>
          </c:dPt>
          <c:dPt>
            <c:idx val="7"/>
            <c:invertIfNegative val="1"/>
            <c:bubble3D val="0"/>
            <c:spPr>
              <a:solidFill>
                <a:srgbClr val="E6E5E5"/>
              </a:solidFill>
            </c:spPr>
            <c:extLst>
              <c:ext xmlns:c16="http://schemas.microsoft.com/office/drawing/2014/chart" uri="{C3380CC4-5D6E-409C-BE32-E72D297353CC}">
                <c16:uniqueId val="{00000000-46AD-4608-B607-5E413AFB740D}"/>
              </c:ext>
            </c:extLst>
          </c:dPt>
          <c:dPt>
            <c:idx val="8"/>
            <c:invertIfNegative val="1"/>
            <c:bubble3D val="0"/>
            <c:spPr>
              <a:solidFill>
                <a:srgbClr val="E6E5E5"/>
              </a:solidFill>
            </c:spPr>
            <c:extLst>
              <c:ext xmlns:c16="http://schemas.microsoft.com/office/drawing/2014/chart" uri="{C3380CC4-5D6E-409C-BE32-E72D297353CC}">
                <c16:uniqueId val="{00000001-46AD-4608-B607-5E413AFB740D}"/>
              </c:ext>
            </c:extLst>
          </c:dPt>
          <c:dPt>
            <c:idx val="9"/>
            <c:invertIfNegative val="1"/>
            <c:bubble3D val="0"/>
            <c:spPr>
              <a:solidFill>
                <a:srgbClr val="E6E5E5"/>
              </a:solidFill>
            </c:spPr>
            <c:extLst>
              <c:ext xmlns:c16="http://schemas.microsoft.com/office/drawing/2014/chart" uri="{C3380CC4-5D6E-409C-BE32-E72D297353CC}">
                <c16:uniqueId val="{00000002-46AD-4608-B607-5E413AFB740D}"/>
              </c:ext>
            </c:extLst>
          </c:dPt>
          <c:dPt>
            <c:idx val="10"/>
            <c:invertIfNegative val="1"/>
            <c:bubble3D val="0"/>
            <c:spPr>
              <a:solidFill>
                <a:srgbClr val="E6E5E5"/>
              </a:solidFill>
            </c:spPr>
            <c:extLst>
              <c:ext xmlns:c16="http://schemas.microsoft.com/office/drawing/2014/chart" uri="{C3380CC4-5D6E-409C-BE32-E72D297353CC}">
                <c16:uniqueId val="{00000003-46AD-4608-B607-5E413AFB740D}"/>
              </c:ext>
            </c:extLst>
          </c:dPt>
          <c:dPt>
            <c:idx val="11"/>
            <c:invertIfNegative val="1"/>
            <c:bubble3D val="0"/>
            <c:spPr>
              <a:solidFill>
                <a:srgbClr val="E6E5E5"/>
              </a:solidFill>
            </c:spPr>
            <c:extLst>
              <c:ext xmlns:c16="http://schemas.microsoft.com/office/drawing/2014/chart" uri="{C3380CC4-5D6E-409C-BE32-E72D297353CC}">
                <c16:uniqueId val="{00000017-4521-49DF-A3AD-01B14FDCFE2C}"/>
              </c:ext>
            </c:extLst>
          </c:dPt>
          <c:dPt>
            <c:idx val="12"/>
            <c:invertIfNegative val="1"/>
            <c:bubble3D val="0"/>
            <c:spPr>
              <a:solidFill>
                <a:srgbClr val="E6E5E5"/>
              </a:solidFill>
            </c:spPr>
            <c:extLst>
              <c:ext xmlns:c16="http://schemas.microsoft.com/office/drawing/2014/chart" uri="{C3380CC4-5D6E-409C-BE32-E72D297353CC}">
                <c16:uniqueId val="{00000019-4521-49DF-A3AD-01B14FDCFE2C}"/>
              </c:ext>
            </c:extLst>
          </c:dPt>
          <c:dPt>
            <c:idx val="13"/>
            <c:invertIfNegative val="1"/>
            <c:bubble3D val="0"/>
            <c:spPr>
              <a:solidFill>
                <a:srgbClr val="E6E5E5"/>
              </a:solidFill>
            </c:spPr>
            <c:extLst>
              <c:ext xmlns:c16="http://schemas.microsoft.com/office/drawing/2014/chart" uri="{C3380CC4-5D6E-409C-BE32-E72D297353CC}">
                <c16:uniqueId val="{0000001B-4521-49DF-A3AD-01B14FDCFE2C}"/>
              </c:ext>
            </c:extLst>
          </c:dPt>
          <c:dPt>
            <c:idx val="14"/>
            <c:invertIfNegative val="1"/>
            <c:bubble3D val="0"/>
            <c:spPr>
              <a:solidFill>
                <a:srgbClr val="E6E5E5"/>
              </a:solidFill>
            </c:spPr>
            <c:extLst>
              <c:ext xmlns:c16="http://schemas.microsoft.com/office/drawing/2014/chart" uri="{C3380CC4-5D6E-409C-BE32-E72D297353CC}">
                <c16:uniqueId val="{0000001D-4521-49DF-A3AD-01B14FDCFE2C}"/>
              </c:ext>
            </c:extLst>
          </c:dPt>
          <c:dPt>
            <c:idx val="15"/>
            <c:invertIfNegative val="1"/>
            <c:bubble3D val="0"/>
            <c:spPr>
              <a:solidFill>
                <a:srgbClr val="E6E5E5"/>
              </a:solidFill>
            </c:spPr>
            <c:extLst>
              <c:ext xmlns:c16="http://schemas.microsoft.com/office/drawing/2014/chart" uri="{C3380CC4-5D6E-409C-BE32-E72D297353CC}">
                <c16:uniqueId val="{0000001F-4521-49DF-A3AD-01B14FDCFE2C}"/>
              </c:ext>
            </c:extLst>
          </c:dPt>
          <c:dLbls>
            <c:numFmt formatCode="0.0%" sourceLinked="0"/>
            <c:spPr>
              <a:noFill/>
              <a:ln>
                <a:noFill/>
              </a:ln>
              <a:effectLst/>
            </c:spPr>
            <c:txPr>
              <a:bodyPr rot="0" spcFirstLastPara="1" vertOverflow="ellipsis" vert="horz" wrap="non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A$2:$A$12</c:f>
              <c:numCache>
                <c:formatCode>General</c:formatCode>
                <c:ptCount val="11"/>
                <c:pt idx="0">
                  <c:v>0</c:v>
                </c:pt>
                <c:pt idx="1">
                  <c:v>1</c:v>
                </c:pt>
                <c:pt idx="2">
                  <c:v>2</c:v>
                </c:pt>
                <c:pt idx="3">
                  <c:v>3</c:v>
                </c:pt>
                <c:pt idx="4">
                  <c:v>4</c:v>
                </c:pt>
                <c:pt idx="5">
                  <c:v>5</c:v>
                </c:pt>
                <c:pt idx="6">
                  <c:v>6</c:v>
                </c:pt>
                <c:pt idx="7">
                  <c:v>7</c:v>
                </c:pt>
                <c:pt idx="8">
                  <c:v>8</c:v>
                </c:pt>
                <c:pt idx="9">
                  <c:v>9</c:v>
                </c:pt>
                <c:pt idx="10">
                  <c:v>10</c:v>
                </c:pt>
              </c:numCache>
            </c:numRef>
          </c:cat>
          <c:val>
            <c:numRef>
              <c:f>Sheet1!$B$2:$B$12</c:f>
              <c:numCache>
                <c:formatCode>General</c:formatCode>
                <c:ptCount val="11"/>
                <c:pt idx="0">
                  <c:v>5.0447854226814207E-2</c:v>
                </c:pt>
                <c:pt idx="1">
                  <c:v>7.9671669867510259E-2</c:v>
                </c:pt>
                <c:pt idx="2">
                  <c:v>9.5243035433779294E-2</c:v>
                </c:pt>
                <c:pt idx="3">
                  <c:v>4.6930023952282761E-2</c:v>
                </c:pt>
                <c:pt idx="4">
                  <c:v>5.3986451383998227E-2</c:v>
                </c:pt>
                <c:pt idx="5">
                  <c:v>3.9307564557694179E-2</c:v>
                </c:pt>
                <c:pt idx="6">
                  <c:v>1.564990410618107E-2</c:v>
                </c:pt>
                <c:pt idx="7">
                  <c:v>3.8296802999407388E-2</c:v>
                </c:pt>
                <c:pt idx="8">
                  <c:v>1.260545269416481E-2</c:v>
                </c:pt>
                <c:pt idx="9">
                  <c:v>2.5391227092504961E-2</c:v>
                </c:pt>
                <c:pt idx="10">
                  <c:v>1.8423164832667101E-2</c:v>
                </c:pt>
              </c:numCache>
            </c:numRef>
          </c:val>
          <c:extLst>
            <c:ext xmlns:c16="http://schemas.microsoft.com/office/drawing/2014/chart" uri="{C3380CC4-5D6E-409C-BE32-E72D297353CC}">
              <c16:uniqueId val="{00000004-46AD-4608-B607-5E413AFB740D}"/>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478263789278E-2"/>
          <c:y val="0"/>
          <c:w val="0.96518562554386689"/>
          <c:h val="1"/>
        </c:manualLayout>
      </c:layout>
      <c:barChart>
        <c:barDir val="bar"/>
        <c:grouping val="clustered"/>
        <c:varyColors val="0"/>
        <c:ser>
          <c:idx val="2"/>
          <c:order val="0"/>
          <c:tx>
            <c:strRef>
              <c:f>Sheet1!$B$1</c:f>
              <c:strCache>
                <c:ptCount val="1"/>
                <c:pt idx="0">
                  <c:v>Hershey's Cookies 'n Creme 40Gx 4</c:v>
                </c:pt>
              </c:strCache>
            </c:strRef>
          </c:tx>
          <c:spPr>
            <a:solidFill>
              <a:srgbClr val="E6E5E5"/>
            </a:solidFill>
            <a:ln w="9525" cap="flat" cmpd="sng" algn="ctr">
              <a:noFill/>
              <a:round/>
            </a:ln>
            <a:effectLst/>
          </c:spPr>
          <c:invertIfNegative val="0"/>
          <c:dPt>
            <c:idx val="0"/>
            <c:invertIfNegative val="1"/>
            <c:bubble3D val="0"/>
            <c:spPr>
              <a:solidFill>
                <a:srgbClr val="E6E5E5"/>
              </a:solidFill>
            </c:spPr>
            <c:extLst>
              <c:ext xmlns:c16="http://schemas.microsoft.com/office/drawing/2014/chart" uri="{C3380CC4-5D6E-409C-BE32-E72D297353CC}">
                <c16:uniqueId val="{00000001-4CF6-426D-AECF-CFB74E12454F}"/>
              </c:ext>
            </c:extLst>
          </c:dPt>
          <c:dPt>
            <c:idx val="1"/>
            <c:invertIfNegative val="1"/>
            <c:bubble3D val="0"/>
            <c:spPr>
              <a:solidFill>
                <a:srgbClr val="E6E5E5"/>
              </a:solidFill>
            </c:spPr>
            <c:extLst>
              <c:ext xmlns:c16="http://schemas.microsoft.com/office/drawing/2014/chart" uri="{C3380CC4-5D6E-409C-BE32-E72D297353CC}">
                <c16:uniqueId val="{00000003-4CF6-426D-AECF-CFB74E12454F}"/>
              </c:ext>
            </c:extLst>
          </c:dPt>
          <c:dPt>
            <c:idx val="2"/>
            <c:invertIfNegative val="1"/>
            <c:bubble3D val="0"/>
            <c:spPr>
              <a:solidFill>
                <a:srgbClr val="E6E5E5"/>
              </a:solidFill>
            </c:spPr>
            <c:extLst>
              <c:ext xmlns:c16="http://schemas.microsoft.com/office/drawing/2014/chart" uri="{C3380CC4-5D6E-409C-BE32-E72D297353CC}">
                <c16:uniqueId val="{00000005-4CF6-426D-AECF-CFB74E12454F}"/>
              </c:ext>
            </c:extLst>
          </c:dPt>
          <c:dPt>
            <c:idx val="3"/>
            <c:invertIfNegative val="1"/>
            <c:bubble3D val="0"/>
            <c:spPr>
              <a:solidFill>
                <a:srgbClr val="E6E5E5"/>
              </a:solidFill>
            </c:spPr>
            <c:extLst>
              <c:ext xmlns:c16="http://schemas.microsoft.com/office/drawing/2014/chart" uri="{C3380CC4-5D6E-409C-BE32-E72D297353CC}">
                <c16:uniqueId val="{00000007-4CF6-426D-AECF-CFB74E12454F}"/>
              </c:ext>
            </c:extLst>
          </c:dPt>
          <c:dPt>
            <c:idx val="4"/>
            <c:invertIfNegative val="1"/>
            <c:bubble3D val="0"/>
            <c:spPr>
              <a:solidFill>
                <a:srgbClr val="E6E5E5"/>
              </a:solidFill>
            </c:spPr>
            <c:extLst>
              <c:ext xmlns:c16="http://schemas.microsoft.com/office/drawing/2014/chart" uri="{C3380CC4-5D6E-409C-BE32-E72D297353CC}">
                <c16:uniqueId val="{00000009-4CF6-426D-AECF-CFB74E12454F}"/>
              </c:ext>
            </c:extLst>
          </c:dPt>
          <c:dPt>
            <c:idx val="5"/>
            <c:invertIfNegative val="1"/>
            <c:bubble3D val="0"/>
            <c:spPr>
              <a:solidFill>
                <a:srgbClr val="E6E5E5"/>
              </a:solidFill>
            </c:spPr>
            <c:extLst>
              <c:ext xmlns:c16="http://schemas.microsoft.com/office/drawing/2014/chart" uri="{C3380CC4-5D6E-409C-BE32-E72D297353CC}">
                <c16:uniqueId val="{0000000B-4CF6-426D-AECF-CFB74E12454F}"/>
              </c:ext>
            </c:extLst>
          </c:dPt>
          <c:dPt>
            <c:idx val="6"/>
            <c:invertIfNegative val="1"/>
            <c:bubble3D val="0"/>
            <c:spPr>
              <a:solidFill>
                <a:srgbClr val="E6E5E5"/>
              </a:solidFill>
            </c:spPr>
            <c:extLst>
              <c:ext xmlns:c16="http://schemas.microsoft.com/office/drawing/2014/chart" uri="{C3380CC4-5D6E-409C-BE32-E72D297353CC}">
                <c16:uniqueId val="{0000000D-4CF6-426D-AECF-CFB74E12454F}"/>
              </c:ext>
            </c:extLst>
          </c:dPt>
          <c:dPt>
            <c:idx val="7"/>
            <c:invertIfNegative val="1"/>
            <c:bubble3D val="0"/>
            <c:spPr>
              <a:solidFill>
                <a:srgbClr val="E6E5E5"/>
              </a:solidFill>
            </c:spPr>
            <c:extLst>
              <c:ext xmlns:c16="http://schemas.microsoft.com/office/drawing/2014/chart" uri="{C3380CC4-5D6E-409C-BE32-E72D297353CC}">
                <c16:uniqueId val="{00000000-2DEF-4275-BB7F-2A2402E29FCF}"/>
              </c:ext>
            </c:extLst>
          </c:dPt>
          <c:dPt>
            <c:idx val="8"/>
            <c:invertIfNegative val="1"/>
            <c:bubble3D val="0"/>
            <c:spPr>
              <a:solidFill>
                <a:srgbClr val="E6E5E5"/>
              </a:solidFill>
            </c:spPr>
            <c:extLst>
              <c:ext xmlns:c16="http://schemas.microsoft.com/office/drawing/2014/chart" uri="{C3380CC4-5D6E-409C-BE32-E72D297353CC}">
                <c16:uniqueId val="{00000001-2DEF-4275-BB7F-2A2402E29FCF}"/>
              </c:ext>
            </c:extLst>
          </c:dPt>
          <c:dPt>
            <c:idx val="9"/>
            <c:invertIfNegative val="1"/>
            <c:bubble3D val="0"/>
            <c:spPr>
              <a:solidFill>
                <a:srgbClr val="E6E5E5"/>
              </a:solidFill>
            </c:spPr>
            <c:extLst>
              <c:ext xmlns:c16="http://schemas.microsoft.com/office/drawing/2014/chart" uri="{C3380CC4-5D6E-409C-BE32-E72D297353CC}">
                <c16:uniqueId val="{00000002-2DEF-4275-BB7F-2A2402E29FCF}"/>
              </c:ext>
            </c:extLst>
          </c:dPt>
          <c:dPt>
            <c:idx val="10"/>
            <c:invertIfNegative val="1"/>
            <c:bubble3D val="0"/>
            <c:spPr>
              <a:solidFill>
                <a:srgbClr val="E6E5E5"/>
              </a:solidFill>
            </c:spPr>
            <c:extLst>
              <c:ext xmlns:c16="http://schemas.microsoft.com/office/drawing/2014/chart" uri="{C3380CC4-5D6E-409C-BE32-E72D297353CC}">
                <c16:uniqueId val="{00000003-2DEF-4275-BB7F-2A2402E29FCF}"/>
              </c:ext>
            </c:extLst>
          </c:dPt>
          <c:dPt>
            <c:idx val="11"/>
            <c:invertIfNegative val="1"/>
            <c:bubble3D val="0"/>
            <c:spPr>
              <a:solidFill>
                <a:srgbClr val="E6E5E5"/>
              </a:solidFill>
            </c:spPr>
            <c:extLst>
              <c:ext xmlns:c16="http://schemas.microsoft.com/office/drawing/2014/chart" uri="{C3380CC4-5D6E-409C-BE32-E72D297353CC}">
                <c16:uniqueId val="{00000017-4CF6-426D-AECF-CFB74E12454F}"/>
              </c:ext>
            </c:extLst>
          </c:dPt>
          <c:dPt>
            <c:idx val="12"/>
            <c:invertIfNegative val="1"/>
            <c:bubble3D val="0"/>
            <c:spPr>
              <a:solidFill>
                <a:srgbClr val="E6E5E5"/>
              </a:solidFill>
            </c:spPr>
            <c:extLst>
              <c:ext xmlns:c16="http://schemas.microsoft.com/office/drawing/2014/chart" uri="{C3380CC4-5D6E-409C-BE32-E72D297353CC}">
                <c16:uniqueId val="{00000019-4CF6-426D-AECF-CFB74E12454F}"/>
              </c:ext>
            </c:extLst>
          </c:dPt>
          <c:dPt>
            <c:idx val="13"/>
            <c:invertIfNegative val="1"/>
            <c:bubble3D val="0"/>
            <c:spPr>
              <a:solidFill>
                <a:srgbClr val="E6E5E5"/>
              </a:solidFill>
            </c:spPr>
            <c:extLst>
              <c:ext xmlns:c16="http://schemas.microsoft.com/office/drawing/2014/chart" uri="{C3380CC4-5D6E-409C-BE32-E72D297353CC}">
                <c16:uniqueId val="{0000001B-4CF6-426D-AECF-CFB74E12454F}"/>
              </c:ext>
            </c:extLst>
          </c:dPt>
          <c:dPt>
            <c:idx val="14"/>
            <c:invertIfNegative val="1"/>
            <c:bubble3D val="0"/>
            <c:spPr>
              <a:solidFill>
                <a:srgbClr val="E6E5E5"/>
              </a:solidFill>
            </c:spPr>
            <c:extLst>
              <c:ext xmlns:c16="http://schemas.microsoft.com/office/drawing/2014/chart" uri="{C3380CC4-5D6E-409C-BE32-E72D297353CC}">
                <c16:uniqueId val="{0000001D-4CF6-426D-AECF-CFB74E12454F}"/>
              </c:ext>
            </c:extLst>
          </c:dPt>
          <c:dPt>
            <c:idx val="15"/>
            <c:invertIfNegative val="1"/>
            <c:bubble3D val="0"/>
            <c:spPr>
              <a:solidFill>
                <a:srgbClr val="E6E5E5"/>
              </a:solidFill>
            </c:spPr>
            <c:extLst>
              <c:ext xmlns:c16="http://schemas.microsoft.com/office/drawing/2014/chart" uri="{C3380CC4-5D6E-409C-BE32-E72D297353CC}">
                <c16:uniqueId val="{0000001F-4CF6-426D-AECF-CFB74E12454F}"/>
              </c:ext>
            </c:extLst>
          </c:dPt>
          <c:dLbls>
            <c:numFmt formatCode="0.0%" sourceLinked="0"/>
            <c:spPr>
              <a:noFill/>
              <a:ln>
                <a:noFill/>
              </a:ln>
              <a:effectLst/>
            </c:spPr>
            <c:txPr>
              <a:bodyPr rot="0" spcFirstLastPara="1" vertOverflow="ellipsis" vert="horz" wrap="non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A$2:$A$12</c:f>
              <c:numCache>
                <c:formatCode>General</c:formatCode>
                <c:ptCount val="11"/>
                <c:pt idx="0">
                  <c:v>0</c:v>
                </c:pt>
                <c:pt idx="1">
                  <c:v>1</c:v>
                </c:pt>
                <c:pt idx="2">
                  <c:v>2</c:v>
                </c:pt>
                <c:pt idx="3">
                  <c:v>3</c:v>
                </c:pt>
                <c:pt idx="4">
                  <c:v>4</c:v>
                </c:pt>
                <c:pt idx="5">
                  <c:v>5</c:v>
                </c:pt>
                <c:pt idx="6">
                  <c:v>6</c:v>
                </c:pt>
                <c:pt idx="7">
                  <c:v>7</c:v>
                </c:pt>
                <c:pt idx="8">
                  <c:v>8</c:v>
                </c:pt>
                <c:pt idx="9">
                  <c:v>9</c:v>
                </c:pt>
                <c:pt idx="10">
                  <c:v>10</c:v>
                </c:pt>
              </c:numCache>
            </c:numRef>
          </c:cat>
          <c:val>
            <c:numRef>
              <c:f>Sheet1!$B$2:$B$12</c:f>
              <c:numCache>
                <c:formatCode>General</c:formatCode>
                <c:ptCount val="11"/>
                <c:pt idx="0">
                  <c:v>0.144625596426422</c:v>
                </c:pt>
                <c:pt idx="1">
                  <c:v>7.3709483938171463E-2</c:v>
                </c:pt>
                <c:pt idx="2">
                  <c:v>7.0107128669837274E-2</c:v>
                </c:pt>
                <c:pt idx="3">
                  <c:v>5.5930863438467572E-2</c:v>
                </c:pt>
                <c:pt idx="4">
                  <c:v>4.1193482742225562E-2</c:v>
                </c:pt>
                <c:pt idx="5">
                  <c:v>3.1577164777321309E-2</c:v>
                </c:pt>
                <c:pt idx="6">
                  <c:v>4.8101004071141019E-2</c:v>
                </c:pt>
                <c:pt idx="7">
                  <c:v>3.0212086643940799E-2</c:v>
                </c:pt>
                <c:pt idx="8">
                  <c:v>3.3038799269343028E-2</c:v>
                </c:pt>
                <c:pt idx="9">
                  <c:v>2.5012729873956439E-2</c:v>
                </c:pt>
                <c:pt idx="10">
                  <c:v>2.2428122238729871E-2</c:v>
                </c:pt>
              </c:numCache>
            </c:numRef>
          </c:val>
          <c:extLst>
            <c:ext xmlns:c16="http://schemas.microsoft.com/office/drawing/2014/chart" uri="{C3380CC4-5D6E-409C-BE32-E72D297353CC}">
              <c16:uniqueId val="{00000004-2DEF-4275-BB7F-2A2402E29FCF}"/>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478263789278E-2"/>
          <c:y val="0"/>
          <c:w val="0.96518562554386689"/>
          <c:h val="1"/>
        </c:manualLayout>
      </c:layout>
      <c:barChart>
        <c:barDir val="bar"/>
        <c:grouping val="clustered"/>
        <c:varyColors val="0"/>
        <c:ser>
          <c:idx val="2"/>
          <c:order val="0"/>
          <c:tx>
            <c:strRef>
              <c:f>Sheet1!$B$1</c:f>
              <c:strCache>
                <c:ptCount val="1"/>
                <c:pt idx="0">
                  <c:v>Hershey's Cookies 'n Creme 40Gx 4</c:v>
                </c:pt>
              </c:strCache>
            </c:strRef>
          </c:tx>
          <c:spPr>
            <a:solidFill>
              <a:srgbClr val="E6E5E5"/>
            </a:solidFill>
            <a:ln w="9525" cap="flat" cmpd="sng" algn="ctr">
              <a:noFill/>
              <a:round/>
            </a:ln>
            <a:effectLst/>
          </c:spPr>
          <c:invertIfNegative val="0"/>
          <c:dPt>
            <c:idx val="0"/>
            <c:invertIfNegative val="1"/>
            <c:bubble3D val="0"/>
            <c:spPr>
              <a:solidFill>
                <a:srgbClr val="E6E5E5"/>
              </a:solidFill>
            </c:spPr>
            <c:extLst>
              <c:ext xmlns:c16="http://schemas.microsoft.com/office/drawing/2014/chart" uri="{C3380CC4-5D6E-409C-BE32-E72D297353CC}">
                <c16:uniqueId val="{00000001-E4D7-4CB3-9344-2F66B04EE15D}"/>
              </c:ext>
            </c:extLst>
          </c:dPt>
          <c:dPt>
            <c:idx val="1"/>
            <c:invertIfNegative val="1"/>
            <c:bubble3D val="0"/>
            <c:spPr>
              <a:solidFill>
                <a:srgbClr val="E6E5E5"/>
              </a:solidFill>
            </c:spPr>
            <c:extLst>
              <c:ext xmlns:c16="http://schemas.microsoft.com/office/drawing/2014/chart" uri="{C3380CC4-5D6E-409C-BE32-E72D297353CC}">
                <c16:uniqueId val="{00000003-E4D7-4CB3-9344-2F66B04EE15D}"/>
              </c:ext>
            </c:extLst>
          </c:dPt>
          <c:dPt>
            <c:idx val="2"/>
            <c:invertIfNegative val="1"/>
            <c:bubble3D val="0"/>
            <c:spPr>
              <a:solidFill>
                <a:srgbClr val="E6E5E5"/>
              </a:solidFill>
            </c:spPr>
            <c:extLst>
              <c:ext xmlns:c16="http://schemas.microsoft.com/office/drawing/2014/chart" uri="{C3380CC4-5D6E-409C-BE32-E72D297353CC}">
                <c16:uniqueId val="{00000005-E4D7-4CB3-9344-2F66B04EE15D}"/>
              </c:ext>
            </c:extLst>
          </c:dPt>
          <c:dPt>
            <c:idx val="3"/>
            <c:invertIfNegative val="1"/>
            <c:bubble3D val="0"/>
            <c:spPr>
              <a:solidFill>
                <a:srgbClr val="E6E5E5"/>
              </a:solidFill>
            </c:spPr>
            <c:extLst>
              <c:ext xmlns:c16="http://schemas.microsoft.com/office/drawing/2014/chart" uri="{C3380CC4-5D6E-409C-BE32-E72D297353CC}">
                <c16:uniqueId val="{00000007-E4D7-4CB3-9344-2F66B04EE15D}"/>
              </c:ext>
            </c:extLst>
          </c:dPt>
          <c:dPt>
            <c:idx val="4"/>
            <c:invertIfNegative val="1"/>
            <c:bubble3D val="0"/>
            <c:spPr>
              <a:solidFill>
                <a:srgbClr val="E6E5E5"/>
              </a:solidFill>
            </c:spPr>
            <c:extLst>
              <c:ext xmlns:c16="http://schemas.microsoft.com/office/drawing/2014/chart" uri="{C3380CC4-5D6E-409C-BE32-E72D297353CC}">
                <c16:uniqueId val="{00000009-E4D7-4CB3-9344-2F66B04EE15D}"/>
              </c:ext>
            </c:extLst>
          </c:dPt>
          <c:dPt>
            <c:idx val="5"/>
            <c:invertIfNegative val="1"/>
            <c:bubble3D val="0"/>
            <c:spPr>
              <a:solidFill>
                <a:srgbClr val="E6E5E5"/>
              </a:solidFill>
            </c:spPr>
            <c:extLst>
              <c:ext xmlns:c16="http://schemas.microsoft.com/office/drawing/2014/chart" uri="{C3380CC4-5D6E-409C-BE32-E72D297353CC}">
                <c16:uniqueId val="{0000000B-E4D7-4CB3-9344-2F66B04EE15D}"/>
              </c:ext>
            </c:extLst>
          </c:dPt>
          <c:dPt>
            <c:idx val="6"/>
            <c:invertIfNegative val="1"/>
            <c:bubble3D val="0"/>
            <c:spPr>
              <a:solidFill>
                <a:srgbClr val="E6E5E5"/>
              </a:solidFill>
            </c:spPr>
            <c:extLst>
              <c:ext xmlns:c16="http://schemas.microsoft.com/office/drawing/2014/chart" uri="{C3380CC4-5D6E-409C-BE32-E72D297353CC}">
                <c16:uniqueId val="{0000000D-E4D7-4CB3-9344-2F66B04EE15D}"/>
              </c:ext>
            </c:extLst>
          </c:dPt>
          <c:dPt>
            <c:idx val="7"/>
            <c:invertIfNegative val="1"/>
            <c:bubble3D val="0"/>
            <c:spPr>
              <a:solidFill>
                <a:srgbClr val="E6E5E5"/>
              </a:solidFill>
            </c:spPr>
            <c:extLst>
              <c:ext xmlns:c16="http://schemas.microsoft.com/office/drawing/2014/chart" uri="{C3380CC4-5D6E-409C-BE32-E72D297353CC}">
                <c16:uniqueId val="{0000000F-E4D7-4CB3-9344-2F66B04EE15D}"/>
              </c:ext>
            </c:extLst>
          </c:dPt>
          <c:dPt>
            <c:idx val="8"/>
            <c:invertIfNegative val="1"/>
            <c:bubble3D val="0"/>
            <c:spPr>
              <a:solidFill>
                <a:srgbClr val="E6E5E5"/>
              </a:solidFill>
            </c:spPr>
            <c:extLst>
              <c:ext xmlns:c16="http://schemas.microsoft.com/office/drawing/2014/chart" uri="{C3380CC4-5D6E-409C-BE32-E72D297353CC}">
                <c16:uniqueId val="{00000011-E4D7-4CB3-9344-2F66B04EE15D}"/>
              </c:ext>
            </c:extLst>
          </c:dPt>
          <c:dPt>
            <c:idx val="9"/>
            <c:invertIfNegative val="1"/>
            <c:bubble3D val="0"/>
            <c:spPr>
              <a:solidFill>
                <a:srgbClr val="E6E5E5"/>
              </a:solidFill>
            </c:spPr>
            <c:extLst>
              <c:ext xmlns:c16="http://schemas.microsoft.com/office/drawing/2014/chart" uri="{C3380CC4-5D6E-409C-BE32-E72D297353CC}">
                <c16:uniqueId val="{00000013-E4D7-4CB3-9344-2F66B04EE15D}"/>
              </c:ext>
            </c:extLst>
          </c:dPt>
          <c:dPt>
            <c:idx val="10"/>
            <c:invertIfNegative val="1"/>
            <c:bubble3D val="0"/>
            <c:spPr>
              <a:solidFill>
                <a:srgbClr val="E6E5E5"/>
              </a:solidFill>
            </c:spPr>
            <c:extLst>
              <c:ext xmlns:c16="http://schemas.microsoft.com/office/drawing/2014/chart" uri="{C3380CC4-5D6E-409C-BE32-E72D297353CC}">
                <c16:uniqueId val="{00000015-E4D7-4CB3-9344-2F66B04EE15D}"/>
              </c:ext>
            </c:extLst>
          </c:dPt>
          <c:dPt>
            <c:idx val="11"/>
            <c:invertIfNegative val="1"/>
            <c:bubble3D val="0"/>
            <c:spPr>
              <a:solidFill>
                <a:srgbClr val="E6E5E5"/>
              </a:solidFill>
            </c:spPr>
            <c:extLst>
              <c:ext xmlns:c16="http://schemas.microsoft.com/office/drawing/2014/chart" uri="{C3380CC4-5D6E-409C-BE32-E72D297353CC}">
                <c16:uniqueId val="{00000017-E4D7-4CB3-9344-2F66B04EE15D}"/>
              </c:ext>
            </c:extLst>
          </c:dPt>
          <c:dPt>
            <c:idx val="12"/>
            <c:invertIfNegative val="1"/>
            <c:bubble3D val="0"/>
            <c:spPr>
              <a:solidFill>
                <a:srgbClr val="E6E5E5"/>
              </a:solidFill>
            </c:spPr>
            <c:extLst>
              <c:ext xmlns:c16="http://schemas.microsoft.com/office/drawing/2014/chart" uri="{C3380CC4-5D6E-409C-BE32-E72D297353CC}">
                <c16:uniqueId val="{00000019-E4D7-4CB3-9344-2F66B04EE15D}"/>
              </c:ext>
            </c:extLst>
          </c:dPt>
          <c:dPt>
            <c:idx val="13"/>
            <c:invertIfNegative val="1"/>
            <c:bubble3D val="0"/>
            <c:spPr>
              <a:solidFill>
                <a:srgbClr val="E6E5E5"/>
              </a:solidFill>
            </c:spPr>
            <c:extLst>
              <c:ext xmlns:c16="http://schemas.microsoft.com/office/drawing/2014/chart" uri="{C3380CC4-5D6E-409C-BE32-E72D297353CC}">
                <c16:uniqueId val="{0000001B-E4D7-4CB3-9344-2F66B04EE15D}"/>
              </c:ext>
            </c:extLst>
          </c:dPt>
          <c:dPt>
            <c:idx val="14"/>
            <c:invertIfNegative val="1"/>
            <c:bubble3D val="0"/>
            <c:spPr>
              <a:solidFill>
                <a:srgbClr val="E6E5E5"/>
              </a:solidFill>
            </c:spPr>
            <c:extLst>
              <c:ext xmlns:c16="http://schemas.microsoft.com/office/drawing/2014/chart" uri="{C3380CC4-5D6E-409C-BE32-E72D297353CC}">
                <c16:uniqueId val="{0000001D-E4D7-4CB3-9344-2F66B04EE15D}"/>
              </c:ext>
            </c:extLst>
          </c:dPt>
          <c:dPt>
            <c:idx val="15"/>
            <c:invertIfNegative val="1"/>
            <c:bubble3D val="0"/>
            <c:spPr>
              <a:solidFill>
                <a:srgbClr val="E6E5E5"/>
              </a:solidFill>
            </c:spPr>
            <c:extLst>
              <c:ext xmlns:c16="http://schemas.microsoft.com/office/drawing/2014/chart" uri="{C3380CC4-5D6E-409C-BE32-E72D297353CC}">
                <c16:uniqueId val="{0000001F-E4D7-4CB3-9344-2F66B04EE15D}"/>
              </c:ext>
            </c:extLst>
          </c:dPt>
          <c:dLbls>
            <c:numFmt formatCode="0.0%" sourceLinked="0"/>
            <c:spPr>
              <a:noFill/>
              <a:ln>
                <a:noFill/>
              </a:ln>
              <a:effectLst/>
            </c:spPr>
            <c:txPr>
              <a:bodyPr rot="0" spcFirstLastPara="1" vertOverflow="ellipsis" vert="horz" wrap="non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A$2:$A$12</c:f>
              <c:numCache>
                <c:formatCode>General</c:formatCode>
                <c:ptCount val="11"/>
                <c:pt idx="0">
                  <c:v>0</c:v>
                </c:pt>
                <c:pt idx="1">
                  <c:v>1</c:v>
                </c:pt>
                <c:pt idx="2">
                  <c:v>2</c:v>
                </c:pt>
                <c:pt idx="3">
                  <c:v>3</c:v>
                </c:pt>
                <c:pt idx="4">
                  <c:v>4</c:v>
                </c:pt>
                <c:pt idx="5">
                  <c:v>5</c:v>
                </c:pt>
                <c:pt idx="6">
                  <c:v>6</c:v>
                </c:pt>
                <c:pt idx="7">
                  <c:v>7</c:v>
                </c:pt>
                <c:pt idx="8">
                  <c:v>8</c:v>
                </c:pt>
                <c:pt idx="9">
                  <c:v>9</c:v>
                </c:pt>
                <c:pt idx="10">
                  <c:v>10</c:v>
                </c:pt>
              </c:numCache>
            </c:numRef>
          </c:cat>
          <c:val>
            <c:numRef>
              <c:f>Sheet1!$B$2:$B$12</c:f>
              <c:numCache>
                <c:formatCode>General</c:formatCode>
                <c:ptCount val="11"/>
                <c:pt idx="0">
                  <c:v>0.144625596426422</c:v>
                </c:pt>
                <c:pt idx="1">
                  <c:v>7.3709483938171463E-2</c:v>
                </c:pt>
                <c:pt idx="2">
                  <c:v>7.0107128669837274E-2</c:v>
                </c:pt>
                <c:pt idx="3">
                  <c:v>5.5930863438467572E-2</c:v>
                </c:pt>
                <c:pt idx="4">
                  <c:v>4.1193482742225562E-2</c:v>
                </c:pt>
                <c:pt idx="5">
                  <c:v>3.1577164777321309E-2</c:v>
                </c:pt>
                <c:pt idx="6">
                  <c:v>4.8101004071141019E-2</c:v>
                </c:pt>
                <c:pt idx="7">
                  <c:v>3.0212086643940799E-2</c:v>
                </c:pt>
                <c:pt idx="8">
                  <c:v>3.3038799269343028E-2</c:v>
                </c:pt>
                <c:pt idx="9">
                  <c:v>2.5012729873956439E-2</c:v>
                </c:pt>
                <c:pt idx="10">
                  <c:v>2.2428122238729871E-2</c:v>
                </c:pt>
              </c:numCache>
            </c:numRef>
          </c:val>
          <c:extLst>
            <c:ext xmlns:c16="http://schemas.microsoft.com/office/drawing/2014/chart" uri="{C3380CC4-5D6E-409C-BE32-E72D297353CC}">
              <c16:uniqueId val="{00000020-E4D7-4CB3-9344-2F66B04EE15D}"/>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559397831728E-2"/>
          <c:y val="0"/>
          <c:w val="0.96518562554386689"/>
          <c:h val="1"/>
        </c:manualLayout>
      </c:layout>
      <c:barChart>
        <c:barDir val="bar"/>
        <c:grouping val="clustered"/>
        <c:varyColors val="0"/>
        <c:ser>
          <c:idx val="2"/>
          <c:order val="0"/>
          <c:tx>
            <c:strRef>
              <c:f>Sheet1!$B$1</c:f>
              <c:strCache>
                <c:ptCount val="1"/>
                <c:pt idx="0">
                  <c:v>Hershey's Cookies 'n Creme 40Gx 4</c:v>
                </c:pt>
              </c:strCache>
            </c:strRef>
          </c:tx>
          <c:spPr>
            <a:solidFill>
              <a:srgbClr val="E6E5E5"/>
            </a:solidFill>
            <a:ln w="9525" cap="flat" cmpd="sng" algn="ctr">
              <a:noFill/>
              <a:round/>
            </a:ln>
            <a:effectLst/>
          </c:spPr>
          <c:invertIfNegative val="0"/>
          <c:dPt>
            <c:idx val="0"/>
            <c:invertIfNegative val="1"/>
            <c:bubble3D val="0"/>
            <c:spPr>
              <a:solidFill>
                <a:srgbClr val="E6E5E5"/>
              </a:solidFill>
            </c:spPr>
            <c:extLst>
              <c:ext xmlns:c16="http://schemas.microsoft.com/office/drawing/2014/chart" uri="{C3380CC4-5D6E-409C-BE32-E72D297353CC}">
                <c16:uniqueId val="{00000001-000A-4C45-A43A-3AA69B6FEE6F}"/>
              </c:ext>
            </c:extLst>
          </c:dPt>
          <c:dPt>
            <c:idx val="1"/>
            <c:invertIfNegative val="1"/>
            <c:bubble3D val="0"/>
            <c:spPr>
              <a:solidFill>
                <a:srgbClr val="E6E5E5"/>
              </a:solidFill>
            </c:spPr>
            <c:extLst>
              <c:ext xmlns:c16="http://schemas.microsoft.com/office/drawing/2014/chart" uri="{C3380CC4-5D6E-409C-BE32-E72D297353CC}">
                <c16:uniqueId val="{00000003-000A-4C45-A43A-3AA69B6FEE6F}"/>
              </c:ext>
            </c:extLst>
          </c:dPt>
          <c:dPt>
            <c:idx val="2"/>
            <c:invertIfNegative val="1"/>
            <c:bubble3D val="0"/>
            <c:spPr>
              <a:solidFill>
                <a:srgbClr val="E6E5E5"/>
              </a:solidFill>
            </c:spPr>
            <c:extLst>
              <c:ext xmlns:c16="http://schemas.microsoft.com/office/drawing/2014/chart" uri="{C3380CC4-5D6E-409C-BE32-E72D297353CC}">
                <c16:uniqueId val="{00000005-000A-4C45-A43A-3AA69B6FEE6F}"/>
              </c:ext>
            </c:extLst>
          </c:dPt>
          <c:dPt>
            <c:idx val="3"/>
            <c:invertIfNegative val="1"/>
            <c:bubble3D val="0"/>
            <c:spPr>
              <a:solidFill>
                <a:srgbClr val="E6E5E5"/>
              </a:solidFill>
            </c:spPr>
            <c:extLst>
              <c:ext xmlns:c16="http://schemas.microsoft.com/office/drawing/2014/chart" uri="{C3380CC4-5D6E-409C-BE32-E72D297353CC}">
                <c16:uniqueId val="{00000007-000A-4C45-A43A-3AA69B6FEE6F}"/>
              </c:ext>
            </c:extLst>
          </c:dPt>
          <c:dPt>
            <c:idx val="4"/>
            <c:invertIfNegative val="1"/>
            <c:bubble3D val="0"/>
            <c:spPr>
              <a:solidFill>
                <a:srgbClr val="E6E5E5"/>
              </a:solidFill>
            </c:spPr>
            <c:extLst>
              <c:ext xmlns:c16="http://schemas.microsoft.com/office/drawing/2014/chart" uri="{C3380CC4-5D6E-409C-BE32-E72D297353CC}">
                <c16:uniqueId val="{00000009-000A-4C45-A43A-3AA69B6FEE6F}"/>
              </c:ext>
            </c:extLst>
          </c:dPt>
          <c:dPt>
            <c:idx val="5"/>
            <c:invertIfNegative val="1"/>
            <c:bubble3D val="0"/>
            <c:spPr>
              <a:solidFill>
                <a:srgbClr val="E6E5E5"/>
              </a:solidFill>
            </c:spPr>
            <c:extLst>
              <c:ext xmlns:c16="http://schemas.microsoft.com/office/drawing/2014/chart" uri="{C3380CC4-5D6E-409C-BE32-E72D297353CC}">
                <c16:uniqueId val="{0000000B-000A-4C45-A43A-3AA69B6FEE6F}"/>
              </c:ext>
            </c:extLst>
          </c:dPt>
          <c:dPt>
            <c:idx val="6"/>
            <c:invertIfNegative val="1"/>
            <c:bubble3D val="0"/>
            <c:spPr>
              <a:solidFill>
                <a:srgbClr val="E6E5E5"/>
              </a:solidFill>
            </c:spPr>
            <c:extLst>
              <c:ext xmlns:c16="http://schemas.microsoft.com/office/drawing/2014/chart" uri="{C3380CC4-5D6E-409C-BE32-E72D297353CC}">
                <c16:uniqueId val="{0000000D-000A-4C45-A43A-3AA69B6FEE6F}"/>
              </c:ext>
            </c:extLst>
          </c:dPt>
          <c:dPt>
            <c:idx val="7"/>
            <c:invertIfNegative val="1"/>
            <c:bubble3D val="0"/>
            <c:spPr>
              <a:solidFill>
                <a:srgbClr val="E6E5E5"/>
              </a:solidFill>
            </c:spPr>
            <c:extLst>
              <c:ext xmlns:c16="http://schemas.microsoft.com/office/drawing/2014/chart" uri="{C3380CC4-5D6E-409C-BE32-E72D297353CC}">
                <c16:uniqueId val="{0000000F-000A-4C45-A43A-3AA69B6FEE6F}"/>
              </c:ext>
            </c:extLst>
          </c:dPt>
          <c:dPt>
            <c:idx val="8"/>
            <c:invertIfNegative val="1"/>
            <c:bubble3D val="0"/>
            <c:spPr>
              <a:solidFill>
                <a:srgbClr val="E6E5E5"/>
              </a:solidFill>
            </c:spPr>
            <c:extLst>
              <c:ext xmlns:c16="http://schemas.microsoft.com/office/drawing/2014/chart" uri="{C3380CC4-5D6E-409C-BE32-E72D297353CC}">
                <c16:uniqueId val="{00000011-000A-4C45-A43A-3AA69B6FEE6F}"/>
              </c:ext>
            </c:extLst>
          </c:dPt>
          <c:dPt>
            <c:idx val="9"/>
            <c:invertIfNegative val="1"/>
            <c:bubble3D val="0"/>
            <c:spPr>
              <a:solidFill>
                <a:srgbClr val="E6E5E5"/>
              </a:solidFill>
            </c:spPr>
            <c:extLst>
              <c:ext xmlns:c16="http://schemas.microsoft.com/office/drawing/2014/chart" uri="{C3380CC4-5D6E-409C-BE32-E72D297353CC}">
                <c16:uniqueId val="{00000013-000A-4C45-A43A-3AA69B6FEE6F}"/>
              </c:ext>
            </c:extLst>
          </c:dPt>
          <c:dPt>
            <c:idx val="10"/>
            <c:invertIfNegative val="1"/>
            <c:bubble3D val="0"/>
            <c:spPr>
              <a:solidFill>
                <a:srgbClr val="E6E5E5"/>
              </a:solidFill>
            </c:spPr>
            <c:extLst>
              <c:ext xmlns:c16="http://schemas.microsoft.com/office/drawing/2014/chart" uri="{C3380CC4-5D6E-409C-BE32-E72D297353CC}">
                <c16:uniqueId val="{00000015-000A-4C45-A43A-3AA69B6FEE6F}"/>
              </c:ext>
            </c:extLst>
          </c:dPt>
          <c:dPt>
            <c:idx val="11"/>
            <c:invertIfNegative val="1"/>
            <c:bubble3D val="0"/>
            <c:spPr>
              <a:solidFill>
                <a:srgbClr val="E6E5E5"/>
              </a:solidFill>
            </c:spPr>
            <c:extLst>
              <c:ext xmlns:c16="http://schemas.microsoft.com/office/drawing/2014/chart" uri="{C3380CC4-5D6E-409C-BE32-E72D297353CC}">
                <c16:uniqueId val="{00000017-000A-4C45-A43A-3AA69B6FEE6F}"/>
              </c:ext>
            </c:extLst>
          </c:dPt>
          <c:dPt>
            <c:idx val="12"/>
            <c:invertIfNegative val="1"/>
            <c:bubble3D val="0"/>
            <c:spPr>
              <a:solidFill>
                <a:srgbClr val="E6E5E5"/>
              </a:solidFill>
            </c:spPr>
            <c:extLst>
              <c:ext xmlns:c16="http://schemas.microsoft.com/office/drawing/2014/chart" uri="{C3380CC4-5D6E-409C-BE32-E72D297353CC}">
                <c16:uniqueId val="{00000019-000A-4C45-A43A-3AA69B6FEE6F}"/>
              </c:ext>
            </c:extLst>
          </c:dPt>
          <c:dPt>
            <c:idx val="13"/>
            <c:invertIfNegative val="1"/>
            <c:bubble3D val="0"/>
            <c:spPr>
              <a:solidFill>
                <a:srgbClr val="E6E5E5"/>
              </a:solidFill>
            </c:spPr>
            <c:extLst>
              <c:ext xmlns:c16="http://schemas.microsoft.com/office/drawing/2014/chart" uri="{C3380CC4-5D6E-409C-BE32-E72D297353CC}">
                <c16:uniqueId val="{0000001B-000A-4C45-A43A-3AA69B6FEE6F}"/>
              </c:ext>
            </c:extLst>
          </c:dPt>
          <c:dPt>
            <c:idx val="14"/>
            <c:invertIfNegative val="1"/>
            <c:bubble3D val="0"/>
            <c:spPr>
              <a:solidFill>
                <a:srgbClr val="E6E5E5"/>
              </a:solidFill>
            </c:spPr>
            <c:extLst>
              <c:ext xmlns:c16="http://schemas.microsoft.com/office/drawing/2014/chart" uri="{C3380CC4-5D6E-409C-BE32-E72D297353CC}">
                <c16:uniqueId val="{0000001D-000A-4C45-A43A-3AA69B6FEE6F}"/>
              </c:ext>
            </c:extLst>
          </c:dPt>
          <c:dPt>
            <c:idx val="15"/>
            <c:invertIfNegative val="1"/>
            <c:bubble3D val="0"/>
            <c:spPr>
              <a:solidFill>
                <a:srgbClr val="E6E5E5"/>
              </a:solidFill>
            </c:spPr>
            <c:extLst>
              <c:ext xmlns:c16="http://schemas.microsoft.com/office/drawing/2014/chart" uri="{C3380CC4-5D6E-409C-BE32-E72D297353CC}">
                <c16:uniqueId val="{0000001F-000A-4C45-A43A-3AA69B6FEE6F}"/>
              </c:ext>
            </c:extLst>
          </c:dPt>
          <c:dLbls>
            <c:numFmt formatCode="0.0%" sourceLinked="0"/>
            <c:spPr>
              <a:noFill/>
              <a:ln>
                <a:noFill/>
              </a:ln>
              <a:effectLst/>
            </c:spPr>
            <c:txPr>
              <a:bodyPr rot="0" spcFirstLastPara="1" vertOverflow="ellipsis" vert="horz" wrap="non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A$2:$A$12</c:f>
              <c:numCache>
                <c:formatCode>General</c:formatCode>
                <c:ptCount val="11"/>
                <c:pt idx="0">
                  <c:v>0</c:v>
                </c:pt>
                <c:pt idx="1">
                  <c:v>1</c:v>
                </c:pt>
                <c:pt idx="2">
                  <c:v>2</c:v>
                </c:pt>
                <c:pt idx="3">
                  <c:v>3</c:v>
                </c:pt>
                <c:pt idx="4">
                  <c:v>4</c:v>
                </c:pt>
                <c:pt idx="5">
                  <c:v>5</c:v>
                </c:pt>
                <c:pt idx="6">
                  <c:v>6</c:v>
                </c:pt>
                <c:pt idx="7">
                  <c:v>7</c:v>
                </c:pt>
                <c:pt idx="8">
                  <c:v>8</c:v>
                </c:pt>
                <c:pt idx="9">
                  <c:v>9</c:v>
                </c:pt>
                <c:pt idx="10">
                  <c:v>10</c:v>
                </c:pt>
              </c:numCache>
            </c:numRef>
          </c:cat>
          <c:val>
            <c:numRef>
              <c:f>Sheet1!$B$2:$B$12</c:f>
              <c:numCache>
                <c:formatCode>General</c:formatCode>
                <c:ptCount val="11"/>
                <c:pt idx="0">
                  <c:v>0.144625596426422</c:v>
                </c:pt>
                <c:pt idx="1">
                  <c:v>7.3709483938171463E-2</c:v>
                </c:pt>
                <c:pt idx="2">
                  <c:v>7.0107128669837274E-2</c:v>
                </c:pt>
                <c:pt idx="3">
                  <c:v>5.5930863438467572E-2</c:v>
                </c:pt>
                <c:pt idx="4">
                  <c:v>4.1193482742225562E-2</c:v>
                </c:pt>
                <c:pt idx="5">
                  <c:v>3.1577164777321309E-2</c:v>
                </c:pt>
                <c:pt idx="6">
                  <c:v>4.8101004071141019E-2</c:v>
                </c:pt>
                <c:pt idx="7">
                  <c:v>3.0212086643940799E-2</c:v>
                </c:pt>
                <c:pt idx="8">
                  <c:v>3.3038799269343028E-2</c:v>
                </c:pt>
                <c:pt idx="9">
                  <c:v>2.5012729873956439E-2</c:v>
                </c:pt>
                <c:pt idx="10">
                  <c:v>2.2428122238729871E-2</c:v>
                </c:pt>
              </c:numCache>
            </c:numRef>
          </c:val>
          <c:extLst>
            <c:ext xmlns:c16="http://schemas.microsoft.com/office/drawing/2014/chart" uri="{C3380CC4-5D6E-409C-BE32-E72D297353CC}">
              <c16:uniqueId val="{00000020-000A-4C45-A43A-3AA69B6FEE6F}"/>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39466813932E-2"/>
          <c:y val="8.0536282863718032E-3"/>
          <c:w val="0.96518562554386689"/>
          <c:h val="0.99194653896075324"/>
        </c:manualLayout>
      </c:layout>
      <c:barChart>
        <c:barDir val="bar"/>
        <c:grouping val="clustered"/>
        <c:varyColors val="0"/>
        <c:ser>
          <c:idx val="2"/>
          <c:order val="0"/>
          <c:tx>
            <c:strRef>
              <c:f>Sheet1!$B$1</c:f>
              <c:strCache>
                <c:ptCount val="1"/>
                <c:pt idx="0">
                  <c:v>Hershey's Cookies 'n Creme Block 90g</c:v>
                </c:pt>
              </c:strCache>
            </c:strRef>
          </c:tx>
          <c:spPr>
            <a:solidFill>
              <a:srgbClr val="E6E5E5"/>
            </a:solidFill>
            <a:ln w="9525" cap="flat" cmpd="sng" algn="ctr">
              <a:noFill/>
              <a:round/>
            </a:ln>
            <a:effectLst/>
          </c:spPr>
          <c:invertIfNegative val="0"/>
          <c:dPt>
            <c:idx val="0"/>
            <c:invertIfNegative val="1"/>
            <c:bubble3D val="0"/>
            <c:spPr>
              <a:solidFill>
                <a:srgbClr val="E6E5E5"/>
              </a:solidFill>
            </c:spPr>
            <c:extLst>
              <c:ext xmlns:c16="http://schemas.microsoft.com/office/drawing/2014/chart" uri="{C3380CC4-5D6E-409C-BE32-E72D297353CC}">
                <c16:uniqueId val="{00000001-A16F-412C-84B5-C6CF2DB60E7E}"/>
              </c:ext>
            </c:extLst>
          </c:dPt>
          <c:dPt>
            <c:idx val="1"/>
            <c:invertIfNegative val="1"/>
            <c:bubble3D val="0"/>
            <c:spPr>
              <a:solidFill>
                <a:srgbClr val="E6E5E5"/>
              </a:solidFill>
            </c:spPr>
            <c:extLst>
              <c:ext xmlns:c16="http://schemas.microsoft.com/office/drawing/2014/chart" uri="{C3380CC4-5D6E-409C-BE32-E72D297353CC}">
                <c16:uniqueId val="{00000003-A16F-412C-84B5-C6CF2DB60E7E}"/>
              </c:ext>
            </c:extLst>
          </c:dPt>
          <c:dPt>
            <c:idx val="2"/>
            <c:invertIfNegative val="1"/>
            <c:bubble3D val="0"/>
            <c:spPr>
              <a:solidFill>
                <a:srgbClr val="E6E5E5"/>
              </a:solidFill>
            </c:spPr>
            <c:extLst>
              <c:ext xmlns:c16="http://schemas.microsoft.com/office/drawing/2014/chart" uri="{C3380CC4-5D6E-409C-BE32-E72D297353CC}">
                <c16:uniqueId val="{00000005-A16F-412C-84B5-C6CF2DB60E7E}"/>
              </c:ext>
            </c:extLst>
          </c:dPt>
          <c:dPt>
            <c:idx val="3"/>
            <c:invertIfNegative val="1"/>
            <c:bubble3D val="0"/>
            <c:spPr>
              <a:solidFill>
                <a:srgbClr val="E6E5E5"/>
              </a:solidFill>
            </c:spPr>
            <c:extLst>
              <c:ext xmlns:c16="http://schemas.microsoft.com/office/drawing/2014/chart" uri="{C3380CC4-5D6E-409C-BE32-E72D297353CC}">
                <c16:uniqueId val="{00000007-A16F-412C-84B5-C6CF2DB60E7E}"/>
              </c:ext>
            </c:extLst>
          </c:dPt>
          <c:dPt>
            <c:idx val="4"/>
            <c:invertIfNegative val="1"/>
            <c:bubble3D val="0"/>
            <c:spPr>
              <a:solidFill>
                <a:srgbClr val="E6E5E5"/>
              </a:solidFill>
            </c:spPr>
            <c:extLst>
              <c:ext xmlns:c16="http://schemas.microsoft.com/office/drawing/2014/chart" uri="{C3380CC4-5D6E-409C-BE32-E72D297353CC}">
                <c16:uniqueId val="{00000009-A16F-412C-84B5-C6CF2DB60E7E}"/>
              </c:ext>
            </c:extLst>
          </c:dPt>
          <c:dPt>
            <c:idx val="5"/>
            <c:invertIfNegative val="1"/>
            <c:bubble3D val="0"/>
            <c:spPr>
              <a:solidFill>
                <a:srgbClr val="E6E5E5"/>
              </a:solidFill>
            </c:spPr>
            <c:extLst>
              <c:ext xmlns:c16="http://schemas.microsoft.com/office/drawing/2014/chart" uri="{C3380CC4-5D6E-409C-BE32-E72D297353CC}">
                <c16:uniqueId val="{0000000B-A16F-412C-84B5-C6CF2DB60E7E}"/>
              </c:ext>
            </c:extLst>
          </c:dPt>
          <c:dPt>
            <c:idx val="6"/>
            <c:invertIfNegative val="1"/>
            <c:bubble3D val="0"/>
            <c:spPr>
              <a:solidFill>
                <a:srgbClr val="E6E5E5"/>
              </a:solidFill>
            </c:spPr>
            <c:extLst>
              <c:ext xmlns:c16="http://schemas.microsoft.com/office/drawing/2014/chart" uri="{C3380CC4-5D6E-409C-BE32-E72D297353CC}">
                <c16:uniqueId val="{0000000D-A16F-412C-84B5-C6CF2DB60E7E}"/>
              </c:ext>
            </c:extLst>
          </c:dPt>
          <c:dPt>
            <c:idx val="7"/>
            <c:invertIfNegative val="1"/>
            <c:bubble3D val="0"/>
            <c:spPr>
              <a:solidFill>
                <a:srgbClr val="E6E5E5"/>
              </a:solidFill>
            </c:spPr>
            <c:extLst>
              <c:ext xmlns:c16="http://schemas.microsoft.com/office/drawing/2014/chart" uri="{C3380CC4-5D6E-409C-BE32-E72D297353CC}">
                <c16:uniqueId val="{00000000-FE5A-42FB-884A-EEDE11C690F3}"/>
              </c:ext>
            </c:extLst>
          </c:dPt>
          <c:dPt>
            <c:idx val="8"/>
            <c:invertIfNegative val="1"/>
            <c:bubble3D val="0"/>
            <c:spPr>
              <a:solidFill>
                <a:srgbClr val="E6E5E5"/>
              </a:solidFill>
            </c:spPr>
            <c:extLst>
              <c:ext xmlns:c16="http://schemas.microsoft.com/office/drawing/2014/chart" uri="{C3380CC4-5D6E-409C-BE32-E72D297353CC}">
                <c16:uniqueId val="{00000001-FE5A-42FB-884A-EEDE11C690F3}"/>
              </c:ext>
            </c:extLst>
          </c:dPt>
          <c:dPt>
            <c:idx val="9"/>
            <c:invertIfNegative val="1"/>
            <c:bubble3D val="0"/>
            <c:spPr>
              <a:solidFill>
                <a:srgbClr val="E6E5E5"/>
              </a:solidFill>
            </c:spPr>
            <c:extLst>
              <c:ext xmlns:c16="http://schemas.microsoft.com/office/drawing/2014/chart" uri="{C3380CC4-5D6E-409C-BE32-E72D297353CC}">
                <c16:uniqueId val="{00000002-FE5A-42FB-884A-EEDE11C690F3}"/>
              </c:ext>
            </c:extLst>
          </c:dPt>
          <c:dPt>
            <c:idx val="10"/>
            <c:invertIfNegative val="1"/>
            <c:bubble3D val="0"/>
            <c:spPr>
              <a:solidFill>
                <a:srgbClr val="E6E5E5"/>
              </a:solidFill>
            </c:spPr>
            <c:extLst>
              <c:ext xmlns:c16="http://schemas.microsoft.com/office/drawing/2014/chart" uri="{C3380CC4-5D6E-409C-BE32-E72D297353CC}">
                <c16:uniqueId val="{00000003-FE5A-42FB-884A-EEDE11C690F3}"/>
              </c:ext>
            </c:extLst>
          </c:dPt>
          <c:dLbls>
            <c:numFmt formatCode="0.0%" sourceLinked="0"/>
            <c:spPr>
              <a:noFill/>
              <a:ln>
                <a:noFill/>
              </a:ln>
              <a:effectLst/>
            </c:spPr>
            <c:txPr>
              <a:bodyPr rot="0" spcFirstLastPara="1" vertOverflow="ellipsis" vert="horz" wrap="non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A$2:$A$12</c:f>
              <c:numCache>
                <c:formatCode>General</c:formatCode>
                <c:ptCount val="11"/>
                <c:pt idx="0">
                  <c:v>0</c:v>
                </c:pt>
                <c:pt idx="1">
                  <c:v>1</c:v>
                </c:pt>
                <c:pt idx="2">
                  <c:v>2</c:v>
                </c:pt>
                <c:pt idx="3">
                  <c:v>3</c:v>
                </c:pt>
                <c:pt idx="4">
                  <c:v>4</c:v>
                </c:pt>
                <c:pt idx="5">
                  <c:v>5</c:v>
                </c:pt>
                <c:pt idx="6">
                  <c:v>6</c:v>
                </c:pt>
                <c:pt idx="7">
                  <c:v>7</c:v>
                </c:pt>
                <c:pt idx="8">
                  <c:v>8</c:v>
                </c:pt>
                <c:pt idx="9">
                  <c:v>9</c:v>
                </c:pt>
                <c:pt idx="10">
                  <c:v>10</c:v>
                </c:pt>
              </c:numCache>
            </c:numRef>
          </c:cat>
          <c:val>
            <c:numRef>
              <c:f>Sheet1!$B$2:$B$12</c:f>
              <c:numCache>
                <c:formatCode>General</c:formatCode>
                <c:ptCount val="11"/>
                <c:pt idx="0">
                  <c:v>8.3680830643657791E-2</c:v>
                </c:pt>
                <c:pt idx="1">
                  <c:v>8.4832717379492509E-2</c:v>
                </c:pt>
                <c:pt idx="2">
                  <c:v>6.972508654231116E-2</c:v>
                </c:pt>
                <c:pt idx="3">
                  <c:v>7.265896809008994E-2</c:v>
                </c:pt>
                <c:pt idx="4">
                  <c:v>2.6867333324909211E-2</c:v>
                </c:pt>
                <c:pt idx="5">
                  <c:v>3.2846571323964111E-2</c:v>
                </c:pt>
                <c:pt idx="6">
                  <c:v>2.9692361061533581E-2</c:v>
                </c:pt>
                <c:pt idx="7">
                  <c:v>2.4673524627930769E-2</c:v>
                </c:pt>
                <c:pt idx="8">
                  <c:v>2.4801210223196219E-2</c:v>
                </c:pt>
                <c:pt idx="9">
                  <c:v>1.6946024595636509E-2</c:v>
                </c:pt>
                <c:pt idx="10">
                  <c:v>1.974433097199577E-2</c:v>
                </c:pt>
              </c:numCache>
            </c:numRef>
          </c:val>
          <c:extLst>
            <c:ext xmlns:c16="http://schemas.microsoft.com/office/drawing/2014/chart" uri="{C3380CC4-5D6E-409C-BE32-E72D297353CC}">
              <c16:uniqueId val="{00000004-FE5A-42FB-884A-EEDE11C690F3}"/>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39466813932E-2"/>
          <c:y val="4.4499213905618918E-3"/>
          <c:w val="0.96518599661647553"/>
          <c:h val="0.99555007860943812"/>
        </c:manualLayout>
      </c:layout>
      <c:barChart>
        <c:barDir val="bar"/>
        <c:grouping val="clustered"/>
        <c:varyColors val="0"/>
        <c:ser>
          <c:idx val="2"/>
          <c:order val="0"/>
          <c:tx>
            <c:strRef>
              <c:f>Sheet1!$B$1</c:f>
              <c:strCache>
                <c:ptCount val="1"/>
                <c:pt idx="0">
                  <c:v>Hershey's Cookies 'n Creme Creations Salted Caramel 38g</c:v>
                </c:pt>
              </c:strCache>
            </c:strRef>
          </c:tx>
          <c:spPr>
            <a:solidFill>
              <a:srgbClr val="E6E5E5">
                <a:lumMod val="90000"/>
              </a:srgbClr>
            </a:solidFill>
            <a:ln w="9525" cap="flat" cmpd="sng" algn="ctr">
              <a:noFill/>
              <a:round/>
            </a:ln>
            <a:effectLst/>
          </c:spPr>
          <c:invertIfNegative val="0"/>
          <c:dPt>
            <c:idx val="0"/>
            <c:invertIfNegative val="1"/>
            <c:bubble3D val="0"/>
            <c:spPr>
              <a:solidFill>
                <a:srgbClr val="E6E5E5"/>
              </a:solidFill>
            </c:spPr>
            <c:extLst>
              <c:ext xmlns:c16="http://schemas.microsoft.com/office/drawing/2014/chart" uri="{C3380CC4-5D6E-409C-BE32-E72D297353CC}">
                <c16:uniqueId val="{00000001-4521-49DF-A3AD-01B14FDCFE2C}"/>
              </c:ext>
            </c:extLst>
          </c:dPt>
          <c:dPt>
            <c:idx val="1"/>
            <c:invertIfNegative val="1"/>
            <c:bubble3D val="0"/>
            <c:spPr>
              <a:solidFill>
                <a:srgbClr val="E6E5E5"/>
              </a:solidFill>
            </c:spPr>
            <c:extLst>
              <c:ext xmlns:c16="http://schemas.microsoft.com/office/drawing/2014/chart" uri="{C3380CC4-5D6E-409C-BE32-E72D297353CC}">
                <c16:uniqueId val="{00000003-4521-49DF-A3AD-01B14FDCFE2C}"/>
              </c:ext>
            </c:extLst>
          </c:dPt>
          <c:dPt>
            <c:idx val="2"/>
            <c:invertIfNegative val="1"/>
            <c:bubble3D val="0"/>
            <c:spPr>
              <a:solidFill>
                <a:srgbClr val="E6E5E5"/>
              </a:solidFill>
            </c:spPr>
            <c:extLst>
              <c:ext xmlns:c16="http://schemas.microsoft.com/office/drawing/2014/chart" uri="{C3380CC4-5D6E-409C-BE32-E72D297353CC}">
                <c16:uniqueId val="{00000005-4521-49DF-A3AD-01B14FDCFE2C}"/>
              </c:ext>
            </c:extLst>
          </c:dPt>
          <c:dPt>
            <c:idx val="3"/>
            <c:invertIfNegative val="1"/>
            <c:bubble3D val="0"/>
            <c:spPr>
              <a:solidFill>
                <a:srgbClr val="E6E5E5"/>
              </a:solidFill>
            </c:spPr>
            <c:extLst>
              <c:ext xmlns:c16="http://schemas.microsoft.com/office/drawing/2014/chart" uri="{C3380CC4-5D6E-409C-BE32-E72D297353CC}">
                <c16:uniqueId val="{00000007-4521-49DF-A3AD-01B14FDCFE2C}"/>
              </c:ext>
            </c:extLst>
          </c:dPt>
          <c:dPt>
            <c:idx val="4"/>
            <c:invertIfNegative val="1"/>
            <c:bubble3D val="0"/>
            <c:spPr>
              <a:solidFill>
                <a:srgbClr val="E6E5E5"/>
              </a:solidFill>
            </c:spPr>
            <c:extLst>
              <c:ext xmlns:c16="http://schemas.microsoft.com/office/drawing/2014/chart" uri="{C3380CC4-5D6E-409C-BE32-E72D297353CC}">
                <c16:uniqueId val="{00000009-4521-49DF-A3AD-01B14FDCFE2C}"/>
              </c:ext>
            </c:extLst>
          </c:dPt>
          <c:dPt>
            <c:idx val="5"/>
            <c:invertIfNegative val="1"/>
            <c:bubble3D val="0"/>
            <c:spPr>
              <a:solidFill>
                <a:srgbClr val="E6E5E5"/>
              </a:solidFill>
            </c:spPr>
            <c:extLst>
              <c:ext xmlns:c16="http://schemas.microsoft.com/office/drawing/2014/chart" uri="{C3380CC4-5D6E-409C-BE32-E72D297353CC}">
                <c16:uniqueId val="{0000000B-4521-49DF-A3AD-01B14FDCFE2C}"/>
              </c:ext>
            </c:extLst>
          </c:dPt>
          <c:dPt>
            <c:idx val="6"/>
            <c:invertIfNegative val="1"/>
            <c:bubble3D val="0"/>
            <c:spPr>
              <a:solidFill>
                <a:srgbClr val="E6E5E5"/>
              </a:solidFill>
            </c:spPr>
            <c:extLst>
              <c:ext xmlns:c16="http://schemas.microsoft.com/office/drawing/2014/chart" uri="{C3380CC4-5D6E-409C-BE32-E72D297353CC}">
                <c16:uniqueId val="{0000000D-4521-49DF-A3AD-01B14FDCFE2C}"/>
              </c:ext>
            </c:extLst>
          </c:dPt>
          <c:dPt>
            <c:idx val="7"/>
            <c:invertIfNegative val="1"/>
            <c:bubble3D val="0"/>
            <c:spPr>
              <a:solidFill>
                <a:srgbClr val="E6E5E5"/>
              </a:solidFill>
            </c:spPr>
            <c:extLst>
              <c:ext xmlns:c16="http://schemas.microsoft.com/office/drawing/2014/chart" uri="{C3380CC4-5D6E-409C-BE32-E72D297353CC}">
                <c16:uniqueId val="{00000000-46AD-4608-B607-5E413AFB740D}"/>
              </c:ext>
            </c:extLst>
          </c:dPt>
          <c:dPt>
            <c:idx val="8"/>
            <c:invertIfNegative val="1"/>
            <c:bubble3D val="0"/>
            <c:spPr>
              <a:solidFill>
                <a:srgbClr val="E6E5E5"/>
              </a:solidFill>
            </c:spPr>
            <c:extLst>
              <c:ext xmlns:c16="http://schemas.microsoft.com/office/drawing/2014/chart" uri="{C3380CC4-5D6E-409C-BE32-E72D297353CC}">
                <c16:uniqueId val="{00000001-46AD-4608-B607-5E413AFB740D}"/>
              </c:ext>
            </c:extLst>
          </c:dPt>
          <c:dPt>
            <c:idx val="9"/>
            <c:invertIfNegative val="1"/>
            <c:bubble3D val="0"/>
            <c:spPr>
              <a:solidFill>
                <a:srgbClr val="E6E5E5"/>
              </a:solidFill>
            </c:spPr>
            <c:extLst>
              <c:ext xmlns:c16="http://schemas.microsoft.com/office/drawing/2014/chart" uri="{C3380CC4-5D6E-409C-BE32-E72D297353CC}">
                <c16:uniqueId val="{00000002-46AD-4608-B607-5E413AFB740D}"/>
              </c:ext>
            </c:extLst>
          </c:dPt>
          <c:dPt>
            <c:idx val="10"/>
            <c:invertIfNegative val="1"/>
            <c:bubble3D val="0"/>
            <c:spPr>
              <a:solidFill>
                <a:srgbClr val="E6E5E5"/>
              </a:solidFill>
            </c:spPr>
            <c:extLst>
              <c:ext xmlns:c16="http://schemas.microsoft.com/office/drawing/2014/chart" uri="{C3380CC4-5D6E-409C-BE32-E72D297353CC}">
                <c16:uniqueId val="{00000003-46AD-4608-B607-5E413AFB740D}"/>
              </c:ext>
            </c:extLst>
          </c:dPt>
          <c:dPt>
            <c:idx val="11"/>
            <c:invertIfNegative val="1"/>
            <c:bubble3D val="0"/>
            <c:spPr>
              <a:solidFill>
                <a:srgbClr val="E6E5E5"/>
              </a:solidFill>
            </c:spPr>
            <c:extLst>
              <c:ext xmlns:c16="http://schemas.microsoft.com/office/drawing/2014/chart" uri="{C3380CC4-5D6E-409C-BE32-E72D297353CC}">
                <c16:uniqueId val="{00000017-4521-49DF-A3AD-01B14FDCFE2C}"/>
              </c:ext>
            </c:extLst>
          </c:dPt>
          <c:dPt>
            <c:idx val="12"/>
            <c:invertIfNegative val="1"/>
            <c:bubble3D val="0"/>
            <c:spPr>
              <a:solidFill>
                <a:srgbClr val="E6E5E5"/>
              </a:solidFill>
            </c:spPr>
            <c:extLst>
              <c:ext xmlns:c16="http://schemas.microsoft.com/office/drawing/2014/chart" uri="{C3380CC4-5D6E-409C-BE32-E72D297353CC}">
                <c16:uniqueId val="{00000019-4521-49DF-A3AD-01B14FDCFE2C}"/>
              </c:ext>
            </c:extLst>
          </c:dPt>
          <c:dPt>
            <c:idx val="13"/>
            <c:invertIfNegative val="1"/>
            <c:bubble3D val="0"/>
            <c:spPr>
              <a:solidFill>
                <a:srgbClr val="E6E5E5"/>
              </a:solidFill>
            </c:spPr>
            <c:extLst>
              <c:ext xmlns:c16="http://schemas.microsoft.com/office/drawing/2014/chart" uri="{C3380CC4-5D6E-409C-BE32-E72D297353CC}">
                <c16:uniqueId val="{0000001B-4521-49DF-A3AD-01B14FDCFE2C}"/>
              </c:ext>
            </c:extLst>
          </c:dPt>
          <c:dPt>
            <c:idx val="14"/>
            <c:invertIfNegative val="1"/>
            <c:bubble3D val="0"/>
            <c:spPr>
              <a:solidFill>
                <a:srgbClr val="E6E5E5"/>
              </a:solidFill>
            </c:spPr>
            <c:extLst>
              <c:ext xmlns:c16="http://schemas.microsoft.com/office/drawing/2014/chart" uri="{C3380CC4-5D6E-409C-BE32-E72D297353CC}">
                <c16:uniqueId val="{0000001D-4521-49DF-A3AD-01B14FDCFE2C}"/>
              </c:ext>
            </c:extLst>
          </c:dPt>
          <c:dPt>
            <c:idx val="15"/>
            <c:invertIfNegative val="1"/>
            <c:bubble3D val="0"/>
            <c:spPr>
              <a:solidFill>
                <a:srgbClr val="E6E5E5"/>
              </a:solidFill>
            </c:spPr>
            <c:extLst>
              <c:ext xmlns:c16="http://schemas.microsoft.com/office/drawing/2014/chart" uri="{C3380CC4-5D6E-409C-BE32-E72D297353CC}">
                <c16:uniqueId val="{0000001F-4521-49DF-A3AD-01B14FDCFE2C}"/>
              </c:ext>
            </c:extLst>
          </c:dPt>
          <c:dLbls>
            <c:numFmt formatCode="0.0%" sourceLinked="0"/>
            <c:spPr>
              <a:noFill/>
              <a:ln>
                <a:noFill/>
              </a:ln>
              <a:effectLst/>
            </c:spPr>
            <c:txPr>
              <a:bodyPr rot="0" spcFirstLastPara="1" vertOverflow="ellipsis" vert="horz" wrap="non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A$2:$A$12</c:f>
              <c:numCache>
                <c:formatCode>General</c:formatCode>
                <c:ptCount val="11"/>
                <c:pt idx="0">
                  <c:v>0</c:v>
                </c:pt>
                <c:pt idx="1">
                  <c:v>1</c:v>
                </c:pt>
                <c:pt idx="2">
                  <c:v>2</c:v>
                </c:pt>
                <c:pt idx="3">
                  <c:v>3</c:v>
                </c:pt>
                <c:pt idx="4">
                  <c:v>4</c:v>
                </c:pt>
                <c:pt idx="5">
                  <c:v>5</c:v>
                </c:pt>
                <c:pt idx="6">
                  <c:v>6</c:v>
                </c:pt>
                <c:pt idx="7">
                  <c:v>7</c:v>
                </c:pt>
                <c:pt idx="8">
                  <c:v>8</c:v>
                </c:pt>
                <c:pt idx="9">
                  <c:v>9</c:v>
                </c:pt>
                <c:pt idx="10">
                  <c:v>10</c:v>
                </c:pt>
              </c:numCache>
            </c:numRef>
          </c:cat>
          <c:val>
            <c:numRef>
              <c:f>Sheet1!$B$2:$B$12</c:f>
              <c:numCache>
                <c:formatCode>General</c:formatCode>
                <c:ptCount val="11"/>
                <c:pt idx="0">
                  <c:v>5.0447854226814207E-2</c:v>
                </c:pt>
                <c:pt idx="1">
                  <c:v>7.9671669867510259E-2</c:v>
                </c:pt>
                <c:pt idx="2">
                  <c:v>9.5243035433779294E-2</c:v>
                </c:pt>
                <c:pt idx="3">
                  <c:v>4.6930023952282761E-2</c:v>
                </c:pt>
                <c:pt idx="4">
                  <c:v>5.3986451383998227E-2</c:v>
                </c:pt>
                <c:pt idx="5">
                  <c:v>3.9307564557694179E-2</c:v>
                </c:pt>
                <c:pt idx="6">
                  <c:v>1.564990410618107E-2</c:v>
                </c:pt>
                <c:pt idx="7">
                  <c:v>3.8296802999407388E-2</c:v>
                </c:pt>
                <c:pt idx="8">
                  <c:v>1.260545269416481E-2</c:v>
                </c:pt>
                <c:pt idx="9">
                  <c:v>2.5391227092504961E-2</c:v>
                </c:pt>
                <c:pt idx="10">
                  <c:v>1.8423164832667101E-2</c:v>
                </c:pt>
              </c:numCache>
            </c:numRef>
          </c:val>
          <c:extLst>
            <c:ext xmlns:c16="http://schemas.microsoft.com/office/drawing/2014/chart" uri="{C3380CC4-5D6E-409C-BE32-E72D297353CC}">
              <c16:uniqueId val="{00000004-46AD-4608-B607-5E413AFB740D}"/>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478263789278E-2"/>
          <c:y val="0"/>
          <c:w val="0.96518562554386689"/>
          <c:h val="1"/>
        </c:manualLayout>
      </c:layout>
      <c:barChart>
        <c:barDir val="bar"/>
        <c:grouping val="clustered"/>
        <c:varyColors val="0"/>
        <c:ser>
          <c:idx val="2"/>
          <c:order val="0"/>
          <c:tx>
            <c:strRef>
              <c:f>Sheet1!$B$1</c:f>
              <c:strCache>
                <c:ptCount val="1"/>
                <c:pt idx="0">
                  <c:v>Hershey's Cookies 'n Creme 40Gx 4</c:v>
                </c:pt>
              </c:strCache>
            </c:strRef>
          </c:tx>
          <c:spPr>
            <a:solidFill>
              <a:srgbClr val="E6E5E5"/>
            </a:solidFill>
            <a:ln w="9525" cap="flat" cmpd="sng" algn="ctr">
              <a:noFill/>
              <a:round/>
            </a:ln>
            <a:effectLst/>
          </c:spPr>
          <c:invertIfNegative val="0"/>
          <c:dPt>
            <c:idx val="0"/>
            <c:invertIfNegative val="1"/>
            <c:bubble3D val="0"/>
            <c:spPr>
              <a:solidFill>
                <a:srgbClr val="E6E5E5"/>
              </a:solidFill>
            </c:spPr>
            <c:extLst>
              <c:ext xmlns:c16="http://schemas.microsoft.com/office/drawing/2014/chart" uri="{C3380CC4-5D6E-409C-BE32-E72D297353CC}">
                <c16:uniqueId val="{00000001-4CF6-426D-AECF-CFB74E12454F}"/>
              </c:ext>
            </c:extLst>
          </c:dPt>
          <c:dPt>
            <c:idx val="1"/>
            <c:invertIfNegative val="1"/>
            <c:bubble3D val="0"/>
            <c:spPr>
              <a:solidFill>
                <a:srgbClr val="E6E5E5"/>
              </a:solidFill>
            </c:spPr>
            <c:extLst>
              <c:ext xmlns:c16="http://schemas.microsoft.com/office/drawing/2014/chart" uri="{C3380CC4-5D6E-409C-BE32-E72D297353CC}">
                <c16:uniqueId val="{00000003-4CF6-426D-AECF-CFB74E12454F}"/>
              </c:ext>
            </c:extLst>
          </c:dPt>
          <c:dPt>
            <c:idx val="2"/>
            <c:invertIfNegative val="1"/>
            <c:bubble3D val="0"/>
            <c:spPr>
              <a:solidFill>
                <a:srgbClr val="E6E5E5"/>
              </a:solidFill>
            </c:spPr>
            <c:extLst>
              <c:ext xmlns:c16="http://schemas.microsoft.com/office/drawing/2014/chart" uri="{C3380CC4-5D6E-409C-BE32-E72D297353CC}">
                <c16:uniqueId val="{00000005-4CF6-426D-AECF-CFB74E12454F}"/>
              </c:ext>
            </c:extLst>
          </c:dPt>
          <c:dPt>
            <c:idx val="3"/>
            <c:invertIfNegative val="1"/>
            <c:bubble3D val="0"/>
            <c:spPr>
              <a:solidFill>
                <a:srgbClr val="E6E5E5"/>
              </a:solidFill>
            </c:spPr>
            <c:extLst>
              <c:ext xmlns:c16="http://schemas.microsoft.com/office/drawing/2014/chart" uri="{C3380CC4-5D6E-409C-BE32-E72D297353CC}">
                <c16:uniqueId val="{00000007-4CF6-426D-AECF-CFB74E12454F}"/>
              </c:ext>
            </c:extLst>
          </c:dPt>
          <c:dPt>
            <c:idx val="4"/>
            <c:invertIfNegative val="1"/>
            <c:bubble3D val="0"/>
            <c:spPr>
              <a:solidFill>
                <a:srgbClr val="E6E5E5"/>
              </a:solidFill>
            </c:spPr>
            <c:extLst>
              <c:ext xmlns:c16="http://schemas.microsoft.com/office/drawing/2014/chart" uri="{C3380CC4-5D6E-409C-BE32-E72D297353CC}">
                <c16:uniqueId val="{00000009-4CF6-426D-AECF-CFB74E12454F}"/>
              </c:ext>
            </c:extLst>
          </c:dPt>
          <c:dPt>
            <c:idx val="5"/>
            <c:invertIfNegative val="1"/>
            <c:bubble3D val="0"/>
            <c:spPr>
              <a:solidFill>
                <a:srgbClr val="E6E5E5"/>
              </a:solidFill>
            </c:spPr>
            <c:extLst>
              <c:ext xmlns:c16="http://schemas.microsoft.com/office/drawing/2014/chart" uri="{C3380CC4-5D6E-409C-BE32-E72D297353CC}">
                <c16:uniqueId val="{0000000B-4CF6-426D-AECF-CFB74E12454F}"/>
              </c:ext>
            </c:extLst>
          </c:dPt>
          <c:dPt>
            <c:idx val="6"/>
            <c:invertIfNegative val="1"/>
            <c:bubble3D val="0"/>
            <c:spPr>
              <a:solidFill>
                <a:srgbClr val="E6E5E5"/>
              </a:solidFill>
            </c:spPr>
            <c:extLst>
              <c:ext xmlns:c16="http://schemas.microsoft.com/office/drawing/2014/chart" uri="{C3380CC4-5D6E-409C-BE32-E72D297353CC}">
                <c16:uniqueId val="{0000000D-4CF6-426D-AECF-CFB74E12454F}"/>
              </c:ext>
            </c:extLst>
          </c:dPt>
          <c:dPt>
            <c:idx val="7"/>
            <c:invertIfNegative val="1"/>
            <c:bubble3D val="0"/>
            <c:spPr>
              <a:solidFill>
                <a:srgbClr val="E6E5E5"/>
              </a:solidFill>
            </c:spPr>
            <c:extLst>
              <c:ext xmlns:c16="http://schemas.microsoft.com/office/drawing/2014/chart" uri="{C3380CC4-5D6E-409C-BE32-E72D297353CC}">
                <c16:uniqueId val="{00000000-2DEF-4275-BB7F-2A2402E29FCF}"/>
              </c:ext>
            </c:extLst>
          </c:dPt>
          <c:dPt>
            <c:idx val="8"/>
            <c:invertIfNegative val="1"/>
            <c:bubble3D val="0"/>
            <c:spPr>
              <a:solidFill>
                <a:srgbClr val="E6E5E5"/>
              </a:solidFill>
            </c:spPr>
            <c:extLst>
              <c:ext xmlns:c16="http://schemas.microsoft.com/office/drawing/2014/chart" uri="{C3380CC4-5D6E-409C-BE32-E72D297353CC}">
                <c16:uniqueId val="{00000001-2DEF-4275-BB7F-2A2402E29FCF}"/>
              </c:ext>
            </c:extLst>
          </c:dPt>
          <c:dPt>
            <c:idx val="9"/>
            <c:invertIfNegative val="1"/>
            <c:bubble3D val="0"/>
            <c:spPr>
              <a:solidFill>
                <a:srgbClr val="E6E5E5"/>
              </a:solidFill>
            </c:spPr>
            <c:extLst>
              <c:ext xmlns:c16="http://schemas.microsoft.com/office/drawing/2014/chart" uri="{C3380CC4-5D6E-409C-BE32-E72D297353CC}">
                <c16:uniqueId val="{00000002-2DEF-4275-BB7F-2A2402E29FCF}"/>
              </c:ext>
            </c:extLst>
          </c:dPt>
          <c:dPt>
            <c:idx val="10"/>
            <c:invertIfNegative val="1"/>
            <c:bubble3D val="0"/>
            <c:spPr>
              <a:solidFill>
                <a:srgbClr val="E6E5E5"/>
              </a:solidFill>
            </c:spPr>
            <c:extLst>
              <c:ext xmlns:c16="http://schemas.microsoft.com/office/drawing/2014/chart" uri="{C3380CC4-5D6E-409C-BE32-E72D297353CC}">
                <c16:uniqueId val="{00000003-2DEF-4275-BB7F-2A2402E29FCF}"/>
              </c:ext>
            </c:extLst>
          </c:dPt>
          <c:dPt>
            <c:idx val="11"/>
            <c:invertIfNegative val="1"/>
            <c:bubble3D val="0"/>
            <c:spPr>
              <a:solidFill>
                <a:srgbClr val="E6E5E5"/>
              </a:solidFill>
            </c:spPr>
            <c:extLst>
              <c:ext xmlns:c16="http://schemas.microsoft.com/office/drawing/2014/chart" uri="{C3380CC4-5D6E-409C-BE32-E72D297353CC}">
                <c16:uniqueId val="{00000017-4CF6-426D-AECF-CFB74E12454F}"/>
              </c:ext>
            </c:extLst>
          </c:dPt>
          <c:dPt>
            <c:idx val="12"/>
            <c:invertIfNegative val="1"/>
            <c:bubble3D val="0"/>
            <c:spPr>
              <a:solidFill>
                <a:srgbClr val="E6E5E5"/>
              </a:solidFill>
            </c:spPr>
            <c:extLst>
              <c:ext xmlns:c16="http://schemas.microsoft.com/office/drawing/2014/chart" uri="{C3380CC4-5D6E-409C-BE32-E72D297353CC}">
                <c16:uniqueId val="{00000019-4CF6-426D-AECF-CFB74E12454F}"/>
              </c:ext>
            </c:extLst>
          </c:dPt>
          <c:dPt>
            <c:idx val="13"/>
            <c:invertIfNegative val="1"/>
            <c:bubble3D val="0"/>
            <c:spPr>
              <a:solidFill>
                <a:srgbClr val="E6E5E5"/>
              </a:solidFill>
            </c:spPr>
            <c:extLst>
              <c:ext xmlns:c16="http://schemas.microsoft.com/office/drawing/2014/chart" uri="{C3380CC4-5D6E-409C-BE32-E72D297353CC}">
                <c16:uniqueId val="{0000001B-4CF6-426D-AECF-CFB74E12454F}"/>
              </c:ext>
            </c:extLst>
          </c:dPt>
          <c:dPt>
            <c:idx val="14"/>
            <c:invertIfNegative val="1"/>
            <c:bubble3D val="0"/>
            <c:spPr>
              <a:solidFill>
                <a:srgbClr val="E6E5E5"/>
              </a:solidFill>
            </c:spPr>
            <c:extLst>
              <c:ext xmlns:c16="http://schemas.microsoft.com/office/drawing/2014/chart" uri="{C3380CC4-5D6E-409C-BE32-E72D297353CC}">
                <c16:uniqueId val="{0000001D-4CF6-426D-AECF-CFB74E12454F}"/>
              </c:ext>
            </c:extLst>
          </c:dPt>
          <c:dPt>
            <c:idx val="15"/>
            <c:invertIfNegative val="1"/>
            <c:bubble3D val="0"/>
            <c:spPr>
              <a:solidFill>
                <a:srgbClr val="E6E5E5"/>
              </a:solidFill>
            </c:spPr>
            <c:extLst>
              <c:ext xmlns:c16="http://schemas.microsoft.com/office/drawing/2014/chart" uri="{C3380CC4-5D6E-409C-BE32-E72D297353CC}">
                <c16:uniqueId val="{0000001F-4CF6-426D-AECF-CFB74E12454F}"/>
              </c:ext>
            </c:extLst>
          </c:dPt>
          <c:dLbls>
            <c:numFmt formatCode="0.0%" sourceLinked="0"/>
            <c:spPr>
              <a:noFill/>
              <a:ln>
                <a:noFill/>
              </a:ln>
              <a:effectLst/>
            </c:spPr>
            <c:txPr>
              <a:bodyPr rot="0" spcFirstLastPara="1" vertOverflow="ellipsis" vert="horz" wrap="non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A$2:$A$12</c:f>
              <c:numCache>
                <c:formatCode>General</c:formatCode>
                <c:ptCount val="11"/>
                <c:pt idx="0">
                  <c:v>0</c:v>
                </c:pt>
                <c:pt idx="1">
                  <c:v>1</c:v>
                </c:pt>
                <c:pt idx="2">
                  <c:v>2</c:v>
                </c:pt>
                <c:pt idx="3">
                  <c:v>3</c:v>
                </c:pt>
                <c:pt idx="4">
                  <c:v>4</c:v>
                </c:pt>
                <c:pt idx="5">
                  <c:v>5</c:v>
                </c:pt>
                <c:pt idx="6">
                  <c:v>6</c:v>
                </c:pt>
                <c:pt idx="7">
                  <c:v>7</c:v>
                </c:pt>
                <c:pt idx="8">
                  <c:v>8</c:v>
                </c:pt>
                <c:pt idx="9">
                  <c:v>9</c:v>
                </c:pt>
                <c:pt idx="10">
                  <c:v>10</c:v>
                </c:pt>
              </c:numCache>
            </c:numRef>
          </c:cat>
          <c:val>
            <c:numRef>
              <c:f>Sheet1!$B$2:$B$12</c:f>
              <c:numCache>
                <c:formatCode>General</c:formatCode>
                <c:ptCount val="11"/>
                <c:pt idx="0">
                  <c:v>0.144625596426422</c:v>
                </c:pt>
                <c:pt idx="1">
                  <c:v>7.3709483938171463E-2</c:v>
                </c:pt>
                <c:pt idx="2">
                  <c:v>7.0107128669837274E-2</c:v>
                </c:pt>
                <c:pt idx="3">
                  <c:v>5.5930863438467572E-2</c:v>
                </c:pt>
                <c:pt idx="4">
                  <c:v>4.1193482742225562E-2</c:v>
                </c:pt>
                <c:pt idx="5">
                  <c:v>3.1577164777321309E-2</c:v>
                </c:pt>
                <c:pt idx="6">
                  <c:v>4.8101004071141019E-2</c:v>
                </c:pt>
                <c:pt idx="7">
                  <c:v>3.0212086643940799E-2</c:v>
                </c:pt>
                <c:pt idx="8">
                  <c:v>3.3038799269343028E-2</c:v>
                </c:pt>
                <c:pt idx="9">
                  <c:v>2.5012729873956439E-2</c:v>
                </c:pt>
                <c:pt idx="10">
                  <c:v>2.2428122238729871E-2</c:v>
                </c:pt>
              </c:numCache>
            </c:numRef>
          </c:val>
          <c:extLst>
            <c:ext xmlns:c16="http://schemas.microsoft.com/office/drawing/2014/chart" uri="{C3380CC4-5D6E-409C-BE32-E72D297353CC}">
              <c16:uniqueId val="{00000004-2DEF-4275-BB7F-2A2402E29FCF}"/>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ershey's Cookies 'n Creme 40Gx 4</c:v>
                </c:pt>
              </c:strCache>
            </c:strRef>
          </c:tx>
          <c:spPr>
            <a:solidFill>
              <a:schemeClr val="bg2"/>
            </a:solidFill>
            <a:ln>
              <a:noFill/>
            </a:ln>
            <a:effectLst/>
          </c:spPr>
          <c:invertIfNegative val="0"/>
          <c:dPt>
            <c:idx val="0"/>
            <c:invertIfNegative val="1"/>
            <c:bubble3D val="0"/>
            <c:spPr>
              <a:solidFill>
                <a:srgbClr val="E6E5E5"/>
              </a:solidFill>
            </c:spPr>
            <c:extLst>
              <c:ext xmlns:c16="http://schemas.microsoft.com/office/drawing/2014/chart" uri="{C3380CC4-5D6E-409C-BE32-E72D297353CC}">
                <c16:uniqueId val="{00000008-A0D8-4FF8-BF2D-A6DC7B178F5A}"/>
              </c:ext>
            </c:extLst>
          </c:dPt>
          <c:dPt>
            <c:idx val="1"/>
            <c:invertIfNegative val="0"/>
            <c:bubble3D val="0"/>
            <c:spPr>
              <a:solidFill>
                <a:srgbClr val="E6E5E5"/>
              </a:solidFill>
              <a:ln>
                <a:noFill/>
              </a:ln>
              <a:effectLst/>
            </c:spPr>
            <c:extLst>
              <c:ext xmlns:c16="http://schemas.microsoft.com/office/drawing/2014/chart" uri="{C3380CC4-5D6E-409C-BE32-E72D297353CC}">
                <c16:uniqueId val="{00000009-A0D8-4FF8-BF2D-A6DC7B178F5A}"/>
              </c:ext>
            </c:extLst>
          </c:dPt>
          <c:dPt>
            <c:idx val="2"/>
            <c:invertIfNegative val="1"/>
            <c:bubble3D val="0"/>
            <c:spPr>
              <a:solidFill>
                <a:srgbClr val="E6E5E5"/>
              </a:solidFill>
            </c:spPr>
            <c:extLst>
              <c:ext xmlns:c16="http://schemas.microsoft.com/office/drawing/2014/chart" uri="{C3380CC4-5D6E-409C-BE32-E72D297353CC}">
                <c16:uniqueId val="{0000000A-A0D8-4FF8-BF2D-A6DC7B178F5A}"/>
              </c:ext>
            </c:extLst>
          </c:dPt>
          <c:dPt>
            <c:idx val="3"/>
            <c:invertIfNegative val="1"/>
            <c:bubble3D val="0"/>
            <c:spPr>
              <a:solidFill>
                <a:srgbClr val="E6E5E5"/>
              </a:solidFill>
            </c:spPr>
            <c:extLst>
              <c:ext xmlns:c16="http://schemas.microsoft.com/office/drawing/2014/chart" uri="{C3380CC4-5D6E-409C-BE32-E72D297353CC}">
                <c16:uniqueId val="{0000000B-A0D8-4FF8-BF2D-A6DC7B178F5A}"/>
              </c:ext>
            </c:extLst>
          </c:dPt>
          <c:dPt>
            <c:idx val="4"/>
            <c:invertIfNegative val="1"/>
            <c:bubble3D val="0"/>
            <c:spPr>
              <a:solidFill>
                <a:srgbClr val="E6E5E5"/>
              </a:solidFill>
            </c:spPr>
            <c:extLst>
              <c:ext xmlns:c16="http://schemas.microsoft.com/office/drawing/2014/chart" uri="{C3380CC4-5D6E-409C-BE32-E72D297353CC}">
                <c16:uniqueId val="{0000000C-A0D8-4FF8-BF2D-A6DC7B178F5A}"/>
              </c:ext>
            </c:extLst>
          </c:dPt>
          <c:dPt>
            <c:idx val="5"/>
            <c:invertIfNegative val="1"/>
            <c:bubble3D val="0"/>
            <c:spPr>
              <a:solidFill>
                <a:srgbClr val="E6E5E5"/>
              </a:solidFill>
            </c:spPr>
            <c:extLst>
              <c:ext xmlns:c16="http://schemas.microsoft.com/office/drawing/2014/chart" uri="{C3380CC4-5D6E-409C-BE32-E72D297353CC}">
                <c16:uniqueId val="{0000000D-A0D8-4FF8-BF2D-A6DC7B178F5A}"/>
              </c:ext>
            </c:extLst>
          </c:dPt>
          <c:dPt>
            <c:idx val="6"/>
            <c:invertIfNegative val="1"/>
            <c:bubble3D val="0"/>
            <c:spPr>
              <a:solidFill>
                <a:srgbClr val="E6E5E5"/>
              </a:solidFill>
            </c:spPr>
            <c:extLst>
              <c:ext xmlns:c16="http://schemas.microsoft.com/office/drawing/2014/chart" uri="{C3380CC4-5D6E-409C-BE32-E72D297353CC}">
                <c16:uniqueId val="{0000000E-A0D8-4FF8-BF2D-A6DC7B178F5A}"/>
              </c:ext>
            </c:extLst>
          </c:dPt>
          <c:dPt>
            <c:idx val="7"/>
            <c:invertIfNegative val="1"/>
            <c:bubble3D val="0"/>
            <c:spPr>
              <a:solidFill>
                <a:srgbClr val="E6E5E5"/>
              </a:solidFill>
            </c:spPr>
            <c:extLst>
              <c:ext xmlns:c16="http://schemas.microsoft.com/office/drawing/2014/chart" uri="{C3380CC4-5D6E-409C-BE32-E72D297353CC}">
                <c16:uniqueId val="{0000000F-A0D8-4FF8-BF2D-A6DC7B178F5A}"/>
              </c:ext>
            </c:extLst>
          </c:dPt>
          <c:dPt>
            <c:idx val="8"/>
            <c:invertIfNegative val="1"/>
            <c:bubble3D val="0"/>
            <c:spPr>
              <a:solidFill>
                <a:srgbClr val="E6E5E5"/>
              </a:solidFill>
            </c:spPr>
            <c:extLst>
              <c:ext xmlns:c16="http://schemas.microsoft.com/office/drawing/2014/chart" uri="{C3380CC4-5D6E-409C-BE32-E72D297353CC}">
                <c16:uniqueId val="{00000010-A0D8-4FF8-BF2D-A6DC7B178F5A}"/>
              </c:ext>
            </c:extLst>
          </c:dPt>
          <c:dPt>
            <c:idx val="9"/>
            <c:invertIfNegative val="1"/>
            <c:bubble3D val="0"/>
            <c:spPr>
              <a:solidFill>
                <a:srgbClr val="E6E5E5"/>
              </a:solidFill>
            </c:spPr>
            <c:extLst>
              <c:ext xmlns:c16="http://schemas.microsoft.com/office/drawing/2014/chart" uri="{C3380CC4-5D6E-409C-BE32-E72D297353CC}">
                <c16:uniqueId val="{00000011-A0D8-4FF8-BF2D-A6DC7B178F5A}"/>
              </c:ext>
            </c:extLst>
          </c:dPt>
          <c:dPt>
            <c:idx val="10"/>
            <c:invertIfNegative val="1"/>
            <c:bubble3D val="0"/>
            <c:spPr>
              <a:solidFill>
                <a:srgbClr val="E6E5E5"/>
              </a:solidFill>
            </c:spPr>
            <c:extLst>
              <c:ext xmlns:c16="http://schemas.microsoft.com/office/drawing/2014/chart" uri="{C3380CC4-5D6E-409C-BE32-E72D297353CC}">
                <c16:uniqueId val="{00000001-A0D8-4FF8-BF2D-A6DC7B178F5A}"/>
              </c:ext>
            </c:extLst>
          </c:dPt>
          <c:dPt>
            <c:idx val="11"/>
            <c:invertIfNegative val="0"/>
            <c:bubble3D val="0"/>
            <c:spPr>
              <a:solidFill>
                <a:srgbClr val="E6E5E5"/>
              </a:solidFill>
              <a:ln>
                <a:noFill/>
              </a:ln>
              <a:effectLst/>
            </c:spPr>
            <c:extLst>
              <c:ext xmlns:c16="http://schemas.microsoft.com/office/drawing/2014/chart" uri="{C3380CC4-5D6E-409C-BE32-E72D297353CC}">
                <c16:uniqueId val="{00000003-A0D8-4FF8-BF2D-A6DC7B178F5A}"/>
              </c:ext>
            </c:extLst>
          </c:dPt>
          <c:dPt>
            <c:idx val="12"/>
            <c:invertIfNegative val="1"/>
            <c:bubble3D val="0"/>
            <c:spPr>
              <a:solidFill>
                <a:srgbClr val="E6E5E5"/>
              </a:solidFill>
            </c:spPr>
            <c:extLst>
              <c:ext xmlns:c16="http://schemas.microsoft.com/office/drawing/2014/chart" uri="{C3380CC4-5D6E-409C-BE32-E72D297353CC}">
                <c16:uniqueId val="{00000005-A0D8-4FF8-BF2D-A6DC7B178F5A}"/>
              </c:ext>
            </c:extLst>
          </c:dPt>
          <c:dPt>
            <c:idx val="13"/>
            <c:invertIfNegative val="1"/>
            <c:bubble3D val="0"/>
            <c:spPr>
              <a:solidFill>
                <a:srgbClr val="E6E5E5"/>
              </a:solidFill>
            </c:spPr>
            <c:extLst>
              <c:ext xmlns:c16="http://schemas.microsoft.com/office/drawing/2014/chart" uri="{C3380CC4-5D6E-409C-BE32-E72D297353CC}">
                <c16:uniqueId val="{00000012-A0D8-4FF8-BF2D-A6DC7B178F5A}"/>
              </c:ext>
            </c:extLst>
          </c:dPt>
          <c:dPt>
            <c:idx val="14"/>
            <c:invertIfNegative val="1"/>
            <c:bubble3D val="0"/>
            <c:spPr>
              <a:solidFill>
                <a:srgbClr val="E6E5E5"/>
              </a:solidFill>
            </c:spPr>
            <c:extLst>
              <c:ext xmlns:c16="http://schemas.microsoft.com/office/drawing/2014/chart" uri="{C3380CC4-5D6E-409C-BE32-E72D297353CC}">
                <c16:uniqueId val="{00000013-A0D8-4FF8-BF2D-A6DC7B178F5A}"/>
              </c:ext>
            </c:extLst>
          </c:dPt>
          <c:dPt>
            <c:idx val="15"/>
            <c:invertIfNegative val="1"/>
            <c:bubble3D val="0"/>
            <c:spPr>
              <a:solidFill>
                <a:srgbClr val="E6E5E5"/>
              </a:solidFill>
            </c:spPr>
            <c:extLst>
              <c:ext xmlns:c16="http://schemas.microsoft.com/office/drawing/2014/chart" uri="{C3380CC4-5D6E-409C-BE32-E72D297353CC}">
                <c16:uniqueId val="{00000014-A0D8-4FF8-BF2D-A6DC7B178F5A}"/>
              </c:ext>
            </c:extLst>
          </c:dPt>
          <c:dPt>
            <c:idx val="16"/>
            <c:invertIfNegative val="1"/>
            <c:bubble3D val="0"/>
            <c:spPr>
              <a:solidFill>
                <a:srgbClr val="E6E5E5"/>
              </a:solidFill>
            </c:spPr>
            <c:extLst>
              <c:ext xmlns:c16="http://schemas.microsoft.com/office/drawing/2014/chart" uri="{C3380CC4-5D6E-409C-BE32-E72D297353CC}">
                <c16:uniqueId val="{00000015-A0D8-4FF8-BF2D-A6DC7B178F5A}"/>
              </c:ext>
            </c:extLst>
          </c:dPt>
          <c:dPt>
            <c:idx val="17"/>
            <c:invertIfNegative val="1"/>
            <c:bubble3D val="0"/>
            <c:spPr>
              <a:solidFill>
                <a:srgbClr val="E6E5E5"/>
              </a:solidFill>
            </c:spPr>
            <c:extLst>
              <c:ext xmlns:c16="http://schemas.microsoft.com/office/drawing/2014/chart" uri="{C3380CC4-5D6E-409C-BE32-E72D297353CC}">
                <c16:uniqueId val="{00000016-A0D8-4FF8-BF2D-A6DC7B178F5A}"/>
              </c:ext>
            </c:extLst>
          </c:dPt>
          <c:dPt>
            <c:idx val="18"/>
            <c:invertIfNegative val="1"/>
            <c:bubble3D val="0"/>
            <c:spPr>
              <a:solidFill>
                <a:srgbClr val="E6E5E5"/>
              </a:solidFill>
            </c:spPr>
            <c:extLst>
              <c:ext xmlns:c16="http://schemas.microsoft.com/office/drawing/2014/chart" uri="{C3380CC4-5D6E-409C-BE32-E72D297353CC}">
                <c16:uniqueId val="{00000017-A0D8-4FF8-BF2D-A6DC7B178F5A}"/>
              </c:ext>
            </c:extLst>
          </c:dPt>
          <c:dPt>
            <c:idx val="19"/>
            <c:invertIfNegative val="1"/>
            <c:bubble3D val="0"/>
            <c:spPr>
              <a:solidFill>
                <a:srgbClr val="E6E5E5"/>
              </a:solidFill>
            </c:spPr>
            <c:extLst>
              <c:ext xmlns:c16="http://schemas.microsoft.com/office/drawing/2014/chart" uri="{C3380CC4-5D6E-409C-BE32-E72D297353CC}">
                <c16:uniqueId val="{00000018-A0D8-4FF8-BF2D-A6DC7B178F5A}"/>
              </c:ext>
            </c:extLst>
          </c:dPt>
          <c:dPt>
            <c:idx val="20"/>
            <c:invertIfNegative val="1"/>
            <c:bubble3D val="0"/>
            <c:spPr>
              <a:solidFill>
                <a:srgbClr val="E6E5E5"/>
              </a:solidFill>
            </c:spPr>
            <c:extLst>
              <c:ext xmlns:c16="http://schemas.microsoft.com/office/drawing/2014/chart" uri="{C3380CC4-5D6E-409C-BE32-E72D297353CC}">
                <c16:uniqueId val="{00000019-A0D8-4FF8-BF2D-A6DC7B178F5A}"/>
              </c:ext>
            </c:extLst>
          </c:dPt>
          <c:dPt>
            <c:idx val="21"/>
            <c:invertIfNegative val="1"/>
            <c:bubble3D val="0"/>
            <c:spPr>
              <a:solidFill>
                <a:srgbClr val="E6E5E5"/>
              </a:solidFill>
            </c:spPr>
            <c:extLst>
              <c:ext xmlns:c16="http://schemas.microsoft.com/office/drawing/2014/chart" uri="{C3380CC4-5D6E-409C-BE32-E72D297353CC}">
                <c16:uniqueId val="{0000001A-A0D8-4FF8-BF2D-A6DC7B178F5A}"/>
              </c:ext>
            </c:extLst>
          </c:dPt>
          <c:dPt>
            <c:idx val="22"/>
            <c:invertIfNegative val="1"/>
            <c:bubble3D val="0"/>
            <c:spPr>
              <a:solidFill>
                <a:srgbClr val="E6E5E5"/>
              </a:solidFill>
            </c:spPr>
            <c:extLst>
              <c:ext xmlns:c16="http://schemas.microsoft.com/office/drawing/2014/chart" uri="{C3380CC4-5D6E-409C-BE32-E72D297353CC}">
                <c16:uniqueId val="{0000001B-A0D8-4FF8-BF2D-A6DC7B178F5A}"/>
              </c:ext>
            </c:extLst>
          </c:dPt>
          <c:dPt>
            <c:idx val="23"/>
            <c:invertIfNegative val="1"/>
            <c:bubble3D val="0"/>
            <c:spPr>
              <a:solidFill>
                <a:srgbClr val="E6E5E5"/>
              </a:solidFill>
            </c:spPr>
            <c:extLst>
              <c:ext xmlns:c16="http://schemas.microsoft.com/office/drawing/2014/chart" uri="{C3380CC4-5D6E-409C-BE32-E72D297353CC}">
                <c16:uniqueId val="{0000001C-A0D8-4FF8-BF2D-A6DC7B178F5A}"/>
              </c:ext>
            </c:extLst>
          </c:dPt>
          <c:dPt>
            <c:idx val="24"/>
            <c:invertIfNegative val="1"/>
            <c:bubble3D val="0"/>
            <c:spPr>
              <a:solidFill>
                <a:srgbClr val="E6E5E5"/>
              </a:solidFill>
            </c:spPr>
            <c:extLst>
              <c:ext xmlns:c16="http://schemas.microsoft.com/office/drawing/2014/chart" uri="{C3380CC4-5D6E-409C-BE32-E72D297353CC}">
                <c16:uniqueId val="{0000001D-A0D8-4FF8-BF2D-A6DC7B178F5A}"/>
              </c:ext>
            </c:extLst>
          </c:dPt>
          <c:dPt>
            <c:idx val="25"/>
            <c:invertIfNegative val="1"/>
            <c:bubble3D val="0"/>
            <c:spPr>
              <a:solidFill>
                <a:srgbClr val="E6E5E5"/>
              </a:solidFill>
            </c:spPr>
            <c:extLst>
              <c:ext xmlns:c16="http://schemas.microsoft.com/office/drawing/2014/chart" uri="{C3380CC4-5D6E-409C-BE32-E72D297353CC}">
                <c16:uniqueId val="{0000001E-A0D8-4FF8-BF2D-A6DC7B178F5A}"/>
              </c:ext>
            </c:extLst>
          </c:dPt>
          <c:dPt>
            <c:idx val="26"/>
            <c:invertIfNegative val="1"/>
            <c:bubble3D val="0"/>
            <c:spPr>
              <a:solidFill>
                <a:srgbClr val="E6E5E5"/>
              </a:solidFill>
            </c:spPr>
            <c:extLst>
              <c:ext xmlns:c16="http://schemas.microsoft.com/office/drawing/2014/chart" uri="{C3380CC4-5D6E-409C-BE32-E72D297353CC}">
                <c16:uniqueId val="{0000001F-A0D8-4FF8-BF2D-A6DC7B178F5A}"/>
              </c:ext>
            </c:extLst>
          </c:dPt>
          <c:dPt>
            <c:idx val="27"/>
            <c:invertIfNegative val="1"/>
            <c:bubble3D val="0"/>
            <c:spPr>
              <a:solidFill>
                <a:srgbClr val="E6E5E5"/>
              </a:solidFill>
            </c:spPr>
            <c:extLst>
              <c:ext xmlns:c16="http://schemas.microsoft.com/office/drawing/2014/chart" uri="{C3380CC4-5D6E-409C-BE32-E72D297353CC}">
                <c16:uniqueId val="{00000020-A0D8-4FF8-BF2D-A6DC7B178F5A}"/>
              </c:ext>
            </c:extLst>
          </c:dPt>
          <c:dPt>
            <c:idx val="28"/>
            <c:invertIfNegative val="1"/>
            <c:bubble3D val="0"/>
            <c:spPr>
              <a:solidFill>
                <a:srgbClr val="E6E5E5"/>
              </a:solidFill>
            </c:spPr>
            <c:extLst>
              <c:ext xmlns:c16="http://schemas.microsoft.com/office/drawing/2014/chart" uri="{C3380CC4-5D6E-409C-BE32-E72D297353CC}">
                <c16:uniqueId val="{00000021-A0D8-4FF8-BF2D-A6DC7B178F5A}"/>
              </c:ext>
            </c:extLst>
          </c:dPt>
          <c:dPt>
            <c:idx val="29"/>
            <c:invertIfNegative val="1"/>
            <c:bubble3D val="0"/>
            <c:spPr>
              <a:solidFill>
                <a:srgbClr val="E6E5E5"/>
              </a:solidFill>
            </c:spPr>
            <c:extLst>
              <c:ext xmlns:c16="http://schemas.microsoft.com/office/drawing/2014/chart" uri="{C3380CC4-5D6E-409C-BE32-E72D297353CC}">
                <c16:uniqueId val="{00000022-A0D8-4FF8-BF2D-A6DC7B178F5A}"/>
              </c:ext>
            </c:extLst>
          </c:dPt>
          <c:dPt>
            <c:idx val="30"/>
            <c:invertIfNegative val="1"/>
            <c:bubble3D val="0"/>
            <c:spPr>
              <a:solidFill>
                <a:srgbClr val="E6E5E5"/>
              </a:solidFill>
            </c:spPr>
            <c:extLst>
              <c:ext xmlns:c16="http://schemas.microsoft.com/office/drawing/2014/chart" uri="{C3380CC4-5D6E-409C-BE32-E72D297353CC}">
                <c16:uniqueId val="{00000023-A0D8-4FF8-BF2D-A6DC7B178F5A}"/>
              </c:ext>
            </c:extLst>
          </c:dPt>
          <c:dPt>
            <c:idx val="31"/>
            <c:invertIfNegative val="1"/>
            <c:bubble3D val="0"/>
            <c:spPr>
              <a:solidFill>
                <a:srgbClr val="E6E5E5"/>
              </a:solidFill>
            </c:spPr>
            <c:extLst>
              <c:ext xmlns:c16="http://schemas.microsoft.com/office/drawing/2014/chart" uri="{C3380CC4-5D6E-409C-BE32-E72D297353CC}">
                <c16:uniqueId val="{00000024-A0D8-4FF8-BF2D-A6DC7B178F5A}"/>
              </c:ext>
            </c:extLst>
          </c:dPt>
          <c:dPt>
            <c:idx val="32"/>
            <c:invertIfNegative val="1"/>
            <c:bubble3D val="0"/>
            <c:spPr>
              <a:solidFill>
                <a:srgbClr val="E6E5E5"/>
              </a:solidFill>
            </c:spPr>
            <c:extLst>
              <c:ext xmlns:c16="http://schemas.microsoft.com/office/drawing/2014/chart" uri="{C3380CC4-5D6E-409C-BE32-E72D297353CC}">
                <c16:uniqueId val="{00000025-A0D8-4FF8-BF2D-A6DC7B178F5A}"/>
              </c:ext>
            </c:extLst>
          </c:dPt>
          <c:dPt>
            <c:idx val="33"/>
            <c:invertIfNegative val="1"/>
            <c:bubble3D val="0"/>
            <c:spPr>
              <a:solidFill>
                <a:srgbClr val="E6E5E5"/>
              </a:solidFill>
            </c:spPr>
            <c:extLst>
              <c:ext xmlns:c16="http://schemas.microsoft.com/office/drawing/2014/chart" uri="{C3380CC4-5D6E-409C-BE32-E72D297353CC}">
                <c16:uniqueId val="{00000026-A0D8-4FF8-BF2D-A6DC7B178F5A}"/>
              </c:ext>
            </c:extLst>
          </c:dPt>
          <c:dPt>
            <c:idx val="34"/>
            <c:invertIfNegative val="1"/>
            <c:bubble3D val="0"/>
            <c:spPr>
              <a:solidFill>
                <a:srgbClr val="E6E5E5"/>
              </a:solidFill>
            </c:spPr>
            <c:extLst>
              <c:ext xmlns:c16="http://schemas.microsoft.com/office/drawing/2014/chart" uri="{C3380CC4-5D6E-409C-BE32-E72D297353CC}">
                <c16:uniqueId val="{00000027-A0D8-4FF8-BF2D-A6DC7B178F5A}"/>
              </c:ext>
            </c:extLst>
          </c:dPt>
          <c:dPt>
            <c:idx val="35"/>
            <c:invertIfNegative val="1"/>
            <c:bubble3D val="0"/>
            <c:spPr>
              <a:solidFill>
                <a:srgbClr val="E6E5E5"/>
              </a:solidFill>
            </c:spPr>
            <c:extLst>
              <c:ext xmlns:c16="http://schemas.microsoft.com/office/drawing/2014/chart" uri="{C3380CC4-5D6E-409C-BE32-E72D297353CC}">
                <c16:uniqueId val="{00000028-A0D8-4FF8-BF2D-A6DC7B178F5A}"/>
              </c:ext>
            </c:extLst>
          </c:dPt>
          <c:dPt>
            <c:idx val="36"/>
            <c:invertIfNegative val="1"/>
            <c:bubble3D val="0"/>
            <c:spPr>
              <a:solidFill>
                <a:srgbClr val="E6E5E5"/>
              </a:solidFill>
            </c:spPr>
            <c:extLst>
              <c:ext xmlns:c16="http://schemas.microsoft.com/office/drawing/2014/chart" uri="{C3380CC4-5D6E-409C-BE32-E72D297353CC}">
                <c16:uniqueId val="{00000029-A0D8-4FF8-BF2D-A6DC7B178F5A}"/>
              </c:ext>
            </c:extLst>
          </c:dPt>
          <c:dPt>
            <c:idx val="37"/>
            <c:invertIfNegative val="1"/>
            <c:bubble3D val="0"/>
            <c:spPr>
              <a:solidFill>
                <a:srgbClr val="E6E5E5"/>
              </a:solidFill>
            </c:spPr>
            <c:extLst>
              <c:ext xmlns:c16="http://schemas.microsoft.com/office/drawing/2014/chart" uri="{C3380CC4-5D6E-409C-BE32-E72D297353CC}">
                <c16:uniqueId val="{0000002A-A0D8-4FF8-BF2D-A6DC7B178F5A}"/>
              </c:ext>
            </c:extLst>
          </c:dPt>
          <c:dPt>
            <c:idx val="38"/>
            <c:invertIfNegative val="1"/>
            <c:bubble3D val="0"/>
            <c:spPr>
              <a:solidFill>
                <a:srgbClr val="E6E5E5"/>
              </a:solidFill>
            </c:spPr>
            <c:extLst>
              <c:ext xmlns:c16="http://schemas.microsoft.com/office/drawing/2014/chart" uri="{C3380CC4-5D6E-409C-BE32-E72D297353CC}">
                <c16:uniqueId val="{0000002B-A0D8-4FF8-BF2D-A6DC7B178F5A}"/>
              </c:ext>
            </c:extLst>
          </c:dPt>
          <c:dPt>
            <c:idx val="39"/>
            <c:invertIfNegative val="1"/>
            <c:bubble3D val="0"/>
            <c:spPr>
              <a:solidFill>
                <a:srgbClr val="E6E5E5"/>
              </a:solidFill>
            </c:spPr>
            <c:extLst>
              <c:ext xmlns:c16="http://schemas.microsoft.com/office/drawing/2014/chart" uri="{C3380CC4-5D6E-409C-BE32-E72D297353CC}">
                <c16:uniqueId val="{0000002C-A0D8-4FF8-BF2D-A6DC7B178F5A}"/>
              </c:ext>
            </c:extLst>
          </c:dPt>
          <c:dPt>
            <c:idx val="40"/>
            <c:invertIfNegative val="1"/>
            <c:bubble3D val="0"/>
            <c:spPr>
              <a:solidFill>
                <a:srgbClr val="E6E5E5"/>
              </a:solidFill>
            </c:spPr>
            <c:extLst>
              <c:ext xmlns:c16="http://schemas.microsoft.com/office/drawing/2014/chart" uri="{C3380CC4-5D6E-409C-BE32-E72D297353CC}">
                <c16:uniqueId val="{0000002D-A0D8-4FF8-BF2D-A6DC7B178F5A}"/>
              </c:ext>
            </c:extLst>
          </c:dPt>
          <c:dPt>
            <c:idx val="41"/>
            <c:invertIfNegative val="1"/>
            <c:bubble3D val="0"/>
            <c:spPr>
              <a:solidFill>
                <a:srgbClr val="E6E5E5"/>
              </a:solidFill>
            </c:spPr>
            <c:extLst>
              <c:ext xmlns:c16="http://schemas.microsoft.com/office/drawing/2014/chart" uri="{C3380CC4-5D6E-409C-BE32-E72D297353CC}">
                <c16:uniqueId val="{0000002E-A0D8-4FF8-BF2D-A6DC7B178F5A}"/>
              </c:ext>
            </c:extLst>
          </c:dPt>
          <c:dPt>
            <c:idx val="42"/>
            <c:invertIfNegative val="1"/>
            <c:bubble3D val="0"/>
            <c:spPr>
              <a:solidFill>
                <a:srgbClr val="E6E5E5"/>
              </a:solidFill>
            </c:spPr>
            <c:extLst>
              <c:ext xmlns:c16="http://schemas.microsoft.com/office/drawing/2014/chart" uri="{C3380CC4-5D6E-409C-BE32-E72D297353CC}">
                <c16:uniqueId val="{00000007-A0D8-4FF8-BF2D-A6DC7B178F5A}"/>
              </c:ext>
            </c:extLst>
          </c:dPt>
          <c:dPt>
            <c:idx val="43"/>
            <c:invertIfNegative val="1"/>
            <c:bubble3D val="0"/>
            <c:spPr>
              <a:solidFill>
                <a:srgbClr val="E6E5E5"/>
              </a:solidFill>
            </c:spPr>
            <c:extLst>
              <c:ext xmlns:c16="http://schemas.microsoft.com/office/drawing/2014/chart" uri="{C3380CC4-5D6E-409C-BE32-E72D297353CC}">
                <c16:uniqueId val="{0000002F-A0D8-4FF8-BF2D-A6DC7B178F5A}"/>
              </c:ext>
            </c:extLst>
          </c:dPt>
          <c:dPt>
            <c:idx val="44"/>
            <c:invertIfNegative val="1"/>
            <c:bubble3D val="0"/>
            <c:spPr>
              <a:solidFill>
                <a:srgbClr val="E6E5E5"/>
              </a:solidFill>
            </c:spPr>
            <c:extLst>
              <c:ext xmlns:c16="http://schemas.microsoft.com/office/drawing/2014/chart" uri="{C3380CC4-5D6E-409C-BE32-E72D297353CC}">
                <c16:uniqueId val="{00000030-A0D8-4FF8-BF2D-A6DC7B178F5A}"/>
              </c:ext>
            </c:extLst>
          </c:dPt>
          <c:dPt>
            <c:idx val="45"/>
            <c:invertIfNegative val="1"/>
            <c:bubble3D val="0"/>
            <c:spPr>
              <a:solidFill>
                <a:srgbClr val="E6E5E5"/>
              </a:solidFill>
            </c:spPr>
            <c:extLst>
              <c:ext xmlns:c16="http://schemas.microsoft.com/office/drawing/2014/chart" uri="{C3380CC4-5D6E-409C-BE32-E72D297353CC}">
                <c16:uniqueId val="{00000031-A0D8-4FF8-BF2D-A6DC7B178F5A}"/>
              </c:ext>
            </c:extLst>
          </c:dPt>
          <c:dPt>
            <c:idx val="46"/>
            <c:invertIfNegative val="0"/>
            <c:bubble3D val="0"/>
            <c:spPr>
              <a:solidFill>
                <a:srgbClr val="E6E5E5"/>
              </a:solidFill>
              <a:ln>
                <a:noFill/>
              </a:ln>
              <a:effectLst/>
            </c:spPr>
            <c:extLst>
              <c:ext xmlns:c16="http://schemas.microsoft.com/office/drawing/2014/chart" uri="{C3380CC4-5D6E-409C-BE32-E72D297353CC}">
                <c16:uniqueId val="{00000032-A0D8-4FF8-BF2D-A6DC7B178F5A}"/>
              </c:ext>
            </c:extLst>
          </c:dPt>
          <c:dPt>
            <c:idx val="47"/>
            <c:invertIfNegative val="1"/>
            <c:bubble3D val="0"/>
            <c:spPr>
              <a:solidFill>
                <a:srgbClr val="E6E5E5"/>
              </a:solidFill>
            </c:spPr>
            <c:extLst>
              <c:ext xmlns:c16="http://schemas.microsoft.com/office/drawing/2014/chart" uri="{C3380CC4-5D6E-409C-BE32-E72D297353CC}">
                <c16:uniqueId val="{00000033-A0D8-4FF8-BF2D-A6DC7B178F5A}"/>
              </c:ext>
            </c:extLst>
          </c:dPt>
          <c:dPt>
            <c:idx val="48"/>
            <c:invertIfNegative val="0"/>
            <c:bubble3D val="0"/>
            <c:spPr>
              <a:solidFill>
                <a:srgbClr val="E6E5E5"/>
              </a:solidFill>
              <a:ln>
                <a:noFill/>
              </a:ln>
              <a:effectLst/>
            </c:spPr>
            <c:extLst>
              <c:ext xmlns:c16="http://schemas.microsoft.com/office/drawing/2014/chart" uri="{C3380CC4-5D6E-409C-BE32-E72D297353CC}">
                <c16:uniqueId val="{00000034-A0D8-4FF8-BF2D-A6DC7B178F5A}"/>
              </c:ext>
            </c:extLst>
          </c:dPt>
          <c:dPt>
            <c:idx val="49"/>
            <c:invertIfNegative val="1"/>
            <c:bubble3D val="0"/>
            <c:spPr>
              <a:solidFill>
                <a:srgbClr val="E6E5E5"/>
              </a:solidFill>
            </c:spPr>
            <c:extLst>
              <c:ext xmlns:c16="http://schemas.microsoft.com/office/drawing/2014/chart" uri="{C3380CC4-5D6E-409C-BE32-E72D297353CC}">
                <c16:uniqueId val="{00000035-A0D8-4FF8-BF2D-A6DC7B178F5A}"/>
              </c:ext>
            </c:extLst>
          </c:dPt>
          <c:dPt>
            <c:idx val="50"/>
            <c:invertIfNegative val="1"/>
            <c:bubble3D val="0"/>
            <c:spPr>
              <a:solidFill>
                <a:srgbClr val="E6E5E5"/>
              </a:solidFill>
            </c:spPr>
            <c:extLst>
              <c:ext xmlns:c16="http://schemas.microsoft.com/office/drawing/2014/chart" uri="{C3380CC4-5D6E-409C-BE32-E72D297353CC}">
                <c16:uniqueId val="{00000036-A0D8-4FF8-BF2D-A6DC7B178F5A}"/>
              </c:ext>
            </c:extLst>
          </c:dPt>
          <c:dPt>
            <c:idx val="51"/>
            <c:invertIfNegative val="1"/>
            <c:bubble3D val="0"/>
            <c:spPr>
              <a:solidFill>
                <a:srgbClr val="E6E5E5"/>
              </a:solidFill>
            </c:spPr>
            <c:extLst>
              <c:ext xmlns:c16="http://schemas.microsoft.com/office/drawing/2014/chart" uri="{C3380CC4-5D6E-409C-BE32-E72D297353CC}">
                <c16:uniqueId val="{00000037-A0D8-4FF8-BF2D-A6DC7B178F5A}"/>
              </c:ext>
            </c:extLst>
          </c:dPt>
          <c:dPt>
            <c:idx val="52"/>
            <c:invertIfNegative val="0"/>
            <c:bubble3D val="0"/>
            <c:spPr>
              <a:solidFill>
                <a:srgbClr val="E6E5E5"/>
              </a:solidFill>
              <a:ln>
                <a:noFill/>
              </a:ln>
              <a:effectLst/>
            </c:spPr>
            <c:extLst>
              <c:ext xmlns:c16="http://schemas.microsoft.com/office/drawing/2014/chart" uri="{C3380CC4-5D6E-409C-BE32-E72D297353CC}">
                <c16:uniqueId val="{00000038-A0D8-4FF8-BF2D-A6DC7B178F5A}"/>
              </c:ext>
            </c:extLst>
          </c:dPt>
          <c:dPt>
            <c:idx val="53"/>
            <c:invertIfNegative val="1"/>
            <c:bubble3D val="0"/>
            <c:spPr>
              <a:solidFill>
                <a:srgbClr val="E6E5E5"/>
              </a:solidFill>
            </c:spPr>
            <c:extLst>
              <c:ext xmlns:c16="http://schemas.microsoft.com/office/drawing/2014/chart" uri="{C3380CC4-5D6E-409C-BE32-E72D297353CC}">
                <c16:uniqueId val="{0000006B-B572-4DF2-A18B-EB5D630E70B4}"/>
              </c:ext>
            </c:extLst>
          </c:dPt>
          <c:dPt>
            <c:idx val="54"/>
            <c:invertIfNegative val="1"/>
            <c:bubble3D val="0"/>
            <c:spPr>
              <a:solidFill>
                <a:srgbClr val="E6E5E5"/>
              </a:solidFill>
            </c:spPr>
            <c:extLst>
              <c:ext xmlns:c16="http://schemas.microsoft.com/office/drawing/2014/chart" uri="{C3380CC4-5D6E-409C-BE32-E72D297353CC}">
                <c16:uniqueId val="{0000006D-B572-4DF2-A18B-EB5D630E70B4}"/>
              </c:ext>
            </c:extLst>
          </c:dPt>
          <c:dPt>
            <c:idx val="55"/>
            <c:invertIfNegative val="1"/>
            <c:bubble3D val="0"/>
            <c:spPr>
              <a:solidFill>
                <a:srgbClr val="E6E5E5"/>
              </a:solidFill>
            </c:spPr>
            <c:extLst>
              <c:ext xmlns:c16="http://schemas.microsoft.com/office/drawing/2014/chart" uri="{C3380CC4-5D6E-409C-BE32-E72D297353CC}">
                <c16:uniqueId val="{0000006F-B572-4DF2-A18B-EB5D630E70B4}"/>
              </c:ext>
            </c:extLst>
          </c:dPt>
          <c:dPt>
            <c:idx val="56"/>
            <c:invertIfNegative val="1"/>
            <c:bubble3D val="0"/>
            <c:spPr>
              <a:solidFill>
                <a:srgbClr val="E6E5E5"/>
              </a:solidFill>
            </c:spPr>
            <c:extLst>
              <c:ext xmlns:c16="http://schemas.microsoft.com/office/drawing/2014/chart" uri="{C3380CC4-5D6E-409C-BE32-E72D297353CC}">
                <c16:uniqueId val="{00000071-B572-4DF2-A18B-EB5D630E70B4}"/>
              </c:ext>
            </c:extLst>
          </c:dPt>
          <c:dPt>
            <c:idx val="57"/>
            <c:invertIfNegative val="1"/>
            <c:bubble3D val="0"/>
            <c:spPr>
              <a:solidFill>
                <a:srgbClr val="E6E5E5"/>
              </a:solidFill>
            </c:spPr>
            <c:extLst>
              <c:ext xmlns:c16="http://schemas.microsoft.com/office/drawing/2014/chart" uri="{C3380CC4-5D6E-409C-BE32-E72D297353CC}">
                <c16:uniqueId val="{00000073-B572-4DF2-A18B-EB5D630E70B4}"/>
              </c:ext>
            </c:extLst>
          </c:dPt>
          <c:dPt>
            <c:idx val="58"/>
            <c:invertIfNegative val="1"/>
            <c:bubble3D val="0"/>
            <c:spPr>
              <a:solidFill>
                <a:srgbClr val="E6E5E5"/>
              </a:solidFill>
            </c:spPr>
            <c:extLst>
              <c:ext xmlns:c16="http://schemas.microsoft.com/office/drawing/2014/chart" uri="{C3380CC4-5D6E-409C-BE32-E72D297353CC}">
                <c16:uniqueId val="{00000075-B572-4DF2-A18B-EB5D630E70B4}"/>
              </c:ext>
            </c:extLst>
          </c:dPt>
          <c:dPt>
            <c:idx val="59"/>
            <c:invertIfNegative val="1"/>
            <c:bubble3D val="0"/>
            <c:spPr>
              <a:solidFill>
                <a:srgbClr val="E6E5E5"/>
              </a:solidFill>
            </c:spPr>
            <c:extLst>
              <c:ext xmlns:c16="http://schemas.microsoft.com/office/drawing/2014/chart" uri="{C3380CC4-5D6E-409C-BE32-E72D297353CC}">
                <c16:uniqueId val="{00000077-B572-4DF2-A18B-EB5D630E70B4}"/>
              </c:ext>
            </c:extLst>
          </c:dPt>
          <c:dPt>
            <c:idx val="60"/>
            <c:invertIfNegative val="1"/>
            <c:bubble3D val="0"/>
            <c:spPr>
              <a:solidFill>
                <a:srgbClr val="E6E5E5"/>
              </a:solidFill>
            </c:spPr>
            <c:extLst>
              <c:ext xmlns:c16="http://schemas.microsoft.com/office/drawing/2014/chart" uri="{C3380CC4-5D6E-409C-BE32-E72D297353CC}">
                <c16:uniqueId val="{00000079-B572-4DF2-A18B-EB5D630E70B4}"/>
              </c:ext>
            </c:extLst>
          </c:dPt>
          <c:dPt>
            <c:idx val="61"/>
            <c:invertIfNegative val="1"/>
            <c:bubble3D val="0"/>
            <c:spPr>
              <a:solidFill>
                <a:srgbClr val="E6E5E5"/>
              </a:solidFill>
            </c:spPr>
            <c:extLst>
              <c:ext xmlns:c16="http://schemas.microsoft.com/office/drawing/2014/chart" uri="{C3380CC4-5D6E-409C-BE32-E72D297353CC}">
                <c16:uniqueId val="{0000007B-B572-4DF2-A18B-EB5D630E70B4}"/>
              </c:ext>
            </c:extLst>
          </c:dPt>
          <c:dPt>
            <c:idx val="62"/>
            <c:invertIfNegative val="1"/>
            <c:bubble3D val="0"/>
            <c:spPr>
              <a:solidFill>
                <a:srgbClr val="E6E5E5"/>
              </a:solidFill>
            </c:spPr>
            <c:extLst>
              <c:ext xmlns:c16="http://schemas.microsoft.com/office/drawing/2014/chart" uri="{C3380CC4-5D6E-409C-BE32-E72D297353CC}">
                <c16:uniqueId val="{0000007D-B572-4DF2-A18B-EB5D630E70B4}"/>
              </c:ext>
            </c:extLst>
          </c:dPt>
          <c:dPt>
            <c:idx val="63"/>
            <c:invertIfNegative val="1"/>
            <c:bubble3D val="0"/>
            <c:spPr>
              <a:solidFill>
                <a:srgbClr val="E6E5E5"/>
              </a:solidFill>
            </c:spPr>
            <c:extLst>
              <c:ext xmlns:c16="http://schemas.microsoft.com/office/drawing/2014/chart" uri="{C3380CC4-5D6E-409C-BE32-E72D297353CC}">
                <c16:uniqueId val="{0000007F-B572-4DF2-A18B-EB5D630E70B4}"/>
              </c:ext>
            </c:extLst>
          </c:dPt>
          <c:dPt>
            <c:idx val="64"/>
            <c:invertIfNegative val="1"/>
            <c:bubble3D val="0"/>
            <c:spPr>
              <a:solidFill>
                <a:srgbClr val="E6E5E5"/>
              </a:solidFill>
            </c:spPr>
            <c:extLst>
              <c:ext xmlns:c16="http://schemas.microsoft.com/office/drawing/2014/chart" uri="{C3380CC4-5D6E-409C-BE32-E72D297353CC}">
                <c16:uniqueId val="{00000081-B572-4DF2-A18B-EB5D630E70B4}"/>
              </c:ext>
            </c:extLst>
          </c:dPt>
          <c:dPt>
            <c:idx val="65"/>
            <c:invertIfNegative val="1"/>
            <c:bubble3D val="0"/>
            <c:spPr>
              <a:solidFill>
                <a:srgbClr val="E6E5E5"/>
              </a:solidFill>
            </c:spPr>
            <c:extLst>
              <c:ext xmlns:c16="http://schemas.microsoft.com/office/drawing/2014/chart" uri="{C3380CC4-5D6E-409C-BE32-E72D297353CC}">
                <c16:uniqueId val="{00000083-B572-4DF2-A18B-EB5D630E70B4}"/>
              </c:ext>
            </c:extLst>
          </c:dPt>
          <c:dPt>
            <c:idx val="66"/>
            <c:invertIfNegative val="1"/>
            <c:bubble3D val="0"/>
            <c:spPr>
              <a:solidFill>
                <a:srgbClr val="E6E5E5"/>
              </a:solidFill>
            </c:spPr>
            <c:extLst>
              <c:ext xmlns:c16="http://schemas.microsoft.com/office/drawing/2014/chart" uri="{C3380CC4-5D6E-409C-BE32-E72D297353CC}">
                <c16:uniqueId val="{00000085-B572-4DF2-A18B-EB5D630E70B4}"/>
              </c:ext>
            </c:extLst>
          </c:dPt>
          <c:dPt>
            <c:idx val="67"/>
            <c:invertIfNegative val="1"/>
            <c:bubble3D val="0"/>
            <c:spPr>
              <a:solidFill>
                <a:srgbClr val="E6E5E5"/>
              </a:solidFill>
            </c:spPr>
            <c:extLst>
              <c:ext xmlns:c16="http://schemas.microsoft.com/office/drawing/2014/chart" uri="{C3380CC4-5D6E-409C-BE32-E72D297353CC}">
                <c16:uniqueId val="{00000087-B572-4DF2-A18B-EB5D630E70B4}"/>
              </c:ext>
            </c:extLst>
          </c:dPt>
          <c:dPt>
            <c:idx val="68"/>
            <c:invertIfNegative val="1"/>
            <c:bubble3D val="0"/>
            <c:spPr>
              <a:solidFill>
                <a:srgbClr val="E6E5E5"/>
              </a:solidFill>
            </c:spPr>
            <c:extLst>
              <c:ext xmlns:c16="http://schemas.microsoft.com/office/drawing/2014/chart" uri="{C3380CC4-5D6E-409C-BE32-E72D297353CC}">
                <c16:uniqueId val="{00000089-B572-4DF2-A18B-EB5D630E70B4}"/>
              </c:ext>
            </c:extLst>
          </c:dPt>
          <c:dPt>
            <c:idx val="69"/>
            <c:invertIfNegative val="1"/>
            <c:bubble3D val="0"/>
            <c:spPr>
              <a:solidFill>
                <a:srgbClr val="E6E5E5"/>
              </a:solidFill>
            </c:spPr>
            <c:extLst>
              <c:ext xmlns:c16="http://schemas.microsoft.com/office/drawing/2014/chart" uri="{C3380CC4-5D6E-409C-BE32-E72D297353CC}">
                <c16:uniqueId val="{0000008B-B572-4DF2-A18B-EB5D630E70B4}"/>
              </c:ext>
            </c:extLst>
          </c:dPt>
          <c:dPt>
            <c:idx val="70"/>
            <c:invertIfNegative val="1"/>
            <c:bubble3D val="0"/>
            <c:spPr>
              <a:solidFill>
                <a:srgbClr val="E6E5E5"/>
              </a:solidFill>
            </c:spPr>
            <c:extLst>
              <c:ext xmlns:c16="http://schemas.microsoft.com/office/drawing/2014/chart" uri="{C3380CC4-5D6E-409C-BE32-E72D297353CC}">
                <c16:uniqueId val="{0000008D-B572-4DF2-A18B-EB5D630E70B4}"/>
              </c:ext>
            </c:extLst>
          </c:dPt>
          <c:dPt>
            <c:idx val="71"/>
            <c:invertIfNegative val="1"/>
            <c:bubble3D val="0"/>
            <c:spPr>
              <a:solidFill>
                <a:srgbClr val="E6E5E5"/>
              </a:solidFill>
            </c:spPr>
            <c:extLst>
              <c:ext xmlns:c16="http://schemas.microsoft.com/office/drawing/2014/chart" uri="{C3380CC4-5D6E-409C-BE32-E72D297353CC}">
                <c16:uniqueId val="{0000008F-B572-4DF2-A18B-EB5D630E70B4}"/>
              </c:ext>
            </c:extLst>
          </c:dPt>
          <c:dPt>
            <c:idx val="72"/>
            <c:invertIfNegative val="1"/>
            <c:bubble3D val="0"/>
            <c:spPr>
              <a:solidFill>
                <a:srgbClr val="E6E5E5"/>
              </a:solidFill>
            </c:spPr>
            <c:extLst>
              <c:ext xmlns:c16="http://schemas.microsoft.com/office/drawing/2014/chart" uri="{C3380CC4-5D6E-409C-BE32-E72D297353CC}">
                <c16:uniqueId val="{00000091-B572-4DF2-A18B-EB5D630E70B4}"/>
              </c:ext>
            </c:extLst>
          </c:dPt>
          <c:dPt>
            <c:idx val="73"/>
            <c:invertIfNegative val="1"/>
            <c:bubble3D val="0"/>
            <c:spPr>
              <a:solidFill>
                <a:srgbClr val="E6E5E5"/>
              </a:solidFill>
            </c:spPr>
            <c:extLst>
              <c:ext xmlns:c16="http://schemas.microsoft.com/office/drawing/2014/chart" uri="{C3380CC4-5D6E-409C-BE32-E72D297353CC}">
                <c16:uniqueId val="{00000093-B572-4DF2-A18B-EB5D630E70B4}"/>
              </c:ext>
            </c:extLst>
          </c:dPt>
          <c:dPt>
            <c:idx val="74"/>
            <c:invertIfNegative val="1"/>
            <c:bubble3D val="0"/>
            <c:spPr>
              <a:solidFill>
                <a:srgbClr val="E6E5E5"/>
              </a:solidFill>
            </c:spPr>
            <c:extLst>
              <c:ext xmlns:c16="http://schemas.microsoft.com/office/drawing/2014/chart" uri="{C3380CC4-5D6E-409C-BE32-E72D297353CC}">
                <c16:uniqueId val="{00000095-B572-4DF2-A18B-EB5D630E70B4}"/>
              </c:ext>
            </c:extLst>
          </c:dPt>
          <c:dPt>
            <c:idx val="75"/>
            <c:invertIfNegative val="1"/>
            <c:bubble3D val="0"/>
            <c:spPr>
              <a:solidFill>
                <a:srgbClr val="E6E5E5"/>
              </a:solidFill>
            </c:spPr>
            <c:extLst>
              <c:ext xmlns:c16="http://schemas.microsoft.com/office/drawing/2014/chart" uri="{C3380CC4-5D6E-409C-BE32-E72D297353CC}">
                <c16:uniqueId val="{00000097-B572-4DF2-A18B-EB5D630E70B4}"/>
              </c:ext>
            </c:extLst>
          </c:dPt>
          <c:dPt>
            <c:idx val="76"/>
            <c:invertIfNegative val="1"/>
            <c:bubble3D val="0"/>
            <c:spPr>
              <a:solidFill>
                <a:srgbClr val="E6E5E5"/>
              </a:solidFill>
            </c:spPr>
            <c:extLst>
              <c:ext xmlns:c16="http://schemas.microsoft.com/office/drawing/2014/chart" uri="{C3380CC4-5D6E-409C-BE32-E72D297353CC}">
                <c16:uniqueId val="{00000099-B572-4DF2-A18B-EB5D630E70B4}"/>
              </c:ext>
            </c:extLst>
          </c:dPt>
          <c:dPt>
            <c:idx val="77"/>
            <c:invertIfNegative val="1"/>
            <c:bubble3D val="0"/>
            <c:spPr>
              <a:solidFill>
                <a:srgbClr val="E6E5E5"/>
              </a:solidFill>
            </c:spPr>
            <c:extLst>
              <c:ext xmlns:c16="http://schemas.microsoft.com/office/drawing/2014/chart" uri="{C3380CC4-5D6E-409C-BE32-E72D297353CC}">
                <c16:uniqueId val="{0000009B-B572-4DF2-A18B-EB5D630E70B4}"/>
              </c:ext>
            </c:extLst>
          </c:dPt>
          <c:dPt>
            <c:idx val="78"/>
            <c:invertIfNegative val="1"/>
            <c:bubble3D val="0"/>
            <c:spPr>
              <a:solidFill>
                <a:srgbClr val="E6E5E5"/>
              </a:solidFill>
            </c:spPr>
            <c:extLst>
              <c:ext xmlns:c16="http://schemas.microsoft.com/office/drawing/2014/chart" uri="{C3380CC4-5D6E-409C-BE32-E72D297353CC}">
                <c16:uniqueId val="{0000009D-B572-4DF2-A18B-EB5D630E70B4}"/>
              </c:ext>
            </c:extLst>
          </c:dPt>
          <c:dPt>
            <c:idx val="79"/>
            <c:invertIfNegative val="1"/>
            <c:bubble3D val="0"/>
            <c:spPr>
              <a:solidFill>
                <a:srgbClr val="E6E5E5"/>
              </a:solidFill>
            </c:spPr>
            <c:extLst>
              <c:ext xmlns:c16="http://schemas.microsoft.com/office/drawing/2014/chart" uri="{C3380CC4-5D6E-409C-BE32-E72D297353CC}">
                <c16:uniqueId val="{0000009F-B572-4DF2-A18B-EB5D630E70B4}"/>
              </c:ext>
            </c:extLst>
          </c:dPt>
          <c:dPt>
            <c:idx val="80"/>
            <c:invertIfNegative val="1"/>
            <c:bubble3D val="0"/>
            <c:spPr>
              <a:solidFill>
                <a:srgbClr val="E6E5E5"/>
              </a:solidFill>
            </c:spPr>
            <c:extLst>
              <c:ext xmlns:c16="http://schemas.microsoft.com/office/drawing/2014/chart" uri="{C3380CC4-5D6E-409C-BE32-E72D297353CC}">
                <c16:uniqueId val="{000000A1-B572-4DF2-A18B-EB5D630E70B4}"/>
              </c:ext>
            </c:extLst>
          </c:dPt>
          <c:dPt>
            <c:idx val="81"/>
            <c:invertIfNegative val="1"/>
            <c:bubble3D val="0"/>
            <c:spPr>
              <a:solidFill>
                <a:srgbClr val="E6E5E5"/>
              </a:solidFill>
            </c:spPr>
            <c:extLst>
              <c:ext xmlns:c16="http://schemas.microsoft.com/office/drawing/2014/chart" uri="{C3380CC4-5D6E-409C-BE32-E72D297353CC}">
                <c16:uniqueId val="{000000A3-B572-4DF2-A18B-EB5D630E70B4}"/>
              </c:ext>
            </c:extLst>
          </c:dPt>
          <c:dPt>
            <c:idx val="82"/>
            <c:invertIfNegative val="1"/>
            <c:bubble3D val="0"/>
            <c:spPr>
              <a:solidFill>
                <a:srgbClr val="E6E5E5"/>
              </a:solidFill>
            </c:spPr>
            <c:extLst>
              <c:ext xmlns:c16="http://schemas.microsoft.com/office/drawing/2014/chart" uri="{C3380CC4-5D6E-409C-BE32-E72D297353CC}">
                <c16:uniqueId val="{000000A5-B572-4DF2-A18B-EB5D630E70B4}"/>
              </c:ext>
            </c:extLst>
          </c:dPt>
          <c:dPt>
            <c:idx val="83"/>
            <c:invertIfNegative val="1"/>
            <c:bubble3D val="0"/>
            <c:spPr>
              <a:solidFill>
                <a:srgbClr val="E6E5E5"/>
              </a:solidFill>
            </c:spPr>
            <c:extLst>
              <c:ext xmlns:c16="http://schemas.microsoft.com/office/drawing/2014/chart" uri="{C3380CC4-5D6E-409C-BE32-E72D297353CC}">
                <c16:uniqueId val="{000000A7-B572-4DF2-A18B-EB5D630E70B4}"/>
              </c:ext>
            </c:extLst>
          </c:dPt>
          <c:dPt>
            <c:idx val="84"/>
            <c:invertIfNegative val="1"/>
            <c:bubble3D val="0"/>
            <c:spPr>
              <a:solidFill>
                <a:srgbClr val="E6E5E5"/>
              </a:solidFill>
            </c:spPr>
            <c:extLst>
              <c:ext xmlns:c16="http://schemas.microsoft.com/office/drawing/2014/chart" uri="{C3380CC4-5D6E-409C-BE32-E72D297353CC}">
                <c16:uniqueId val="{000000A9-B572-4DF2-A18B-EB5D630E70B4}"/>
              </c:ext>
            </c:extLst>
          </c:dPt>
          <c:dPt>
            <c:idx val="85"/>
            <c:invertIfNegative val="1"/>
            <c:bubble3D val="0"/>
            <c:spPr>
              <a:solidFill>
                <a:srgbClr val="E6E5E5"/>
              </a:solidFill>
            </c:spPr>
            <c:extLst>
              <c:ext xmlns:c16="http://schemas.microsoft.com/office/drawing/2014/chart" uri="{C3380CC4-5D6E-409C-BE32-E72D297353CC}">
                <c16:uniqueId val="{000000AB-B572-4DF2-A18B-EB5D630E70B4}"/>
              </c:ext>
            </c:extLst>
          </c:dPt>
          <c:dPt>
            <c:idx val="86"/>
            <c:invertIfNegative val="1"/>
            <c:bubble3D val="0"/>
            <c:spPr>
              <a:solidFill>
                <a:srgbClr val="E6E5E5"/>
              </a:solidFill>
            </c:spPr>
            <c:extLst>
              <c:ext xmlns:c16="http://schemas.microsoft.com/office/drawing/2014/chart" uri="{C3380CC4-5D6E-409C-BE32-E72D297353CC}">
                <c16:uniqueId val="{000000AD-B572-4DF2-A18B-EB5D630E70B4}"/>
              </c:ext>
            </c:extLst>
          </c:dPt>
          <c:dPt>
            <c:idx val="87"/>
            <c:invertIfNegative val="1"/>
            <c:bubble3D val="0"/>
            <c:spPr>
              <a:solidFill>
                <a:srgbClr val="E6E5E5"/>
              </a:solidFill>
            </c:spPr>
            <c:extLst>
              <c:ext xmlns:c16="http://schemas.microsoft.com/office/drawing/2014/chart" uri="{C3380CC4-5D6E-409C-BE32-E72D297353CC}">
                <c16:uniqueId val="{000000AF-B572-4DF2-A18B-EB5D630E70B4}"/>
              </c:ext>
            </c:extLst>
          </c:dPt>
          <c:dPt>
            <c:idx val="88"/>
            <c:invertIfNegative val="1"/>
            <c:bubble3D val="0"/>
            <c:spPr>
              <a:solidFill>
                <a:srgbClr val="E6E5E5"/>
              </a:solidFill>
            </c:spPr>
            <c:extLst>
              <c:ext xmlns:c16="http://schemas.microsoft.com/office/drawing/2014/chart" uri="{C3380CC4-5D6E-409C-BE32-E72D297353CC}">
                <c16:uniqueId val="{000000B1-B572-4DF2-A18B-EB5D630E70B4}"/>
              </c:ext>
            </c:extLst>
          </c:dPt>
          <c:dPt>
            <c:idx val="89"/>
            <c:invertIfNegative val="1"/>
            <c:bubble3D val="0"/>
            <c:spPr>
              <a:solidFill>
                <a:srgbClr val="E6E5E5"/>
              </a:solidFill>
            </c:spPr>
            <c:extLst>
              <c:ext xmlns:c16="http://schemas.microsoft.com/office/drawing/2014/chart" uri="{C3380CC4-5D6E-409C-BE32-E72D297353CC}">
                <c16:uniqueId val="{000000B3-B572-4DF2-A18B-EB5D630E70B4}"/>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A0D8-4FF8-BF2D-A6DC7B178F5A}"/>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A0D8-4FF8-BF2D-A6DC7B178F5A}"/>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A0D8-4FF8-BF2D-A6DC7B178F5A}"/>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A0D8-4FF8-BF2D-A6DC7B178F5A}"/>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A0D8-4FF8-BF2D-A6DC7B178F5A}"/>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A0D8-4FF8-BF2D-A6DC7B178F5A}"/>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A0D8-4FF8-BF2D-A6DC7B178F5A}"/>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A0D8-4FF8-BF2D-A6DC7B178F5A}"/>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A0D8-4FF8-BF2D-A6DC7B178F5A}"/>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A0D8-4FF8-BF2D-A6DC7B178F5A}"/>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A0D8-4FF8-BF2D-A6DC7B178F5A}"/>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A0D8-4FF8-BF2D-A6DC7B178F5A}"/>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A0D8-4FF8-BF2D-A6DC7B178F5A}"/>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A0D8-4FF8-BF2D-A6DC7B178F5A}"/>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A0D8-4FF8-BF2D-A6DC7B178F5A}"/>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A0D8-4FF8-BF2D-A6DC7B178F5A}"/>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A0D8-4FF8-BF2D-A6DC7B178F5A}"/>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A0D8-4FF8-BF2D-A6DC7B178F5A}"/>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A0D8-4FF8-BF2D-A6DC7B178F5A}"/>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A0D8-4FF8-BF2D-A6DC7B178F5A}"/>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A0D8-4FF8-BF2D-A6DC7B178F5A}"/>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A0D8-4FF8-BF2D-A6DC7B178F5A}"/>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A0D8-4FF8-BF2D-A6DC7B178F5A}"/>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A0D8-4FF8-BF2D-A6DC7B178F5A}"/>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A0D8-4FF8-BF2D-A6DC7B178F5A}"/>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A0D8-4FF8-BF2D-A6DC7B178F5A}"/>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A0D8-4FF8-BF2D-A6DC7B178F5A}"/>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A0D8-4FF8-BF2D-A6DC7B178F5A}"/>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A0D8-4FF8-BF2D-A6DC7B178F5A}"/>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A0D8-4FF8-BF2D-A6DC7B178F5A}"/>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A0D8-4FF8-BF2D-A6DC7B178F5A}"/>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A0D8-4FF8-BF2D-A6DC7B178F5A}"/>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A0D8-4FF8-BF2D-A6DC7B178F5A}"/>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A0D8-4FF8-BF2D-A6DC7B178F5A}"/>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A0D8-4FF8-BF2D-A6DC7B178F5A}"/>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A0D8-4FF8-BF2D-A6DC7B178F5A}"/>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A0D8-4FF8-BF2D-A6DC7B178F5A}"/>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A0D8-4FF8-BF2D-A6DC7B178F5A}"/>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A0D8-4FF8-BF2D-A6DC7B178F5A}"/>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A0D8-4FF8-BF2D-A6DC7B178F5A}"/>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A0D8-4FF8-BF2D-A6DC7B178F5A}"/>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A0D8-4FF8-BF2D-A6DC7B178F5A}"/>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A0D8-4FF8-BF2D-A6DC7B178F5A}"/>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A0D8-4FF8-BF2D-A6DC7B178F5A}"/>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A0D8-4FF8-BF2D-A6DC7B178F5A}"/>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A0D8-4FF8-BF2D-A6DC7B178F5A}"/>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A0D8-4FF8-BF2D-A6DC7B178F5A}"/>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A0D8-4FF8-BF2D-A6DC7B178F5A}"/>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A0D8-4FF8-BF2D-A6DC7B178F5A}"/>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A0D8-4FF8-BF2D-A6DC7B178F5A}"/>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A0D8-4FF8-BF2D-A6DC7B178F5A}"/>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A0D8-4FF8-BF2D-A6DC7B178F5A}"/>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A0D8-4FF8-BF2D-A6DC7B178F5A}"/>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B572-4DF2-A18B-EB5D630E70B4}"/>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B572-4DF2-A18B-EB5D630E70B4}"/>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B572-4DF2-A18B-EB5D630E70B4}"/>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B572-4DF2-A18B-EB5D630E70B4}"/>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B572-4DF2-A18B-EB5D630E70B4}"/>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B572-4DF2-A18B-EB5D630E70B4}"/>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B572-4DF2-A18B-EB5D630E70B4}"/>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B572-4DF2-A18B-EB5D630E70B4}"/>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B572-4DF2-A18B-EB5D630E70B4}"/>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B572-4DF2-A18B-EB5D630E70B4}"/>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B572-4DF2-A18B-EB5D630E70B4}"/>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B572-4DF2-A18B-EB5D630E70B4}"/>
                </c:ext>
              </c:extLst>
            </c:dLbl>
            <c:dLbl>
              <c:idx val="6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B572-4DF2-A18B-EB5D630E70B4}"/>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B572-4DF2-A18B-EB5D630E70B4}"/>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B572-4DF2-A18B-EB5D630E70B4}"/>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B572-4DF2-A18B-EB5D630E70B4}"/>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B572-4DF2-A18B-EB5D630E70B4}"/>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B572-4DF2-A18B-EB5D630E70B4}"/>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B572-4DF2-A18B-EB5D630E70B4}"/>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B572-4DF2-A18B-EB5D630E70B4}"/>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B572-4DF2-A18B-EB5D630E70B4}"/>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B572-4DF2-A18B-EB5D630E70B4}"/>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B572-4DF2-A18B-EB5D630E70B4}"/>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B572-4DF2-A18B-EB5D630E70B4}"/>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B572-4DF2-A18B-EB5D630E70B4}"/>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B572-4DF2-A18B-EB5D630E70B4}"/>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B572-4DF2-A18B-EB5D630E70B4}"/>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B572-4DF2-A18B-EB5D630E70B4}"/>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B572-4DF2-A18B-EB5D630E70B4}"/>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B572-4DF2-A18B-EB5D630E70B4}"/>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B572-4DF2-A18B-EB5D630E70B4}"/>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B572-4DF2-A18B-EB5D630E70B4}"/>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B572-4DF2-A18B-EB5D630E70B4}"/>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B572-4DF2-A18B-EB5D630E70B4}"/>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B572-4DF2-A18B-EB5D630E70B4}"/>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B572-4DF2-A18B-EB5D630E70B4}"/>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9</c:f>
              <c:strCache>
                <c:ptCount val="78"/>
                <c:pt idx="0">
                  <c:v>Galaxy Jewels 1.4kg</c:v>
                </c:pt>
                <c:pt idx="1">
                  <c:v>Ferrero Rocher 300g</c:v>
                </c:pt>
                <c:pt idx="2">
                  <c:v>Galaxy Smooth Milk Chocolate 36g x 24</c:v>
                </c:pt>
                <c:pt idx="3">
                  <c:v>Galaxy Jewels 900g</c:v>
                </c:pt>
                <c:pt idx="4">
                  <c:v>Galaxy Jewels 650g</c:v>
                </c:pt>
                <c:pt idx="5">
                  <c:v>Cadbury Dairy Milk Minis Selection 500g</c:v>
                </c:pt>
                <c:pt idx="6">
                  <c:v>Kit Kat 17.7g x 18</c:v>
                </c:pt>
                <c:pt idx="7">
                  <c:v>Kinder Bueno Milk&amp;Hazelnut 43g</c:v>
                </c:pt>
                <c:pt idx="8">
                  <c:v>Tiffany Break Supa 38gx12</c:v>
                </c:pt>
                <c:pt idx="9">
                  <c:v>Snickers 50gx6</c:v>
                </c:pt>
                <c:pt idx="10">
                  <c:v>Tiffany Break 24x15.5g</c:v>
                </c:pt>
                <c:pt idx="11">
                  <c:v>Tiffany Break Mini Fun 384g</c:v>
                </c:pt>
                <c:pt idx="12">
                  <c:v>Kinder Bueno Milk&amp;Hazelnut 43gx10</c:v>
                </c:pt>
                <c:pt idx="13">
                  <c:v>Mackintosh Quality Street Chocolate 600g</c:v>
                </c:pt>
                <c:pt idx="14">
                  <c:v>Snickers Bar 50g</c:v>
                </c:pt>
                <c:pt idx="15">
                  <c:v>Maltesers Chocolate 175g</c:v>
                </c:pt>
                <c:pt idx="16">
                  <c:v>Tiffany Break 31gx12</c:v>
                </c:pt>
                <c:pt idx="17">
                  <c:v>Tiffany Break Delight 25gx12</c:v>
                </c:pt>
                <c:pt idx="18">
                  <c:v>Snickers Minis Bag 252g</c:v>
                </c:pt>
                <c:pt idx="19">
                  <c:v>Cadbury Miniatures Box 400g</c:v>
                </c:pt>
                <c:pt idx="20">
                  <c:v>Bounty Bar 57g</c:v>
                </c:pt>
                <c:pt idx="21">
                  <c:v>Galaxy Smooth Milk Minis 237.5g</c:v>
                </c:pt>
                <c:pt idx="22">
                  <c:v>Bounty Bar 57g x 5</c:v>
                </c:pt>
                <c:pt idx="23">
                  <c:v>Ferrero Rocher 200g</c:v>
                </c:pt>
                <c:pt idx="24">
                  <c:v>Kinder Maxi Chocolate 21gx11 (10+1)</c:v>
                </c:pt>
                <c:pt idx="25">
                  <c:v>Ferrero Raffaello 150g box </c:v>
                </c:pt>
                <c:pt idx="26">
                  <c:v>Galaxy Hazelnut Minis 237.5g</c:v>
                </c:pt>
                <c:pt idx="27">
                  <c:v>Twix 50gx5</c:v>
                </c:pt>
                <c:pt idx="28">
                  <c:v>Twix Bar 50g</c:v>
                </c:pt>
                <c:pt idx="29">
                  <c:v>Maltesers Chocolate 37g</c:v>
                </c:pt>
                <c:pt idx="30">
                  <c:v>Snickers Miniatures 150g</c:v>
                </c:pt>
                <c:pt idx="31">
                  <c:v>Cadbury Flake Minis Bag 159.5g</c:v>
                </c:pt>
                <c:pt idx="32">
                  <c:v>M&amp;M's Peanut 165g</c:v>
                </c:pt>
                <c:pt idx="33">
                  <c:v>Twix Miniatures 150g</c:v>
                </c:pt>
                <c:pt idx="34">
                  <c:v>Cadbury Timeout Minis Wafer 247.2g</c:v>
                </c:pt>
                <c:pt idx="35">
                  <c:v>Toblerone Milk Chocolate 200g</c:v>
                </c:pt>
                <c:pt idx="36">
                  <c:v>Galaxy Smooth Milk Minis 162.5g</c:v>
                </c:pt>
                <c:pt idx="37">
                  <c:v>Mars 45g x 6</c:v>
                </c:pt>
                <c:pt idx="38">
                  <c:v>Bounty Miniatures 150g</c:v>
                </c:pt>
                <c:pt idx="39">
                  <c:v>Kinder Chocolate Bar 8x12.5g</c:v>
                </c:pt>
                <c:pt idx="40">
                  <c:v>Galaxy Smooth Dark Chocolate 40g</c:v>
                </c:pt>
                <c:pt idx="41">
                  <c:v>Mars Bar 51g </c:v>
                </c:pt>
                <c:pt idx="42">
                  <c:v>Hershey's Kisses Special Selection Assorted 325g</c:v>
                </c:pt>
                <c:pt idx="43">
                  <c:v>Galaxy Hazelnut Chocolate 36g</c:v>
                </c:pt>
                <c:pt idx="44">
                  <c:v>Galaxy Smooth Milk Chocolate 36g</c:v>
                </c:pt>
                <c:pt idx="45">
                  <c:v>Galaxy Caramel Bar 40g</c:v>
                </c:pt>
                <c:pt idx="46">
                  <c:v>Kinder Chocolate Bar 50g</c:v>
                </c:pt>
                <c:pt idx="47">
                  <c:v>Kinder Bueno White 39g</c:v>
                </c:pt>
                <c:pt idx="48">
                  <c:v>Hershey's Kisses Classic Selection Assorted 325g</c:v>
                </c:pt>
                <c:pt idx="49">
                  <c:v>Galaxy Crispy Milk Chocolate 36g</c:v>
                </c:pt>
                <c:pt idx="50">
                  <c:v> Reeses Peanut Butter Cup Mini 340g </c:v>
                </c:pt>
                <c:pt idx="51">
                  <c:v>Kit Kat 17.7g</c:v>
                </c:pt>
                <c:pt idx="52">
                  <c:v> Reeses Peanut Butter Cup 42g x 6</c:v>
                </c:pt>
                <c:pt idx="53">
                  <c:v>Reeses Peanut Butter Cups 46g</c:v>
                </c:pt>
                <c:pt idx="54">
                  <c:v>Reeses Peanut Butter Cup Mini 215g</c:v>
                </c:pt>
                <c:pt idx="55">
                  <c:v>M&amp;M's Milk Chocolate 30.6g</c:v>
                </c:pt>
                <c:pt idx="56">
                  <c:v>Godiva Double Chocolate Bar 35g</c:v>
                </c:pt>
                <c:pt idx="57">
                  <c:v>Hershey's Cookies 'n Creme 40Gx 4</c:v>
                </c:pt>
                <c:pt idx="58">
                  <c:v>Galaxy Smooth Milk Chocolate 80g</c:v>
                </c:pt>
                <c:pt idx="59">
                  <c:v>Galaxy Ripple Bar 33g</c:v>
                </c:pt>
                <c:pt idx="60">
                  <c:v>Hershey's Chocobites Cookies 'n Creme 90g</c:v>
                </c:pt>
                <c:pt idx="61">
                  <c:v>Hershey's Kisses Special Selection Assorted 100g</c:v>
                </c:pt>
                <c:pt idx="62">
                  <c:v>Hershey's Chocobites Salted Caramel 81g</c:v>
                </c:pt>
                <c:pt idx="63">
                  <c:v>Hershey's Cookies N' Chocolate 40g</c:v>
                </c:pt>
                <c:pt idx="64">
                  <c:v>Reeses Block 90g</c:v>
                </c:pt>
                <c:pt idx="65">
                  <c:v>Reeses Nut Bar 47g</c:v>
                </c:pt>
                <c:pt idx="66">
                  <c:v>Hershey's Kisses Classic Selection Assorted 100g</c:v>
                </c:pt>
                <c:pt idx="67">
                  <c:v>Hershey's Cookies N' Crème 12.76g</c:v>
                </c:pt>
                <c:pt idx="68">
                  <c:v> Reeses Wafer Sticks 42g</c:v>
                </c:pt>
                <c:pt idx="69">
                  <c:v>Hershey's Choco Tubes Cookies N' Creme 18g</c:v>
                </c:pt>
                <c:pt idx="70">
                  <c:v>Reeses Pieces 180g</c:v>
                </c:pt>
                <c:pt idx="71">
                  <c:v>Reeses Mini King Size 71g</c:v>
                </c:pt>
                <c:pt idx="72">
                  <c:v>Hershey's Cookies 'n Creme Creations Salted Caramel 38g</c:v>
                </c:pt>
                <c:pt idx="73">
                  <c:v>Hershey's Cookies 'n Creme Block 90g</c:v>
                </c:pt>
                <c:pt idx="74">
                  <c:v> Reeses Peanut Butter Cup Mini 500G</c:v>
                </c:pt>
                <c:pt idx="75">
                  <c:v>Hersheys Kisses Classic Selection Assorted 600G</c:v>
                </c:pt>
                <c:pt idx="76">
                  <c:v>Hershey's Variety Pack 40Gx3</c:v>
                </c:pt>
                <c:pt idx="77">
                  <c:v>Reeses Fast break 51g</c:v>
                </c:pt>
              </c:strCache>
            </c:strRef>
          </c:cat>
          <c:val>
            <c:numRef>
              <c:f>Sheet1!$B$2:$B$79</c:f>
              <c:numCache>
                <c:formatCode>General</c:formatCode>
                <c:ptCount val="78"/>
                <c:pt idx="0">
                  <c:v>8.7043629382212662E-2</c:v>
                </c:pt>
                <c:pt idx="1">
                  <c:v>5.7448254219214227E-2</c:v>
                </c:pt>
                <c:pt idx="2">
                  <c:v>5.2318988778503661E-2</c:v>
                </c:pt>
                <c:pt idx="3">
                  <c:v>5.2256472326913307E-2</c:v>
                </c:pt>
                <c:pt idx="4">
                  <c:v>4.8584225656166963E-2</c:v>
                </c:pt>
                <c:pt idx="5">
                  <c:v>3.9680743757639463E-2</c:v>
                </c:pt>
                <c:pt idx="6">
                  <c:v>2.9190658329038801E-2</c:v>
                </c:pt>
                <c:pt idx="7">
                  <c:v>2.7681917689682881E-2</c:v>
                </c:pt>
                <c:pt idx="8">
                  <c:v>2.513899586928656E-2</c:v>
                </c:pt>
                <c:pt idx="9">
                  <c:v>2.4890536077445059E-2</c:v>
                </c:pt>
                <c:pt idx="10">
                  <c:v>2.4344382000445201E-2</c:v>
                </c:pt>
                <c:pt idx="11">
                  <c:v>2.4239521796033451E-2</c:v>
                </c:pt>
                <c:pt idx="12">
                  <c:v>2.25895581009995E-2</c:v>
                </c:pt>
                <c:pt idx="13">
                  <c:v>2.2261008252674359E-2</c:v>
                </c:pt>
                <c:pt idx="14">
                  <c:v>2.1303629133662901E-2</c:v>
                </c:pt>
                <c:pt idx="15">
                  <c:v>2.0930028427272349E-2</c:v>
                </c:pt>
                <c:pt idx="16">
                  <c:v>2.0722378953069099E-2</c:v>
                </c:pt>
                <c:pt idx="17">
                  <c:v>1.79402528779639E-2</c:v>
                </c:pt>
                <c:pt idx="18">
                  <c:v>1.6768501477137959E-2</c:v>
                </c:pt>
                <c:pt idx="19">
                  <c:v>1.5907968576700571E-2</c:v>
                </c:pt>
                <c:pt idx="20">
                  <c:v>1.5132426772325959E-2</c:v>
                </c:pt>
                <c:pt idx="21">
                  <c:v>1.457716780008899E-2</c:v>
                </c:pt>
                <c:pt idx="22">
                  <c:v>1.428979902205051E-2</c:v>
                </c:pt>
                <c:pt idx="23">
                  <c:v>1.4260023753352421E-2</c:v>
                </c:pt>
                <c:pt idx="24">
                  <c:v>1.4242653495047679E-2</c:v>
                </c:pt>
                <c:pt idx="25">
                  <c:v>1.4009948484647721E-2</c:v>
                </c:pt>
                <c:pt idx="26">
                  <c:v>1.327189776630075E-2</c:v>
                </c:pt>
                <c:pt idx="27">
                  <c:v>1.277080676064834E-2</c:v>
                </c:pt>
                <c:pt idx="28">
                  <c:v>1.154686376230785E-2</c:v>
                </c:pt>
                <c:pt idx="29">
                  <c:v>1.1356802272850099E-2</c:v>
                </c:pt>
                <c:pt idx="30">
                  <c:v>1.083713462610989E-2</c:v>
                </c:pt>
                <c:pt idx="31">
                  <c:v>1.0457247446923411E-2</c:v>
                </c:pt>
                <c:pt idx="32">
                  <c:v>1.0406169475892761E-2</c:v>
                </c:pt>
                <c:pt idx="33">
                  <c:v>1.019402791157778E-2</c:v>
                </c:pt>
                <c:pt idx="34">
                  <c:v>9.9678416198208646E-3</c:v>
                </c:pt>
                <c:pt idx="35">
                  <c:v>9.6601873747323187E-3</c:v>
                </c:pt>
                <c:pt idx="36">
                  <c:v>9.3903672027461412E-3</c:v>
                </c:pt>
                <c:pt idx="37">
                  <c:v>8.0659148911814693E-3</c:v>
                </c:pt>
                <c:pt idx="38">
                  <c:v>7.5338492821987197E-3</c:v>
                </c:pt>
                <c:pt idx="39">
                  <c:v>7.4340972771401804E-3</c:v>
                </c:pt>
                <c:pt idx="40">
                  <c:v>7.2228964784393666E-3</c:v>
                </c:pt>
                <c:pt idx="41">
                  <c:v>7.1647097013926584E-3</c:v>
                </c:pt>
                <c:pt idx="42">
                  <c:v>6.7417978009267987E-3</c:v>
                </c:pt>
                <c:pt idx="43">
                  <c:v>6.6461212904450192E-3</c:v>
                </c:pt>
                <c:pt idx="44">
                  <c:v>6.5873687630741886E-3</c:v>
                </c:pt>
                <c:pt idx="45">
                  <c:v>6.1105982334485687E-3</c:v>
                </c:pt>
                <c:pt idx="46">
                  <c:v>5.442700859727416E-3</c:v>
                </c:pt>
                <c:pt idx="47">
                  <c:v>5.4377176631436683E-3</c:v>
                </c:pt>
                <c:pt idx="48">
                  <c:v>5.0533333079540556E-3</c:v>
                </c:pt>
                <c:pt idx="49">
                  <c:v>4.8781338061636894E-3</c:v>
                </c:pt>
                <c:pt idx="50">
                  <c:v>4.8118320644420761E-3</c:v>
                </c:pt>
                <c:pt idx="51">
                  <c:v>4.754758877646573E-3</c:v>
                </c:pt>
                <c:pt idx="52">
                  <c:v>4.6018435860742616E-3</c:v>
                </c:pt>
                <c:pt idx="53">
                  <c:v>4.5036988919860462E-3</c:v>
                </c:pt>
                <c:pt idx="54">
                  <c:v>4.3867982266635082E-3</c:v>
                </c:pt>
                <c:pt idx="55">
                  <c:v>4.0218340674676974E-3</c:v>
                </c:pt>
                <c:pt idx="56">
                  <c:v>3.9201710183767091E-3</c:v>
                </c:pt>
                <c:pt idx="57">
                  <c:v>3.7061900184166409E-3</c:v>
                </c:pt>
                <c:pt idx="58">
                  <c:v>3.4958916104209938E-3</c:v>
                </c:pt>
                <c:pt idx="59">
                  <c:v>3.3190896613840659E-3</c:v>
                </c:pt>
                <c:pt idx="60">
                  <c:v>2.6956154020616259E-3</c:v>
                </c:pt>
                <c:pt idx="61">
                  <c:v>2.53527750664386E-3</c:v>
                </c:pt>
                <c:pt idx="62">
                  <c:v>2.4278900283566068E-3</c:v>
                </c:pt>
                <c:pt idx="63">
                  <c:v>2.425599799364974E-3</c:v>
                </c:pt>
                <c:pt idx="64">
                  <c:v>2.1535528869782322E-3</c:v>
                </c:pt>
                <c:pt idx="65">
                  <c:v>1.655361952609545E-3</c:v>
                </c:pt>
                <c:pt idx="66">
                  <c:v>1.5256000407128469E-3</c:v>
                </c:pt>
                <c:pt idx="67">
                  <c:v>7.824108492337985E-4</c:v>
                </c:pt>
                <c:pt idx="68">
                  <c:v>2.7146164527440977E-4</c:v>
                </c:pt>
                <c:pt idx="69">
                  <c:v>7.2865281163403636E-5</c:v>
                </c:pt>
                <c:pt idx="70">
                  <c:v>0</c:v>
                </c:pt>
                <c:pt idx="71">
                  <c:v>0</c:v>
                </c:pt>
                <c:pt idx="72">
                  <c:v>0</c:v>
                </c:pt>
                <c:pt idx="73">
                  <c:v>0</c:v>
                </c:pt>
                <c:pt idx="74">
                  <c:v>0</c:v>
                </c:pt>
                <c:pt idx="75">
                  <c:v>0</c:v>
                </c:pt>
                <c:pt idx="76">
                  <c:v>0</c:v>
                </c:pt>
                <c:pt idx="77">
                  <c:v>0</c:v>
                </c:pt>
              </c:numCache>
            </c:numRef>
          </c:val>
          <c:extLst>
            <c:ext xmlns:c16="http://schemas.microsoft.com/office/drawing/2014/chart" uri="{C3380CC4-5D6E-409C-BE32-E72D297353CC}">
              <c16:uniqueId val="{0000003F-A0D8-4FF8-BF2D-A6DC7B178F5A}"/>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478263789278E-2"/>
          <c:y val="0"/>
          <c:w val="0.96518562554386689"/>
          <c:h val="1"/>
        </c:manualLayout>
      </c:layout>
      <c:barChart>
        <c:barDir val="bar"/>
        <c:grouping val="clustered"/>
        <c:varyColors val="0"/>
        <c:ser>
          <c:idx val="2"/>
          <c:order val="0"/>
          <c:tx>
            <c:strRef>
              <c:f>Sheet1!$B$1</c:f>
              <c:strCache>
                <c:ptCount val="1"/>
                <c:pt idx="0">
                  <c:v>Hershey's Cookies 'n Creme 40Gx 4</c:v>
                </c:pt>
              </c:strCache>
            </c:strRef>
          </c:tx>
          <c:spPr>
            <a:solidFill>
              <a:srgbClr val="E6E5E5"/>
            </a:solidFill>
            <a:ln w="9525" cap="flat" cmpd="sng" algn="ctr">
              <a:noFill/>
              <a:round/>
            </a:ln>
            <a:effectLst/>
          </c:spPr>
          <c:invertIfNegative val="0"/>
          <c:dPt>
            <c:idx val="0"/>
            <c:invertIfNegative val="1"/>
            <c:bubble3D val="0"/>
            <c:spPr>
              <a:solidFill>
                <a:srgbClr val="E6E5E5"/>
              </a:solidFill>
            </c:spPr>
            <c:extLst>
              <c:ext xmlns:c16="http://schemas.microsoft.com/office/drawing/2014/chart" uri="{C3380CC4-5D6E-409C-BE32-E72D297353CC}">
                <c16:uniqueId val="{00000001-E4D7-4CB3-9344-2F66B04EE15D}"/>
              </c:ext>
            </c:extLst>
          </c:dPt>
          <c:dPt>
            <c:idx val="1"/>
            <c:invertIfNegative val="1"/>
            <c:bubble3D val="0"/>
            <c:spPr>
              <a:solidFill>
                <a:srgbClr val="E6E5E5"/>
              </a:solidFill>
            </c:spPr>
            <c:extLst>
              <c:ext xmlns:c16="http://schemas.microsoft.com/office/drawing/2014/chart" uri="{C3380CC4-5D6E-409C-BE32-E72D297353CC}">
                <c16:uniqueId val="{00000003-E4D7-4CB3-9344-2F66B04EE15D}"/>
              </c:ext>
            </c:extLst>
          </c:dPt>
          <c:dPt>
            <c:idx val="2"/>
            <c:invertIfNegative val="1"/>
            <c:bubble3D val="0"/>
            <c:spPr>
              <a:solidFill>
                <a:srgbClr val="E6E5E5"/>
              </a:solidFill>
            </c:spPr>
            <c:extLst>
              <c:ext xmlns:c16="http://schemas.microsoft.com/office/drawing/2014/chart" uri="{C3380CC4-5D6E-409C-BE32-E72D297353CC}">
                <c16:uniqueId val="{00000005-E4D7-4CB3-9344-2F66B04EE15D}"/>
              </c:ext>
            </c:extLst>
          </c:dPt>
          <c:dPt>
            <c:idx val="3"/>
            <c:invertIfNegative val="1"/>
            <c:bubble3D val="0"/>
            <c:spPr>
              <a:solidFill>
                <a:srgbClr val="E6E5E5"/>
              </a:solidFill>
            </c:spPr>
            <c:extLst>
              <c:ext xmlns:c16="http://schemas.microsoft.com/office/drawing/2014/chart" uri="{C3380CC4-5D6E-409C-BE32-E72D297353CC}">
                <c16:uniqueId val="{00000007-E4D7-4CB3-9344-2F66B04EE15D}"/>
              </c:ext>
            </c:extLst>
          </c:dPt>
          <c:dPt>
            <c:idx val="4"/>
            <c:invertIfNegative val="1"/>
            <c:bubble3D val="0"/>
            <c:spPr>
              <a:solidFill>
                <a:srgbClr val="E6E5E5"/>
              </a:solidFill>
            </c:spPr>
            <c:extLst>
              <c:ext xmlns:c16="http://schemas.microsoft.com/office/drawing/2014/chart" uri="{C3380CC4-5D6E-409C-BE32-E72D297353CC}">
                <c16:uniqueId val="{00000009-E4D7-4CB3-9344-2F66B04EE15D}"/>
              </c:ext>
            </c:extLst>
          </c:dPt>
          <c:dPt>
            <c:idx val="5"/>
            <c:invertIfNegative val="1"/>
            <c:bubble3D val="0"/>
            <c:spPr>
              <a:solidFill>
                <a:srgbClr val="E6E5E5"/>
              </a:solidFill>
            </c:spPr>
            <c:extLst>
              <c:ext xmlns:c16="http://schemas.microsoft.com/office/drawing/2014/chart" uri="{C3380CC4-5D6E-409C-BE32-E72D297353CC}">
                <c16:uniqueId val="{0000000B-E4D7-4CB3-9344-2F66B04EE15D}"/>
              </c:ext>
            </c:extLst>
          </c:dPt>
          <c:dPt>
            <c:idx val="6"/>
            <c:invertIfNegative val="1"/>
            <c:bubble3D val="0"/>
            <c:spPr>
              <a:solidFill>
                <a:srgbClr val="E6E5E5"/>
              </a:solidFill>
            </c:spPr>
            <c:extLst>
              <c:ext xmlns:c16="http://schemas.microsoft.com/office/drawing/2014/chart" uri="{C3380CC4-5D6E-409C-BE32-E72D297353CC}">
                <c16:uniqueId val="{0000000D-E4D7-4CB3-9344-2F66B04EE15D}"/>
              </c:ext>
            </c:extLst>
          </c:dPt>
          <c:dPt>
            <c:idx val="7"/>
            <c:invertIfNegative val="1"/>
            <c:bubble3D val="0"/>
            <c:spPr>
              <a:solidFill>
                <a:srgbClr val="E6E5E5"/>
              </a:solidFill>
            </c:spPr>
            <c:extLst>
              <c:ext xmlns:c16="http://schemas.microsoft.com/office/drawing/2014/chart" uri="{C3380CC4-5D6E-409C-BE32-E72D297353CC}">
                <c16:uniqueId val="{0000000F-E4D7-4CB3-9344-2F66B04EE15D}"/>
              </c:ext>
            </c:extLst>
          </c:dPt>
          <c:dPt>
            <c:idx val="8"/>
            <c:invertIfNegative val="1"/>
            <c:bubble3D val="0"/>
            <c:spPr>
              <a:solidFill>
                <a:srgbClr val="E6E5E5"/>
              </a:solidFill>
            </c:spPr>
            <c:extLst>
              <c:ext xmlns:c16="http://schemas.microsoft.com/office/drawing/2014/chart" uri="{C3380CC4-5D6E-409C-BE32-E72D297353CC}">
                <c16:uniqueId val="{00000011-E4D7-4CB3-9344-2F66B04EE15D}"/>
              </c:ext>
            </c:extLst>
          </c:dPt>
          <c:dPt>
            <c:idx val="9"/>
            <c:invertIfNegative val="1"/>
            <c:bubble3D val="0"/>
            <c:spPr>
              <a:solidFill>
                <a:srgbClr val="E6E5E5"/>
              </a:solidFill>
            </c:spPr>
            <c:extLst>
              <c:ext xmlns:c16="http://schemas.microsoft.com/office/drawing/2014/chart" uri="{C3380CC4-5D6E-409C-BE32-E72D297353CC}">
                <c16:uniqueId val="{00000013-E4D7-4CB3-9344-2F66B04EE15D}"/>
              </c:ext>
            </c:extLst>
          </c:dPt>
          <c:dPt>
            <c:idx val="10"/>
            <c:invertIfNegative val="1"/>
            <c:bubble3D val="0"/>
            <c:spPr>
              <a:solidFill>
                <a:srgbClr val="E6E5E5"/>
              </a:solidFill>
            </c:spPr>
            <c:extLst>
              <c:ext xmlns:c16="http://schemas.microsoft.com/office/drawing/2014/chart" uri="{C3380CC4-5D6E-409C-BE32-E72D297353CC}">
                <c16:uniqueId val="{00000015-E4D7-4CB3-9344-2F66B04EE15D}"/>
              </c:ext>
            </c:extLst>
          </c:dPt>
          <c:dPt>
            <c:idx val="11"/>
            <c:invertIfNegative val="1"/>
            <c:bubble3D val="0"/>
            <c:spPr>
              <a:solidFill>
                <a:srgbClr val="E6E5E5"/>
              </a:solidFill>
            </c:spPr>
            <c:extLst>
              <c:ext xmlns:c16="http://schemas.microsoft.com/office/drawing/2014/chart" uri="{C3380CC4-5D6E-409C-BE32-E72D297353CC}">
                <c16:uniqueId val="{00000017-E4D7-4CB3-9344-2F66B04EE15D}"/>
              </c:ext>
            </c:extLst>
          </c:dPt>
          <c:dPt>
            <c:idx val="12"/>
            <c:invertIfNegative val="1"/>
            <c:bubble3D val="0"/>
            <c:spPr>
              <a:solidFill>
                <a:srgbClr val="E6E5E5"/>
              </a:solidFill>
            </c:spPr>
            <c:extLst>
              <c:ext xmlns:c16="http://schemas.microsoft.com/office/drawing/2014/chart" uri="{C3380CC4-5D6E-409C-BE32-E72D297353CC}">
                <c16:uniqueId val="{00000019-E4D7-4CB3-9344-2F66B04EE15D}"/>
              </c:ext>
            </c:extLst>
          </c:dPt>
          <c:dPt>
            <c:idx val="13"/>
            <c:invertIfNegative val="1"/>
            <c:bubble3D val="0"/>
            <c:spPr>
              <a:solidFill>
                <a:srgbClr val="E6E5E5"/>
              </a:solidFill>
            </c:spPr>
            <c:extLst>
              <c:ext xmlns:c16="http://schemas.microsoft.com/office/drawing/2014/chart" uri="{C3380CC4-5D6E-409C-BE32-E72D297353CC}">
                <c16:uniqueId val="{0000001B-E4D7-4CB3-9344-2F66B04EE15D}"/>
              </c:ext>
            </c:extLst>
          </c:dPt>
          <c:dPt>
            <c:idx val="14"/>
            <c:invertIfNegative val="1"/>
            <c:bubble3D val="0"/>
            <c:spPr>
              <a:solidFill>
                <a:srgbClr val="E6E5E5"/>
              </a:solidFill>
            </c:spPr>
            <c:extLst>
              <c:ext xmlns:c16="http://schemas.microsoft.com/office/drawing/2014/chart" uri="{C3380CC4-5D6E-409C-BE32-E72D297353CC}">
                <c16:uniqueId val="{0000001D-E4D7-4CB3-9344-2F66B04EE15D}"/>
              </c:ext>
            </c:extLst>
          </c:dPt>
          <c:dPt>
            <c:idx val="15"/>
            <c:invertIfNegative val="1"/>
            <c:bubble3D val="0"/>
            <c:spPr>
              <a:solidFill>
                <a:srgbClr val="E6E5E5"/>
              </a:solidFill>
            </c:spPr>
            <c:extLst>
              <c:ext xmlns:c16="http://schemas.microsoft.com/office/drawing/2014/chart" uri="{C3380CC4-5D6E-409C-BE32-E72D297353CC}">
                <c16:uniqueId val="{0000001F-E4D7-4CB3-9344-2F66B04EE15D}"/>
              </c:ext>
            </c:extLst>
          </c:dPt>
          <c:dLbls>
            <c:numFmt formatCode="0.0%" sourceLinked="0"/>
            <c:spPr>
              <a:noFill/>
              <a:ln>
                <a:noFill/>
              </a:ln>
              <a:effectLst/>
            </c:spPr>
            <c:txPr>
              <a:bodyPr rot="0" spcFirstLastPara="1" vertOverflow="ellipsis" vert="horz" wrap="non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A$2:$A$12</c:f>
              <c:numCache>
                <c:formatCode>General</c:formatCode>
                <c:ptCount val="11"/>
                <c:pt idx="0">
                  <c:v>0</c:v>
                </c:pt>
                <c:pt idx="1">
                  <c:v>1</c:v>
                </c:pt>
                <c:pt idx="2">
                  <c:v>2</c:v>
                </c:pt>
                <c:pt idx="3">
                  <c:v>3</c:v>
                </c:pt>
                <c:pt idx="4">
                  <c:v>4</c:v>
                </c:pt>
                <c:pt idx="5">
                  <c:v>5</c:v>
                </c:pt>
                <c:pt idx="6">
                  <c:v>6</c:v>
                </c:pt>
                <c:pt idx="7">
                  <c:v>7</c:v>
                </c:pt>
                <c:pt idx="8">
                  <c:v>8</c:v>
                </c:pt>
                <c:pt idx="9">
                  <c:v>9</c:v>
                </c:pt>
                <c:pt idx="10">
                  <c:v>10</c:v>
                </c:pt>
              </c:numCache>
            </c:numRef>
          </c:cat>
          <c:val>
            <c:numRef>
              <c:f>Sheet1!$B$2:$B$12</c:f>
              <c:numCache>
                <c:formatCode>General</c:formatCode>
                <c:ptCount val="11"/>
                <c:pt idx="0">
                  <c:v>0.144625596426422</c:v>
                </c:pt>
                <c:pt idx="1">
                  <c:v>7.3709483938171463E-2</c:v>
                </c:pt>
                <c:pt idx="2">
                  <c:v>7.0107128669837274E-2</c:v>
                </c:pt>
                <c:pt idx="3">
                  <c:v>5.5930863438467572E-2</c:v>
                </c:pt>
                <c:pt idx="4">
                  <c:v>4.1193482742225562E-2</c:v>
                </c:pt>
                <c:pt idx="5">
                  <c:v>3.1577164777321309E-2</c:v>
                </c:pt>
                <c:pt idx="6">
                  <c:v>4.8101004071141019E-2</c:v>
                </c:pt>
                <c:pt idx="7">
                  <c:v>3.0212086643940799E-2</c:v>
                </c:pt>
                <c:pt idx="8">
                  <c:v>3.3038799269343028E-2</c:v>
                </c:pt>
                <c:pt idx="9">
                  <c:v>2.5012729873956439E-2</c:v>
                </c:pt>
                <c:pt idx="10">
                  <c:v>2.2428122238729871E-2</c:v>
                </c:pt>
              </c:numCache>
            </c:numRef>
          </c:val>
          <c:extLst>
            <c:ext xmlns:c16="http://schemas.microsoft.com/office/drawing/2014/chart" uri="{C3380CC4-5D6E-409C-BE32-E72D297353CC}">
              <c16:uniqueId val="{00000020-E4D7-4CB3-9344-2F66B04EE15D}"/>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559397831728E-2"/>
          <c:y val="0"/>
          <c:w val="0.96518562554386689"/>
          <c:h val="1"/>
        </c:manualLayout>
      </c:layout>
      <c:barChart>
        <c:barDir val="bar"/>
        <c:grouping val="clustered"/>
        <c:varyColors val="0"/>
        <c:ser>
          <c:idx val="2"/>
          <c:order val="0"/>
          <c:tx>
            <c:strRef>
              <c:f>Sheet1!$B$1</c:f>
              <c:strCache>
                <c:ptCount val="1"/>
                <c:pt idx="0">
                  <c:v>Hershey's Cookies 'n Creme 40Gx 4</c:v>
                </c:pt>
              </c:strCache>
            </c:strRef>
          </c:tx>
          <c:spPr>
            <a:solidFill>
              <a:srgbClr val="E6E5E5"/>
            </a:solidFill>
            <a:ln w="9525" cap="flat" cmpd="sng" algn="ctr">
              <a:noFill/>
              <a:round/>
            </a:ln>
            <a:effectLst/>
          </c:spPr>
          <c:invertIfNegative val="0"/>
          <c:dPt>
            <c:idx val="0"/>
            <c:invertIfNegative val="1"/>
            <c:bubble3D val="0"/>
            <c:spPr>
              <a:solidFill>
                <a:srgbClr val="E6E5E5"/>
              </a:solidFill>
            </c:spPr>
            <c:extLst>
              <c:ext xmlns:c16="http://schemas.microsoft.com/office/drawing/2014/chart" uri="{C3380CC4-5D6E-409C-BE32-E72D297353CC}">
                <c16:uniqueId val="{00000001-000A-4C45-A43A-3AA69B6FEE6F}"/>
              </c:ext>
            </c:extLst>
          </c:dPt>
          <c:dPt>
            <c:idx val="1"/>
            <c:invertIfNegative val="1"/>
            <c:bubble3D val="0"/>
            <c:spPr>
              <a:solidFill>
                <a:srgbClr val="E6E5E5"/>
              </a:solidFill>
            </c:spPr>
            <c:extLst>
              <c:ext xmlns:c16="http://schemas.microsoft.com/office/drawing/2014/chart" uri="{C3380CC4-5D6E-409C-BE32-E72D297353CC}">
                <c16:uniqueId val="{00000003-000A-4C45-A43A-3AA69B6FEE6F}"/>
              </c:ext>
            </c:extLst>
          </c:dPt>
          <c:dPt>
            <c:idx val="2"/>
            <c:invertIfNegative val="1"/>
            <c:bubble3D val="0"/>
            <c:spPr>
              <a:solidFill>
                <a:srgbClr val="E6E5E5"/>
              </a:solidFill>
            </c:spPr>
            <c:extLst>
              <c:ext xmlns:c16="http://schemas.microsoft.com/office/drawing/2014/chart" uri="{C3380CC4-5D6E-409C-BE32-E72D297353CC}">
                <c16:uniqueId val="{00000005-000A-4C45-A43A-3AA69B6FEE6F}"/>
              </c:ext>
            </c:extLst>
          </c:dPt>
          <c:dPt>
            <c:idx val="3"/>
            <c:invertIfNegative val="1"/>
            <c:bubble3D val="0"/>
            <c:spPr>
              <a:solidFill>
                <a:srgbClr val="E6E5E5"/>
              </a:solidFill>
            </c:spPr>
            <c:extLst>
              <c:ext xmlns:c16="http://schemas.microsoft.com/office/drawing/2014/chart" uri="{C3380CC4-5D6E-409C-BE32-E72D297353CC}">
                <c16:uniqueId val="{00000007-000A-4C45-A43A-3AA69B6FEE6F}"/>
              </c:ext>
            </c:extLst>
          </c:dPt>
          <c:dPt>
            <c:idx val="4"/>
            <c:invertIfNegative val="1"/>
            <c:bubble3D val="0"/>
            <c:spPr>
              <a:solidFill>
                <a:srgbClr val="E6E5E5"/>
              </a:solidFill>
            </c:spPr>
            <c:extLst>
              <c:ext xmlns:c16="http://schemas.microsoft.com/office/drawing/2014/chart" uri="{C3380CC4-5D6E-409C-BE32-E72D297353CC}">
                <c16:uniqueId val="{00000009-000A-4C45-A43A-3AA69B6FEE6F}"/>
              </c:ext>
            </c:extLst>
          </c:dPt>
          <c:dPt>
            <c:idx val="5"/>
            <c:invertIfNegative val="1"/>
            <c:bubble3D val="0"/>
            <c:spPr>
              <a:solidFill>
                <a:srgbClr val="E6E5E5"/>
              </a:solidFill>
            </c:spPr>
            <c:extLst>
              <c:ext xmlns:c16="http://schemas.microsoft.com/office/drawing/2014/chart" uri="{C3380CC4-5D6E-409C-BE32-E72D297353CC}">
                <c16:uniqueId val="{0000000B-000A-4C45-A43A-3AA69B6FEE6F}"/>
              </c:ext>
            </c:extLst>
          </c:dPt>
          <c:dPt>
            <c:idx val="6"/>
            <c:invertIfNegative val="1"/>
            <c:bubble3D val="0"/>
            <c:spPr>
              <a:solidFill>
                <a:srgbClr val="E6E5E5"/>
              </a:solidFill>
            </c:spPr>
            <c:extLst>
              <c:ext xmlns:c16="http://schemas.microsoft.com/office/drawing/2014/chart" uri="{C3380CC4-5D6E-409C-BE32-E72D297353CC}">
                <c16:uniqueId val="{0000000D-000A-4C45-A43A-3AA69B6FEE6F}"/>
              </c:ext>
            </c:extLst>
          </c:dPt>
          <c:dPt>
            <c:idx val="7"/>
            <c:invertIfNegative val="1"/>
            <c:bubble3D val="0"/>
            <c:spPr>
              <a:solidFill>
                <a:srgbClr val="E6E5E5"/>
              </a:solidFill>
            </c:spPr>
            <c:extLst>
              <c:ext xmlns:c16="http://schemas.microsoft.com/office/drawing/2014/chart" uri="{C3380CC4-5D6E-409C-BE32-E72D297353CC}">
                <c16:uniqueId val="{0000000F-000A-4C45-A43A-3AA69B6FEE6F}"/>
              </c:ext>
            </c:extLst>
          </c:dPt>
          <c:dPt>
            <c:idx val="8"/>
            <c:invertIfNegative val="1"/>
            <c:bubble3D val="0"/>
            <c:spPr>
              <a:solidFill>
                <a:srgbClr val="E6E5E5"/>
              </a:solidFill>
            </c:spPr>
            <c:extLst>
              <c:ext xmlns:c16="http://schemas.microsoft.com/office/drawing/2014/chart" uri="{C3380CC4-5D6E-409C-BE32-E72D297353CC}">
                <c16:uniqueId val="{00000011-000A-4C45-A43A-3AA69B6FEE6F}"/>
              </c:ext>
            </c:extLst>
          </c:dPt>
          <c:dPt>
            <c:idx val="9"/>
            <c:invertIfNegative val="1"/>
            <c:bubble3D val="0"/>
            <c:spPr>
              <a:solidFill>
                <a:srgbClr val="E6E5E5"/>
              </a:solidFill>
            </c:spPr>
            <c:extLst>
              <c:ext xmlns:c16="http://schemas.microsoft.com/office/drawing/2014/chart" uri="{C3380CC4-5D6E-409C-BE32-E72D297353CC}">
                <c16:uniqueId val="{00000013-000A-4C45-A43A-3AA69B6FEE6F}"/>
              </c:ext>
            </c:extLst>
          </c:dPt>
          <c:dPt>
            <c:idx val="10"/>
            <c:invertIfNegative val="1"/>
            <c:bubble3D val="0"/>
            <c:spPr>
              <a:solidFill>
                <a:srgbClr val="E6E5E5"/>
              </a:solidFill>
            </c:spPr>
            <c:extLst>
              <c:ext xmlns:c16="http://schemas.microsoft.com/office/drawing/2014/chart" uri="{C3380CC4-5D6E-409C-BE32-E72D297353CC}">
                <c16:uniqueId val="{00000015-000A-4C45-A43A-3AA69B6FEE6F}"/>
              </c:ext>
            </c:extLst>
          </c:dPt>
          <c:dPt>
            <c:idx val="11"/>
            <c:invertIfNegative val="1"/>
            <c:bubble3D val="0"/>
            <c:spPr>
              <a:solidFill>
                <a:srgbClr val="E6E5E5"/>
              </a:solidFill>
            </c:spPr>
            <c:extLst>
              <c:ext xmlns:c16="http://schemas.microsoft.com/office/drawing/2014/chart" uri="{C3380CC4-5D6E-409C-BE32-E72D297353CC}">
                <c16:uniqueId val="{00000017-000A-4C45-A43A-3AA69B6FEE6F}"/>
              </c:ext>
            </c:extLst>
          </c:dPt>
          <c:dPt>
            <c:idx val="12"/>
            <c:invertIfNegative val="1"/>
            <c:bubble3D val="0"/>
            <c:spPr>
              <a:solidFill>
                <a:srgbClr val="E6E5E5"/>
              </a:solidFill>
            </c:spPr>
            <c:extLst>
              <c:ext xmlns:c16="http://schemas.microsoft.com/office/drawing/2014/chart" uri="{C3380CC4-5D6E-409C-BE32-E72D297353CC}">
                <c16:uniqueId val="{00000019-000A-4C45-A43A-3AA69B6FEE6F}"/>
              </c:ext>
            </c:extLst>
          </c:dPt>
          <c:dPt>
            <c:idx val="13"/>
            <c:invertIfNegative val="1"/>
            <c:bubble3D val="0"/>
            <c:spPr>
              <a:solidFill>
                <a:srgbClr val="E6E5E5"/>
              </a:solidFill>
            </c:spPr>
            <c:extLst>
              <c:ext xmlns:c16="http://schemas.microsoft.com/office/drawing/2014/chart" uri="{C3380CC4-5D6E-409C-BE32-E72D297353CC}">
                <c16:uniqueId val="{0000001B-000A-4C45-A43A-3AA69B6FEE6F}"/>
              </c:ext>
            </c:extLst>
          </c:dPt>
          <c:dPt>
            <c:idx val="14"/>
            <c:invertIfNegative val="1"/>
            <c:bubble3D val="0"/>
            <c:spPr>
              <a:solidFill>
                <a:srgbClr val="E6E5E5"/>
              </a:solidFill>
            </c:spPr>
            <c:extLst>
              <c:ext xmlns:c16="http://schemas.microsoft.com/office/drawing/2014/chart" uri="{C3380CC4-5D6E-409C-BE32-E72D297353CC}">
                <c16:uniqueId val="{0000001D-000A-4C45-A43A-3AA69B6FEE6F}"/>
              </c:ext>
            </c:extLst>
          </c:dPt>
          <c:dPt>
            <c:idx val="15"/>
            <c:invertIfNegative val="1"/>
            <c:bubble3D val="0"/>
            <c:spPr>
              <a:solidFill>
                <a:srgbClr val="E6E5E5"/>
              </a:solidFill>
            </c:spPr>
            <c:extLst>
              <c:ext xmlns:c16="http://schemas.microsoft.com/office/drawing/2014/chart" uri="{C3380CC4-5D6E-409C-BE32-E72D297353CC}">
                <c16:uniqueId val="{0000001F-000A-4C45-A43A-3AA69B6FEE6F}"/>
              </c:ext>
            </c:extLst>
          </c:dPt>
          <c:dLbls>
            <c:numFmt formatCode="0.0%" sourceLinked="0"/>
            <c:spPr>
              <a:noFill/>
              <a:ln>
                <a:noFill/>
              </a:ln>
              <a:effectLst/>
            </c:spPr>
            <c:txPr>
              <a:bodyPr rot="0" spcFirstLastPara="1" vertOverflow="ellipsis" vert="horz" wrap="non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A$2:$A$12</c:f>
              <c:numCache>
                <c:formatCode>General</c:formatCode>
                <c:ptCount val="11"/>
                <c:pt idx="0">
                  <c:v>0</c:v>
                </c:pt>
                <c:pt idx="1">
                  <c:v>1</c:v>
                </c:pt>
                <c:pt idx="2">
                  <c:v>2</c:v>
                </c:pt>
                <c:pt idx="3">
                  <c:v>3</c:v>
                </c:pt>
                <c:pt idx="4">
                  <c:v>4</c:v>
                </c:pt>
                <c:pt idx="5">
                  <c:v>5</c:v>
                </c:pt>
                <c:pt idx="6">
                  <c:v>6</c:v>
                </c:pt>
                <c:pt idx="7">
                  <c:v>7</c:v>
                </c:pt>
                <c:pt idx="8">
                  <c:v>8</c:v>
                </c:pt>
                <c:pt idx="9">
                  <c:v>9</c:v>
                </c:pt>
                <c:pt idx="10">
                  <c:v>10</c:v>
                </c:pt>
              </c:numCache>
            </c:numRef>
          </c:cat>
          <c:val>
            <c:numRef>
              <c:f>Sheet1!$B$2:$B$12</c:f>
              <c:numCache>
                <c:formatCode>General</c:formatCode>
                <c:ptCount val="11"/>
                <c:pt idx="0">
                  <c:v>0.144625596426422</c:v>
                </c:pt>
                <c:pt idx="1">
                  <c:v>7.3709483938171463E-2</c:v>
                </c:pt>
                <c:pt idx="2">
                  <c:v>7.0107128669837274E-2</c:v>
                </c:pt>
                <c:pt idx="3">
                  <c:v>5.5930863438467572E-2</c:v>
                </c:pt>
                <c:pt idx="4">
                  <c:v>4.1193482742225562E-2</c:v>
                </c:pt>
                <c:pt idx="5">
                  <c:v>3.1577164777321309E-2</c:v>
                </c:pt>
                <c:pt idx="6">
                  <c:v>4.8101004071141019E-2</c:v>
                </c:pt>
                <c:pt idx="7">
                  <c:v>3.0212086643940799E-2</c:v>
                </c:pt>
                <c:pt idx="8">
                  <c:v>3.3038799269343028E-2</c:v>
                </c:pt>
                <c:pt idx="9">
                  <c:v>2.5012729873956439E-2</c:v>
                </c:pt>
                <c:pt idx="10">
                  <c:v>2.2428122238729871E-2</c:v>
                </c:pt>
              </c:numCache>
            </c:numRef>
          </c:val>
          <c:extLst>
            <c:ext xmlns:c16="http://schemas.microsoft.com/office/drawing/2014/chart" uri="{C3380CC4-5D6E-409C-BE32-E72D297353CC}">
              <c16:uniqueId val="{00000020-000A-4C45-A43A-3AA69B6FEE6F}"/>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559397831728E-2"/>
          <c:y val="0"/>
          <c:w val="0.96518562554386689"/>
          <c:h val="1"/>
        </c:manualLayout>
      </c:layout>
      <c:barChart>
        <c:barDir val="bar"/>
        <c:grouping val="clustered"/>
        <c:varyColors val="0"/>
        <c:ser>
          <c:idx val="2"/>
          <c:order val="0"/>
          <c:tx>
            <c:strRef>
              <c:f>Sheet1!$B$1</c:f>
              <c:strCache>
                <c:ptCount val="1"/>
                <c:pt idx="0">
                  <c:v>Hershey's Cookies 'n Creme 40Gx 4</c:v>
                </c:pt>
              </c:strCache>
            </c:strRef>
          </c:tx>
          <c:spPr>
            <a:solidFill>
              <a:srgbClr val="E6E5E5"/>
            </a:solidFill>
            <a:ln w="9525" cap="flat" cmpd="sng" algn="ctr">
              <a:noFill/>
              <a:round/>
            </a:ln>
            <a:effectLst/>
          </c:spPr>
          <c:invertIfNegative val="0"/>
          <c:dPt>
            <c:idx val="0"/>
            <c:invertIfNegative val="1"/>
            <c:bubble3D val="0"/>
            <c:spPr>
              <a:solidFill>
                <a:srgbClr val="E6E5E5"/>
              </a:solidFill>
            </c:spPr>
            <c:extLst>
              <c:ext xmlns:c16="http://schemas.microsoft.com/office/drawing/2014/chart" uri="{C3380CC4-5D6E-409C-BE32-E72D297353CC}">
                <c16:uniqueId val="{00000001-0730-4047-97D7-1702257B54F1}"/>
              </c:ext>
            </c:extLst>
          </c:dPt>
          <c:dPt>
            <c:idx val="1"/>
            <c:invertIfNegative val="1"/>
            <c:bubble3D val="0"/>
            <c:spPr>
              <a:solidFill>
                <a:srgbClr val="E6E5E5"/>
              </a:solidFill>
            </c:spPr>
            <c:extLst>
              <c:ext xmlns:c16="http://schemas.microsoft.com/office/drawing/2014/chart" uri="{C3380CC4-5D6E-409C-BE32-E72D297353CC}">
                <c16:uniqueId val="{00000003-0730-4047-97D7-1702257B54F1}"/>
              </c:ext>
            </c:extLst>
          </c:dPt>
          <c:dPt>
            <c:idx val="2"/>
            <c:invertIfNegative val="1"/>
            <c:bubble3D val="0"/>
            <c:spPr>
              <a:solidFill>
                <a:srgbClr val="E6E5E5"/>
              </a:solidFill>
            </c:spPr>
            <c:extLst>
              <c:ext xmlns:c16="http://schemas.microsoft.com/office/drawing/2014/chart" uri="{C3380CC4-5D6E-409C-BE32-E72D297353CC}">
                <c16:uniqueId val="{00000005-0730-4047-97D7-1702257B54F1}"/>
              </c:ext>
            </c:extLst>
          </c:dPt>
          <c:dPt>
            <c:idx val="3"/>
            <c:invertIfNegative val="1"/>
            <c:bubble3D val="0"/>
            <c:spPr>
              <a:solidFill>
                <a:srgbClr val="E6E5E5"/>
              </a:solidFill>
            </c:spPr>
            <c:extLst>
              <c:ext xmlns:c16="http://schemas.microsoft.com/office/drawing/2014/chart" uri="{C3380CC4-5D6E-409C-BE32-E72D297353CC}">
                <c16:uniqueId val="{00000007-0730-4047-97D7-1702257B54F1}"/>
              </c:ext>
            </c:extLst>
          </c:dPt>
          <c:dPt>
            <c:idx val="4"/>
            <c:invertIfNegative val="1"/>
            <c:bubble3D val="0"/>
            <c:spPr>
              <a:solidFill>
                <a:srgbClr val="E6E5E5"/>
              </a:solidFill>
            </c:spPr>
            <c:extLst>
              <c:ext xmlns:c16="http://schemas.microsoft.com/office/drawing/2014/chart" uri="{C3380CC4-5D6E-409C-BE32-E72D297353CC}">
                <c16:uniqueId val="{00000009-0730-4047-97D7-1702257B54F1}"/>
              </c:ext>
            </c:extLst>
          </c:dPt>
          <c:dPt>
            <c:idx val="5"/>
            <c:invertIfNegative val="1"/>
            <c:bubble3D val="0"/>
            <c:spPr>
              <a:solidFill>
                <a:srgbClr val="E6E5E5"/>
              </a:solidFill>
            </c:spPr>
            <c:extLst>
              <c:ext xmlns:c16="http://schemas.microsoft.com/office/drawing/2014/chart" uri="{C3380CC4-5D6E-409C-BE32-E72D297353CC}">
                <c16:uniqueId val="{0000000B-0730-4047-97D7-1702257B54F1}"/>
              </c:ext>
            </c:extLst>
          </c:dPt>
          <c:dPt>
            <c:idx val="6"/>
            <c:invertIfNegative val="1"/>
            <c:bubble3D val="0"/>
            <c:spPr>
              <a:solidFill>
                <a:srgbClr val="E6E5E5"/>
              </a:solidFill>
            </c:spPr>
            <c:extLst>
              <c:ext xmlns:c16="http://schemas.microsoft.com/office/drawing/2014/chart" uri="{C3380CC4-5D6E-409C-BE32-E72D297353CC}">
                <c16:uniqueId val="{0000000D-0730-4047-97D7-1702257B54F1}"/>
              </c:ext>
            </c:extLst>
          </c:dPt>
          <c:dPt>
            <c:idx val="7"/>
            <c:invertIfNegative val="1"/>
            <c:bubble3D val="0"/>
            <c:spPr>
              <a:solidFill>
                <a:srgbClr val="E6E5E5"/>
              </a:solidFill>
            </c:spPr>
            <c:extLst>
              <c:ext xmlns:c16="http://schemas.microsoft.com/office/drawing/2014/chart" uri="{C3380CC4-5D6E-409C-BE32-E72D297353CC}">
                <c16:uniqueId val="{0000000F-0730-4047-97D7-1702257B54F1}"/>
              </c:ext>
            </c:extLst>
          </c:dPt>
          <c:dPt>
            <c:idx val="8"/>
            <c:invertIfNegative val="1"/>
            <c:bubble3D val="0"/>
            <c:spPr>
              <a:solidFill>
                <a:srgbClr val="E6E5E5"/>
              </a:solidFill>
            </c:spPr>
            <c:extLst>
              <c:ext xmlns:c16="http://schemas.microsoft.com/office/drawing/2014/chart" uri="{C3380CC4-5D6E-409C-BE32-E72D297353CC}">
                <c16:uniqueId val="{00000011-0730-4047-97D7-1702257B54F1}"/>
              </c:ext>
            </c:extLst>
          </c:dPt>
          <c:dPt>
            <c:idx val="9"/>
            <c:invertIfNegative val="1"/>
            <c:bubble3D val="0"/>
            <c:spPr>
              <a:solidFill>
                <a:srgbClr val="E6E5E5"/>
              </a:solidFill>
            </c:spPr>
            <c:extLst>
              <c:ext xmlns:c16="http://schemas.microsoft.com/office/drawing/2014/chart" uri="{C3380CC4-5D6E-409C-BE32-E72D297353CC}">
                <c16:uniqueId val="{00000013-0730-4047-97D7-1702257B54F1}"/>
              </c:ext>
            </c:extLst>
          </c:dPt>
          <c:dPt>
            <c:idx val="10"/>
            <c:invertIfNegative val="1"/>
            <c:bubble3D val="0"/>
            <c:spPr>
              <a:solidFill>
                <a:srgbClr val="E6E5E5"/>
              </a:solidFill>
            </c:spPr>
            <c:extLst>
              <c:ext xmlns:c16="http://schemas.microsoft.com/office/drawing/2014/chart" uri="{C3380CC4-5D6E-409C-BE32-E72D297353CC}">
                <c16:uniqueId val="{00000015-0730-4047-97D7-1702257B54F1}"/>
              </c:ext>
            </c:extLst>
          </c:dPt>
          <c:dPt>
            <c:idx val="11"/>
            <c:invertIfNegative val="1"/>
            <c:bubble3D val="0"/>
            <c:spPr>
              <a:solidFill>
                <a:srgbClr val="E6E5E5"/>
              </a:solidFill>
            </c:spPr>
            <c:extLst>
              <c:ext xmlns:c16="http://schemas.microsoft.com/office/drawing/2014/chart" uri="{C3380CC4-5D6E-409C-BE32-E72D297353CC}">
                <c16:uniqueId val="{00000017-0730-4047-97D7-1702257B54F1}"/>
              </c:ext>
            </c:extLst>
          </c:dPt>
          <c:dPt>
            <c:idx val="12"/>
            <c:invertIfNegative val="1"/>
            <c:bubble3D val="0"/>
            <c:spPr>
              <a:solidFill>
                <a:srgbClr val="E6E5E5"/>
              </a:solidFill>
            </c:spPr>
            <c:extLst>
              <c:ext xmlns:c16="http://schemas.microsoft.com/office/drawing/2014/chart" uri="{C3380CC4-5D6E-409C-BE32-E72D297353CC}">
                <c16:uniqueId val="{00000019-0730-4047-97D7-1702257B54F1}"/>
              </c:ext>
            </c:extLst>
          </c:dPt>
          <c:dPt>
            <c:idx val="13"/>
            <c:invertIfNegative val="1"/>
            <c:bubble3D val="0"/>
            <c:spPr>
              <a:solidFill>
                <a:srgbClr val="E6E5E5"/>
              </a:solidFill>
            </c:spPr>
            <c:extLst>
              <c:ext xmlns:c16="http://schemas.microsoft.com/office/drawing/2014/chart" uri="{C3380CC4-5D6E-409C-BE32-E72D297353CC}">
                <c16:uniqueId val="{0000001B-0730-4047-97D7-1702257B54F1}"/>
              </c:ext>
            </c:extLst>
          </c:dPt>
          <c:dPt>
            <c:idx val="14"/>
            <c:invertIfNegative val="1"/>
            <c:bubble3D val="0"/>
            <c:spPr>
              <a:solidFill>
                <a:srgbClr val="E6E5E5"/>
              </a:solidFill>
            </c:spPr>
            <c:extLst>
              <c:ext xmlns:c16="http://schemas.microsoft.com/office/drawing/2014/chart" uri="{C3380CC4-5D6E-409C-BE32-E72D297353CC}">
                <c16:uniqueId val="{0000001D-0730-4047-97D7-1702257B54F1}"/>
              </c:ext>
            </c:extLst>
          </c:dPt>
          <c:dPt>
            <c:idx val="15"/>
            <c:invertIfNegative val="1"/>
            <c:bubble3D val="0"/>
            <c:spPr>
              <a:solidFill>
                <a:srgbClr val="E6E5E5"/>
              </a:solidFill>
            </c:spPr>
            <c:extLst>
              <c:ext xmlns:c16="http://schemas.microsoft.com/office/drawing/2014/chart" uri="{C3380CC4-5D6E-409C-BE32-E72D297353CC}">
                <c16:uniqueId val="{0000001F-0730-4047-97D7-1702257B54F1}"/>
              </c:ext>
            </c:extLst>
          </c:dPt>
          <c:dLbls>
            <c:numFmt formatCode="0.0%" sourceLinked="0"/>
            <c:spPr>
              <a:noFill/>
              <a:ln>
                <a:noFill/>
              </a:ln>
              <a:effectLst/>
            </c:spPr>
            <c:txPr>
              <a:bodyPr rot="0" spcFirstLastPara="1" vertOverflow="ellipsis" vert="horz" wrap="non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A$2:$A$12</c:f>
              <c:numCache>
                <c:formatCode>General</c:formatCode>
                <c:ptCount val="11"/>
                <c:pt idx="0">
                  <c:v>0</c:v>
                </c:pt>
                <c:pt idx="1">
                  <c:v>1</c:v>
                </c:pt>
                <c:pt idx="2">
                  <c:v>2</c:v>
                </c:pt>
                <c:pt idx="3">
                  <c:v>3</c:v>
                </c:pt>
                <c:pt idx="4">
                  <c:v>4</c:v>
                </c:pt>
                <c:pt idx="5">
                  <c:v>5</c:v>
                </c:pt>
                <c:pt idx="6">
                  <c:v>6</c:v>
                </c:pt>
                <c:pt idx="7">
                  <c:v>7</c:v>
                </c:pt>
                <c:pt idx="8">
                  <c:v>8</c:v>
                </c:pt>
                <c:pt idx="9">
                  <c:v>9</c:v>
                </c:pt>
                <c:pt idx="10">
                  <c:v>10</c:v>
                </c:pt>
              </c:numCache>
            </c:numRef>
          </c:cat>
          <c:val>
            <c:numRef>
              <c:f>Sheet1!$B$2:$B$12</c:f>
              <c:numCache>
                <c:formatCode>General</c:formatCode>
                <c:ptCount val="11"/>
                <c:pt idx="0">
                  <c:v>0.144625596426422</c:v>
                </c:pt>
                <c:pt idx="1">
                  <c:v>7.3709483938171463E-2</c:v>
                </c:pt>
                <c:pt idx="2">
                  <c:v>7.0107128669837274E-2</c:v>
                </c:pt>
                <c:pt idx="3">
                  <c:v>5.5930863438467572E-2</c:v>
                </c:pt>
                <c:pt idx="4">
                  <c:v>4.1193482742225562E-2</c:v>
                </c:pt>
                <c:pt idx="5">
                  <c:v>3.1577164777321309E-2</c:v>
                </c:pt>
                <c:pt idx="6">
                  <c:v>4.8101004071141019E-2</c:v>
                </c:pt>
                <c:pt idx="7">
                  <c:v>3.0212086643940799E-2</c:v>
                </c:pt>
                <c:pt idx="8">
                  <c:v>3.3038799269343028E-2</c:v>
                </c:pt>
                <c:pt idx="9">
                  <c:v>2.5012729873956439E-2</c:v>
                </c:pt>
                <c:pt idx="10">
                  <c:v>2.2428122238729871E-2</c:v>
                </c:pt>
              </c:numCache>
            </c:numRef>
          </c:val>
          <c:extLst>
            <c:ext xmlns:c16="http://schemas.microsoft.com/office/drawing/2014/chart" uri="{C3380CC4-5D6E-409C-BE32-E72D297353CC}">
              <c16:uniqueId val="{00000020-0730-4047-97D7-1702257B54F1}"/>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ershey's Cookies 'n Creme Creations Salted Caramel 38g</c:v>
                </c:pt>
              </c:strCache>
            </c:strRef>
          </c:tx>
          <c:spPr>
            <a:solidFill>
              <a:schemeClr val="bg2"/>
            </a:solidFill>
            <a:ln>
              <a:noFill/>
            </a:ln>
            <a:effectLst/>
          </c:spPr>
          <c:invertIfNegative val="0"/>
          <c:dPt>
            <c:idx val="0"/>
            <c:invertIfNegative val="0"/>
            <c:bubble3D val="0"/>
            <c:spPr>
              <a:solidFill>
                <a:srgbClr val="E6E5E5"/>
              </a:solidFill>
              <a:ln>
                <a:noFill/>
              </a:ln>
              <a:effectLst/>
            </c:spPr>
            <c:extLst>
              <c:ext xmlns:c16="http://schemas.microsoft.com/office/drawing/2014/chart" uri="{C3380CC4-5D6E-409C-BE32-E72D297353CC}">
                <c16:uniqueId val="{00000001-902D-4251-AC41-C6D4CBCA5CD6}"/>
              </c:ext>
            </c:extLst>
          </c:dPt>
          <c:dPt>
            <c:idx val="1"/>
            <c:invertIfNegative val="1"/>
            <c:bubble3D val="0"/>
            <c:spPr>
              <a:solidFill>
                <a:srgbClr val="E6E5E5"/>
              </a:solidFill>
            </c:spPr>
            <c:extLst>
              <c:ext xmlns:c16="http://schemas.microsoft.com/office/drawing/2014/chart" uri="{C3380CC4-5D6E-409C-BE32-E72D297353CC}">
                <c16:uniqueId val="{00000003-902D-4251-AC41-C6D4CBCA5CD6}"/>
              </c:ext>
            </c:extLst>
          </c:dPt>
          <c:dPt>
            <c:idx val="2"/>
            <c:invertIfNegative val="1"/>
            <c:bubble3D val="0"/>
            <c:spPr>
              <a:solidFill>
                <a:srgbClr val="E6E5E5"/>
              </a:solidFill>
            </c:spPr>
            <c:extLst>
              <c:ext xmlns:c16="http://schemas.microsoft.com/office/drawing/2014/chart" uri="{C3380CC4-5D6E-409C-BE32-E72D297353CC}">
                <c16:uniqueId val="{00000005-902D-4251-AC41-C6D4CBCA5CD6}"/>
              </c:ext>
            </c:extLst>
          </c:dPt>
          <c:dPt>
            <c:idx val="3"/>
            <c:invertIfNegative val="0"/>
            <c:bubble3D val="0"/>
            <c:spPr>
              <a:solidFill>
                <a:srgbClr val="E6E5E5"/>
              </a:solidFill>
              <a:ln>
                <a:noFill/>
              </a:ln>
              <a:effectLst/>
            </c:spPr>
            <c:extLst>
              <c:ext xmlns:c16="http://schemas.microsoft.com/office/drawing/2014/chart" uri="{C3380CC4-5D6E-409C-BE32-E72D297353CC}">
                <c16:uniqueId val="{00000007-902D-4251-AC41-C6D4CBCA5CD6}"/>
              </c:ext>
            </c:extLst>
          </c:dPt>
          <c:dPt>
            <c:idx val="4"/>
            <c:invertIfNegative val="1"/>
            <c:bubble3D val="0"/>
            <c:spPr>
              <a:solidFill>
                <a:srgbClr val="E6E5E5"/>
              </a:solidFill>
            </c:spPr>
            <c:extLst>
              <c:ext xmlns:c16="http://schemas.microsoft.com/office/drawing/2014/chart" uri="{C3380CC4-5D6E-409C-BE32-E72D297353CC}">
                <c16:uniqueId val="{00000009-902D-4251-AC41-C6D4CBCA5CD6}"/>
              </c:ext>
            </c:extLst>
          </c:dPt>
          <c:dPt>
            <c:idx val="5"/>
            <c:invertIfNegative val="1"/>
            <c:bubble3D val="0"/>
            <c:spPr>
              <a:solidFill>
                <a:srgbClr val="E6E5E5"/>
              </a:solidFill>
            </c:spPr>
            <c:extLst>
              <c:ext xmlns:c16="http://schemas.microsoft.com/office/drawing/2014/chart" uri="{C3380CC4-5D6E-409C-BE32-E72D297353CC}">
                <c16:uniqueId val="{0000000B-902D-4251-AC41-C6D4CBCA5CD6}"/>
              </c:ext>
            </c:extLst>
          </c:dPt>
          <c:dPt>
            <c:idx val="6"/>
            <c:invertIfNegative val="1"/>
            <c:bubble3D val="0"/>
            <c:spPr>
              <a:solidFill>
                <a:srgbClr val="E6E5E5"/>
              </a:solidFill>
            </c:spPr>
            <c:extLst>
              <c:ext xmlns:c16="http://schemas.microsoft.com/office/drawing/2014/chart" uri="{C3380CC4-5D6E-409C-BE32-E72D297353CC}">
                <c16:uniqueId val="{0000000D-902D-4251-AC41-C6D4CBCA5CD6}"/>
              </c:ext>
            </c:extLst>
          </c:dPt>
          <c:dPt>
            <c:idx val="7"/>
            <c:invertIfNegative val="1"/>
            <c:bubble3D val="0"/>
            <c:spPr>
              <a:solidFill>
                <a:srgbClr val="E6E5E5"/>
              </a:solidFill>
            </c:spPr>
            <c:extLst>
              <c:ext xmlns:c16="http://schemas.microsoft.com/office/drawing/2014/chart" uri="{C3380CC4-5D6E-409C-BE32-E72D297353CC}">
                <c16:uniqueId val="{0000000F-902D-4251-AC41-C6D4CBCA5CD6}"/>
              </c:ext>
            </c:extLst>
          </c:dPt>
          <c:dPt>
            <c:idx val="8"/>
            <c:invertIfNegative val="1"/>
            <c:bubble3D val="0"/>
            <c:spPr>
              <a:solidFill>
                <a:srgbClr val="E6E5E5"/>
              </a:solidFill>
            </c:spPr>
            <c:extLst>
              <c:ext xmlns:c16="http://schemas.microsoft.com/office/drawing/2014/chart" uri="{C3380CC4-5D6E-409C-BE32-E72D297353CC}">
                <c16:uniqueId val="{00000011-902D-4251-AC41-C6D4CBCA5CD6}"/>
              </c:ext>
            </c:extLst>
          </c:dPt>
          <c:dPt>
            <c:idx val="9"/>
            <c:invertIfNegative val="1"/>
            <c:bubble3D val="0"/>
            <c:spPr>
              <a:solidFill>
                <a:srgbClr val="E6E5E5"/>
              </a:solidFill>
            </c:spPr>
            <c:extLst>
              <c:ext xmlns:c16="http://schemas.microsoft.com/office/drawing/2014/chart" uri="{C3380CC4-5D6E-409C-BE32-E72D297353CC}">
                <c16:uniqueId val="{00000013-902D-4251-AC41-C6D4CBCA5CD6}"/>
              </c:ext>
            </c:extLst>
          </c:dPt>
          <c:dPt>
            <c:idx val="10"/>
            <c:invertIfNegative val="1"/>
            <c:bubble3D val="0"/>
            <c:spPr>
              <a:solidFill>
                <a:srgbClr val="E6E5E5"/>
              </a:solidFill>
            </c:spPr>
            <c:extLst>
              <c:ext xmlns:c16="http://schemas.microsoft.com/office/drawing/2014/chart" uri="{C3380CC4-5D6E-409C-BE32-E72D297353CC}">
                <c16:uniqueId val="{00000015-902D-4251-AC41-C6D4CBCA5CD6}"/>
              </c:ext>
            </c:extLst>
          </c:dPt>
          <c:dPt>
            <c:idx val="11"/>
            <c:invertIfNegative val="1"/>
            <c:bubble3D val="0"/>
            <c:spPr>
              <a:solidFill>
                <a:srgbClr val="E6E5E5"/>
              </a:solidFill>
            </c:spPr>
            <c:extLst>
              <c:ext xmlns:c16="http://schemas.microsoft.com/office/drawing/2014/chart" uri="{C3380CC4-5D6E-409C-BE32-E72D297353CC}">
                <c16:uniqueId val="{00000017-902D-4251-AC41-C6D4CBCA5CD6}"/>
              </c:ext>
            </c:extLst>
          </c:dPt>
          <c:dPt>
            <c:idx val="12"/>
            <c:invertIfNegative val="1"/>
            <c:bubble3D val="0"/>
            <c:spPr>
              <a:solidFill>
                <a:srgbClr val="E6E5E5"/>
              </a:solidFill>
            </c:spPr>
            <c:extLst>
              <c:ext xmlns:c16="http://schemas.microsoft.com/office/drawing/2014/chart" uri="{C3380CC4-5D6E-409C-BE32-E72D297353CC}">
                <c16:uniqueId val="{00000019-902D-4251-AC41-C6D4CBCA5CD6}"/>
              </c:ext>
            </c:extLst>
          </c:dPt>
          <c:dPt>
            <c:idx val="13"/>
            <c:invertIfNegative val="1"/>
            <c:bubble3D val="0"/>
            <c:spPr>
              <a:solidFill>
                <a:srgbClr val="E6E5E5"/>
              </a:solidFill>
            </c:spPr>
            <c:extLst>
              <c:ext xmlns:c16="http://schemas.microsoft.com/office/drawing/2014/chart" uri="{C3380CC4-5D6E-409C-BE32-E72D297353CC}">
                <c16:uniqueId val="{0000001B-902D-4251-AC41-C6D4CBCA5CD6}"/>
              </c:ext>
            </c:extLst>
          </c:dPt>
          <c:dPt>
            <c:idx val="14"/>
            <c:invertIfNegative val="0"/>
            <c:bubble3D val="0"/>
            <c:spPr>
              <a:solidFill>
                <a:srgbClr val="E6E5E5"/>
              </a:solidFill>
              <a:ln>
                <a:noFill/>
              </a:ln>
              <a:effectLst/>
            </c:spPr>
            <c:extLst>
              <c:ext xmlns:c16="http://schemas.microsoft.com/office/drawing/2014/chart" uri="{C3380CC4-5D6E-409C-BE32-E72D297353CC}">
                <c16:uniqueId val="{0000001D-902D-4251-AC41-C6D4CBCA5CD6}"/>
              </c:ext>
            </c:extLst>
          </c:dPt>
          <c:dPt>
            <c:idx val="15"/>
            <c:invertIfNegative val="1"/>
            <c:bubble3D val="0"/>
            <c:spPr>
              <a:solidFill>
                <a:srgbClr val="E6E5E5"/>
              </a:solidFill>
            </c:spPr>
            <c:extLst>
              <c:ext xmlns:c16="http://schemas.microsoft.com/office/drawing/2014/chart" uri="{C3380CC4-5D6E-409C-BE32-E72D297353CC}">
                <c16:uniqueId val="{0000001F-902D-4251-AC41-C6D4CBCA5CD6}"/>
              </c:ext>
            </c:extLst>
          </c:dPt>
          <c:dPt>
            <c:idx val="16"/>
            <c:invertIfNegative val="1"/>
            <c:bubble3D val="0"/>
            <c:spPr>
              <a:solidFill>
                <a:srgbClr val="E6E5E5"/>
              </a:solidFill>
            </c:spPr>
            <c:extLst>
              <c:ext xmlns:c16="http://schemas.microsoft.com/office/drawing/2014/chart" uri="{C3380CC4-5D6E-409C-BE32-E72D297353CC}">
                <c16:uniqueId val="{00000021-902D-4251-AC41-C6D4CBCA5CD6}"/>
              </c:ext>
            </c:extLst>
          </c:dPt>
          <c:dPt>
            <c:idx val="17"/>
            <c:invertIfNegative val="0"/>
            <c:bubble3D val="0"/>
            <c:spPr>
              <a:solidFill>
                <a:srgbClr val="E6E5E5"/>
              </a:solidFill>
              <a:ln>
                <a:noFill/>
              </a:ln>
              <a:effectLst/>
            </c:spPr>
            <c:extLst>
              <c:ext xmlns:c16="http://schemas.microsoft.com/office/drawing/2014/chart" uri="{C3380CC4-5D6E-409C-BE32-E72D297353CC}">
                <c16:uniqueId val="{00000023-902D-4251-AC41-C6D4CBCA5CD6}"/>
              </c:ext>
            </c:extLst>
          </c:dPt>
          <c:dPt>
            <c:idx val="18"/>
            <c:invertIfNegative val="1"/>
            <c:bubble3D val="0"/>
            <c:spPr>
              <a:solidFill>
                <a:srgbClr val="E6E5E5"/>
              </a:solidFill>
            </c:spPr>
            <c:extLst>
              <c:ext xmlns:c16="http://schemas.microsoft.com/office/drawing/2014/chart" uri="{C3380CC4-5D6E-409C-BE32-E72D297353CC}">
                <c16:uniqueId val="{00000025-902D-4251-AC41-C6D4CBCA5CD6}"/>
              </c:ext>
            </c:extLst>
          </c:dPt>
          <c:dPt>
            <c:idx val="19"/>
            <c:invertIfNegative val="1"/>
            <c:bubble3D val="0"/>
            <c:spPr>
              <a:solidFill>
                <a:srgbClr val="E6E5E5"/>
              </a:solidFill>
            </c:spPr>
            <c:extLst>
              <c:ext xmlns:c16="http://schemas.microsoft.com/office/drawing/2014/chart" uri="{C3380CC4-5D6E-409C-BE32-E72D297353CC}">
                <c16:uniqueId val="{00000027-902D-4251-AC41-C6D4CBCA5CD6}"/>
              </c:ext>
            </c:extLst>
          </c:dPt>
          <c:dPt>
            <c:idx val="20"/>
            <c:invertIfNegative val="1"/>
            <c:bubble3D val="0"/>
            <c:spPr>
              <a:solidFill>
                <a:srgbClr val="E6E5E5"/>
              </a:solidFill>
            </c:spPr>
            <c:extLst>
              <c:ext xmlns:c16="http://schemas.microsoft.com/office/drawing/2014/chart" uri="{C3380CC4-5D6E-409C-BE32-E72D297353CC}">
                <c16:uniqueId val="{00000029-902D-4251-AC41-C6D4CBCA5CD6}"/>
              </c:ext>
            </c:extLst>
          </c:dPt>
          <c:dPt>
            <c:idx val="21"/>
            <c:invertIfNegative val="1"/>
            <c:bubble3D val="0"/>
            <c:spPr>
              <a:solidFill>
                <a:srgbClr val="E6E5E5"/>
              </a:solidFill>
            </c:spPr>
            <c:extLst>
              <c:ext xmlns:c16="http://schemas.microsoft.com/office/drawing/2014/chart" uri="{C3380CC4-5D6E-409C-BE32-E72D297353CC}">
                <c16:uniqueId val="{0000002B-902D-4251-AC41-C6D4CBCA5CD6}"/>
              </c:ext>
            </c:extLst>
          </c:dPt>
          <c:dPt>
            <c:idx val="22"/>
            <c:invertIfNegative val="1"/>
            <c:bubble3D val="0"/>
            <c:spPr>
              <a:solidFill>
                <a:srgbClr val="E6E5E5"/>
              </a:solidFill>
            </c:spPr>
            <c:extLst>
              <c:ext xmlns:c16="http://schemas.microsoft.com/office/drawing/2014/chart" uri="{C3380CC4-5D6E-409C-BE32-E72D297353CC}">
                <c16:uniqueId val="{0000002D-902D-4251-AC41-C6D4CBCA5CD6}"/>
              </c:ext>
            </c:extLst>
          </c:dPt>
          <c:dPt>
            <c:idx val="23"/>
            <c:invertIfNegative val="1"/>
            <c:bubble3D val="0"/>
            <c:spPr>
              <a:solidFill>
                <a:srgbClr val="E6E5E5"/>
              </a:solidFill>
            </c:spPr>
            <c:extLst>
              <c:ext xmlns:c16="http://schemas.microsoft.com/office/drawing/2014/chart" uri="{C3380CC4-5D6E-409C-BE32-E72D297353CC}">
                <c16:uniqueId val="{0000002F-902D-4251-AC41-C6D4CBCA5CD6}"/>
              </c:ext>
            </c:extLst>
          </c:dPt>
          <c:dPt>
            <c:idx val="24"/>
            <c:invertIfNegative val="1"/>
            <c:bubble3D val="0"/>
            <c:spPr>
              <a:solidFill>
                <a:srgbClr val="E6E5E5"/>
              </a:solidFill>
            </c:spPr>
            <c:extLst>
              <c:ext xmlns:c16="http://schemas.microsoft.com/office/drawing/2014/chart" uri="{C3380CC4-5D6E-409C-BE32-E72D297353CC}">
                <c16:uniqueId val="{00000031-902D-4251-AC41-C6D4CBCA5CD6}"/>
              </c:ext>
            </c:extLst>
          </c:dPt>
          <c:dPt>
            <c:idx val="25"/>
            <c:invertIfNegative val="1"/>
            <c:bubble3D val="0"/>
            <c:spPr>
              <a:solidFill>
                <a:srgbClr val="E6E5E5"/>
              </a:solidFill>
            </c:spPr>
            <c:extLst>
              <c:ext xmlns:c16="http://schemas.microsoft.com/office/drawing/2014/chart" uri="{C3380CC4-5D6E-409C-BE32-E72D297353CC}">
                <c16:uniqueId val="{00000033-902D-4251-AC41-C6D4CBCA5CD6}"/>
              </c:ext>
            </c:extLst>
          </c:dPt>
          <c:dPt>
            <c:idx val="26"/>
            <c:invertIfNegative val="1"/>
            <c:bubble3D val="0"/>
            <c:spPr>
              <a:solidFill>
                <a:srgbClr val="E6E5E5"/>
              </a:solidFill>
            </c:spPr>
            <c:extLst>
              <c:ext xmlns:c16="http://schemas.microsoft.com/office/drawing/2014/chart" uri="{C3380CC4-5D6E-409C-BE32-E72D297353CC}">
                <c16:uniqueId val="{00000035-902D-4251-AC41-C6D4CBCA5CD6}"/>
              </c:ext>
            </c:extLst>
          </c:dPt>
          <c:dPt>
            <c:idx val="27"/>
            <c:invertIfNegative val="1"/>
            <c:bubble3D val="0"/>
            <c:spPr>
              <a:solidFill>
                <a:srgbClr val="E6E5E5"/>
              </a:solidFill>
            </c:spPr>
            <c:extLst>
              <c:ext xmlns:c16="http://schemas.microsoft.com/office/drawing/2014/chart" uri="{C3380CC4-5D6E-409C-BE32-E72D297353CC}">
                <c16:uniqueId val="{00000037-902D-4251-AC41-C6D4CBCA5CD6}"/>
              </c:ext>
            </c:extLst>
          </c:dPt>
          <c:dPt>
            <c:idx val="28"/>
            <c:invertIfNegative val="1"/>
            <c:bubble3D val="0"/>
            <c:spPr>
              <a:solidFill>
                <a:srgbClr val="E6E5E5"/>
              </a:solidFill>
            </c:spPr>
            <c:extLst>
              <c:ext xmlns:c16="http://schemas.microsoft.com/office/drawing/2014/chart" uri="{C3380CC4-5D6E-409C-BE32-E72D297353CC}">
                <c16:uniqueId val="{00000039-902D-4251-AC41-C6D4CBCA5CD6}"/>
              </c:ext>
            </c:extLst>
          </c:dPt>
          <c:dPt>
            <c:idx val="29"/>
            <c:invertIfNegative val="1"/>
            <c:bubble3D val="0"/>
            <c:spPr>
              <a:solidFill>
                <a:srgbClr val="E6E5E5"/>
              </a:solidFill>
            </c:spPr>
            <c:extLst>
              <c:ext xmlns:c16="http://schemas.microsoft.com/office/drawing/2014/chart" uri="{C3380CC4-5D6E-409C-BE32-E72D297353CC}">
                <c16:uniqueId val="{0000003B-902D-4251-AC41-C6D4CBCA5CD6}"/>
              </c:ext>
            </c:extLst>
          </c:dPt>
          <c:dPt>
            <c:idx val="30"/>
            <c:invertIfNegative val="1"/>
            <c:bubble3D val="0"/>
            <c:spPr>
              <a:solidFill>
                <a:srgbClr val="E6E5E5"/>
              </a:solidFill>
            </c:spPr>
            <c:extLst>
              <c:ext xmlns:c16="http://schemas.microsoft.com/office/drawing/2014/chart" uri="{C3380CC4-5D6E-409C-BE32-E72D297353CC}">
                <c16:uniqueId val="{0000003D-902D-4251-AC41-C6D4CBCA5CD6}"/>
              </c:ext>
            </c:extLst>
          </c:dPt>
          <c:dPt>
            <c:idx val="31"/>
            <c:invertIfNegative val="1"/>
            <c:bubble3D val="0"/>
            <c:spPr>
              <a:solidFill>
                <a:srgbClr val="E6E5E5"/>
              </a:solidFill>
            </c:spPr>
            <c:extLst>
              <c:ext xmlns:c16="http://schemas.microsoft.com/office/drawing/2014/chart" uri="{C3380CC4-5D6E-409C-BE32-E72D297353CC}">
                <c16:uniqueId val="{0000003F-902D-4251-AC41-C6D4CBCA5CD6}"/>
              </c:ext>
            </c:extLst>
          </c:dPt>
          <c:dPt>
            <c:idx val="32"/>
            <c:invertIfNegative val="0"/>
            <c:bubble3D val="0"/>
            <c:spPr>
              <a:solidFill>
                <a:srgbClr val="E6E5E5"/>
              </a:solidFill>
              <a:ln>
                <a:noFill/>
              </a:ln>
              <a:effectLst/>
            </c:spPr>
            <c:extLst>
              <c:ext xmlns:c16="http://schemas.microsoft.com/office/drawing/2014/chart" uri="{C3380CC4-5D6E-409C-BE32-E72D297353CC}">
                <c16:uniqueId val="{00000041-902D-4251-AC41-C6D4CBCA5CD6}"/>
              </c:ext>
            </c:extLst>
          </c:dPt>
          <c:dPt>
            <c:idx val="33"/>
            <c:invertIfNegative val="1"/>
            <c:bubble3D val="0"/>
            <c:spPr>
              <a:solidFill>
                <a:srgbClr val="E6E5E5"/>
              </a:solidFill>
            </c:spPr>
            <c:extLst>
              <c:ext xmlns:c16="http://schemas.microsoft.com/office/drawing/2014/chart" uri="{C3380CC4-5D6E-409C-BE32-E72D297353CC}">
                <c16:uniqueId val="{00000043-902D-4251-AC41-C6D4CBCA5CD6}"/>
              </c:ext>
            </c:extLst>
          </c:dPt>
          <c:dPt>
            <c:idx val="34"/>
            <c:invertIfNegative val="1"/>
            <c:bubble3D val="0"/>
            <c:spPr>
              <a:solidFill>
                <a:srgbClr val="E6E5E5"/>
              </a:solidFill>
            </c:spPr>
            <c:extLst>
              <c:ext xmlns:c16="http://schemas.microsoft.com/office/drawing/2014/chart" uri="{C3380CC4-5D6E-409C-BE32-E72D297353CC}">
                <c16:uniqueId val="{00000045-902D-4251-AC41-C6D4CBCA5CD6}"/>
              </c:ext>
            </c:extLst>
          </c:dPt>
          <c:dPt>
            <c:idx val="35"/>
            <c:invertIfNegative val="1"/>
            <c:bubble3D val="0"/>
            <c:spPr>
              <a:solidFill>
                <a:srgbClr val="E6E5E5"/>
              </a:solidFill>
            </c:spPr>
            <c:extLst>
              <c:ext xmlns:c16="http://schemas.microsoft.com/office/drawing/2014/chart" uri="{C3380CC4-5D6E-409C-BE32-E72D297353CC}">
                <c16:uniqueId val="{00000047-902D-4251-AC41-C6D4CBCA5CD6}"/>
              </c:ext>
            </c:extLst>
          </c:dPt>
          <c:dPt>
            <c:idx val="36"/>
            <c:invertIfNegative val="1"/>
            <c:bubble3D val="0"/>
            <c:spPr>
              <a:solidFill>
                <a:srgbClr val="E6E5E5"/>
              </a:solidFill>
            </c:spPr>
            <c:extLst>
              <c:ext xmlns:c16="http://schemas.microsoft.com/office/drawing/2014/chart" uri="{C3380CC4-5D6E-409C-BE32-E72D297353CC}">
                <c16:uniqueId val="{00000049-902D-4251-AC41-C6D4CBCA5CD6}"/>
              </c:ext>
            </c:extLst>
          </c:dPt>
          <c:dPt>
            <c:idx val="37"/>
            <c:invertIfNegative val="1"/>
            <c:bubble3D val="0"/>
            <c:spPr>
              <a:solidFill>
                <a:srgbClr val="E6E5E5"/>
              </a:solidFill>
            </c:spPr>
            <c:extLst>
              <c:ext xmlns:c16="http://schemas.microsoft.com/office/drawing/2014/chart" uri="{C3380CC4-5D6E-409C-BE32-E72D297353CC}">
                <c16:uniqueId val="{0000004B-902D-4251-AC41-C6D4CBCA5CD6}"/>
              </c:ext>
            </c:extLst>
          </c:dPt>
          <c:dPt>
            <c:idx val="38"/>
            <c:invertIfNegative val="1"/>
            <c:bubble3D val="0"/>
            <c:spPr>
              <a:solidFill>
                <a:srgbClr val="E6E5E5"/>
              </a:solidFill>
            </c:spPr>
            <c:extLst>
              <c:ext xmlns:c16="http://schemas.microsoft.com/office/drawing/2014/chart" uri="{C3380CC4-5D6E-409C-BE32-E72D297353CC}">
                <c16:uniqueId val="{0000004D-902D-4251-AC41-C6D4CBCA5CD6}"/>
              </c:ext>
            </c:extLst>
          </c:dPt>
          <c:dPt>
            <c:idx val="39"/>
            <c:invertIfNegative val="1"/>
            <c:bubble3D val="0"/>
            <c:spPr>
              <a:solidFill>
                <a:srgbClr val="E6E5E5"/>
              </a:solidFill>
            </c:spPr>
            <c:extLst>
              <c:ext xmlns:c16="http://schemas.microsoft.com/office/drawing/2014/chart" uri="{C3380CC4-5D6E-409C-BE32-E72D297353CC}">
                <c16:uniqueId val="{0000004F-902D-4251-AC41-C6D4CBCA5CD6}"/>
              </c:ext>
            </c:extLst>
          </c:dPt>
          <c:dPt>
            <c:idx val="40"/>
            <c:invertIfNegative val="1"/>
            <c:bubble3D val="0"/>
            <c:spPr>
              <a:solidFill>
                <a:srgbClr val="E6E5E5"/>
              </a:solidFill>
            </c:spPr>
            <c:extLst>
              <c:ext xmlns:c16="http://schemas.microsoft.com/office/drawing/2014/chart" uri="{C3380CC4-5D6E-409C-BE32-E72D297353CC}">
                <c16:uniqueId val="{00000051-902D-4251-AC41-C6D4CBCA5CD6}"/>
              </c:ext>
            </c:extLst>
          </c:dPt>
          <c:dPt>
            <c:idx val="41"/>
            <c:invertIfNegative val="1"/>
            <c:bubble3D val="0"/>
            <c:spPr>
              <a:solidFill>
                <a:srgbClr val="E6E5E5"/>
              </a:solidFill>
            </c:spPr>
            <c:extLst>
              <c:ext xmlns:c16="http://schemas.microsoft.com/office/drawing/2014/chart" uri="{C3380CC4-5D6E-409C-BE32-E72D297353CC}">
                <c16:uniqueId val="{00000053-902D-4251-AC41-C6D4CBCA5CD6}"/>
              </c:ext>
            </c:extLst>
          </c:dPt>
          <c:dPt>
            <c:idx val="42"/>
            <c:invertIfNegative val="1"/>
            <c:bubble3D val="0"/>
            <c:spPr>
              <a:solidFill>
                <a:srgbClr val="E6E5E5"/>
              </a:solidFill>
            </c:spPr>
            <c:extLst>
              <c:ext xmlns:c16="http://schemas.microsoft.com/office/drawing/2014/chart" uri="{C3380CC4-5D6E-409C-BE32-E72D297353CC}">
                <c16:uniqueId val="{00000055-902D-4251-AC41-C6D4CBCA5CD6}"/>
              </c:ext>
            </c:extLst>
          </c:dPt>
          <c:dPt>
            <c:idx val="43"/>
            <c:invertIfNegative val="1"/>
            <c:bubble3D val="0"/>
            <c:spPr>
              <a:solidFill>
                <a:srgbClr val="E6E5E5"/>
              </a:solidFill>
            </c:spPr>
            <c:extLst>
              <c:ext xmlns:c16="http://schemas.microsoft.com/office/drawing/2014/chart" uri="{C3380CC4-5D6E-409C-BE32-E72D297353CC}">
                <c16:uniqueId val="{00000057-902D-4251-AC41-C6D4CBCA5CD6}"/>
              </c:ext>
            </c:extLst>
          </c:dPt>
          <c:dPt>
            <c:idx val="44"/>
            <c:invertIfNegative val="0"/>
            <c:bubble3D val="0"/>
            <c:spPr>
              <a:solidFill>
                <a:srgbClr val="E6E5E5"/>
              </a:solidFill>
              <a:ln>
                <a:noFill/>
              </a:ln>
              <a:effectLst/>
            </c:spPr>
            <c:extLst>
              <c:ext xmlns:c16="http://schemas.microsoft.com/office/drawing/2014/chart" uri="{C3380CC4-5D6E-409C-BE32-E72D297353CC}">
                <c16:uniqueId val="{00000059-902D-4251-AC41-C6D4CBCA5CD6}"/>
              </c:ext>
            </c:extLst>
          </c:dPt>
          <c:dPt>
            <c:idx val="45"/>
            <c:invertIfNegative val="1"/>
            <c:bubble3D val="0"/>
            <c:spPr>
              <a:solidFill>
                <a:srgbClr val="E6E5E5"/>
              </a:solidFill>
            </c:spPr>
            <c:extLst>
              <c:ext xmlns:c16="http://schemas.microsoft.com/office/drawing/2014/chart" uri="{C3380CC4-5D6E-409C-BE32-E72D297353CC}">
                <c16:uniqueId val="{0000005B-902D-4251-AC41-C6D4CBCA5CD6}"/>
              </c:ext>
            </c:extLst>
          </c:dPt>
          <c:dPt>
            <c:idx val="46"/>
            <c:invertIfNegative val="1"/>
            <c:bubble3D val="0"/>
            <c:spPr>
              <a:solidFill>
                <a:srgbClr val="E6E5E5"/>
              </a:solidFill>
            </c:spPr>
            <c:extLst>
              <c:ext xmlns:c16="http://schemas.microsoft.com/office/drawing/2014/chart" uri="{C3380CC4-5D6E-409C-BE32-E72D297353CC}">
                <c16:uniqueId val="{0000005D-902D-4251-AC41-C6D4CBCA5CD6}"/>
              </c:ext>
            </c:extLst>
          </c:dPt>
          <c:dPt>
            <c:idx val="47"/>
            <c:invertIfNegative val="1"/>
            <c:bubble3D val="0"/>
            <c:spPr>
              <a:solidFill>
                <a:srgbClr val="E6E5E5"/>
              </a:solidFill>
            </c:spPr>
            <c:extLst>
              <c:ext xmlns:c16="http://schemas.microsoft.com/office/drawing/2014/chart" uri="{C3380CC4-5D6E-409C-BE32-E72D297353CC}">
                <c16:uniqueId val="{0000005F-902D-4251-AC41-C6D4CBCA5CD6}"/>
              </c:ext>
            </c:extLst>
          </c:dPt>
          <c:dPt>
            <c:idx val="48"/>
            <c:invertIfNegative val="1"/>
            <c:bubble3D val="0"/>
            <c:spPr>
              <a:solidFill>
                <a:srgbClr val="E6E5E5"/>
              </a:solidFill>
            </c:spPr>
            <c:extLst>
              <c:ext xmlns:c16="http://schemas.microsoft.com/office/drawing/2014/chart" uri="{C3380CC4-5D6E-409C-BE32-E72D297353CC}">
                <c16:uniqueId val="{00000061-902D-4251-AC41-C6D4CBCA5CD6}"/>
              </c:ext>
            </c:extLst>
          </c:dPt>
          <c:dPt>
            <c:idx val="49"/>
            <c:invertIfNegative val="0"/>
            <c:bubble3D val="0"/>
            <c:spPr>
              <a:solidFill>
                <a:srgbClr val="E6E5E5"/>
              </a:solidFill>
              <a:ln>
                <a:noFill/>
              </a:ln>
              <a:effectLst/>
            </c:spPr>
            <c:extLst>
              <c:ext xmlns:c16="http://schemas.microsoft.com/office/drawing/2014/chart" uri="{C3380CC4-5D6E-409C-BE32-E72D297353CC}">
                <c16:uniqueId val="{00000063-902D-4251-AC41-C6D4CBCA5CD6}"/>
              </c:ext>
            </c:extLst>
          </c:dPt>
          <c:dPt>
            <c:idx val="50"/>
            <c:invertIfNegative val="0"/>
            <c:bubble3D val="0"/>
            <c:spPr>
              <a:solidFill>
                <a:srgbClr val="E6E5E5"/>
              </a:solidFill>
              <a:ln>
                <a:noFill/>
              </a:ln>
              <a:effectLst/>
            </c:spPr>
            <c:extLst>
              <c:ext xmlns:c16="http://schemas.microsoft.com/office/drawing/2014/chart" uri="{C3380CC4-5D6E-409C-BE32-E72D297353CC}">
                <c16:uniqueId val="{00000065-902D-4251-AC41-C6D4CBCA5CD6}"/>
              </c:ext>
            </c:extLst>
          </c:dPt>
          <c:dPt>
            <c:idx val="51"/>
            <c:invertIfNegative val="1"/>
            <c:bubble3D val="0"/>
            <c:spPr>
              <a:solidFill>
                <a:srgbClr val="E6E5E5"/>
              </a:solidFill>
            </c:spPr>
            <c:extLst>
              <c:ext xmlns:c16="http://schemas.microsoft.com/office/drawing/2014/chart" uri="{C3380CC4-5D6E-409C-BE32-E72D297353CC}">
                <c16:uniqueId val="{00000067-902D-4251-AC41-C6D4CBCA5CD6}"/>
              </c:ext>
            </c:extLst>
          </c:dPt>
          <c:dPt>
            <c:idx val="52"/>
            <c:invertIfNegative val="1"/>
            <c:bubble3D val="0"/>
            <c:spPr>
              <a:solidFill>
                <a:srgbClr val="E6E5E5"/>
              </a:solidFill>
            </c:spPr>
            <c:extLst>
              <c:ext xmlns:c16="http://schemas.microsoft.com/office/drawing/2014/chart" uri="{C3380CC4-5D6E-409C-BE32-E72D297353CC}">
                <c16:uniqueId val="{00000069-902D-4251-AC41-C6D4CBCA5CD6}"/>
              </c:ext>
            </c:extLst>
          </c:dPt>
          <c:dPt>
            <c:idx val="53"/>
            <c:invertIfNegative val="1"/>
            <c:bubble3D val="0"/>
            <c:spPr>
              <a:solidFill>
                <a:srgbClr val="E6E5E5"/>
              </a:solidFill>
            </c:spPr>
            <c:extLst>
              <c:ext xmlns:c16="http://schemas.microsoft.com/office/drawing/2014/chart" uri="{C3380CC4-5D6E-409C-BE32-E72D297353CC}">
                <c16:uniqueId val="{0000006B-B2E8-4080-83D6-EECA18439E6A}"/>
              </c:ext>
            </c:extLst>
          </c:dPt>
          <c:dPt>
            <c:idx val="54"/>
            <c:invertIfNegative val="1"/>
            <c:bubble3D val="0"/>
            <c:spPr>
              <a:solidFill>
                <a:srgbClr val="E6E5E5"/>
              </a:solidFill>
            </c:spPr>
            <c:extLst>
              <c:ext xmlns:c16="http://schemas.microsoft.com/office/drawing/2014/chart" uri="{C3380CC4-5D6E-409C-BE32-E72D297353CC}">
                <c16:uniqueId val="{0000006D-B2E8-4080-83D6-EECA18439E6A}"/>
              </c:ext>
            </c:extLst>
          </c:dPt>
          <c:dPt>
            <c:idx val="55"/>
            <c:invertIfNegative val="1"/>
            <c:bubble3D val="0"/>
            <c:spPr>
              <a:solidFill>
                <a:srgbClr val="E6E5E5"/>
              </a:solidFill>
            </c:spPr>
            <c:extLst>
              <c:ext xmlns:c16="http://schemas.microsoft.com/office/drawing/2014/chart" uri="{C3380CC4-5D6E-409C-BE32-E72D297353CC}">
                <c16:uniqueId val="{0000006F-B2E8-4080-83D6-EECA18439E6A}"/>
              </c:ext>
            </c:extLst>
          </c:dPt>
          <c:dPt>
            <c:idx val="56"/>
            <c:invertIfNegative val="1"/>
            <c:bubble3D val="0"/>
            <c:spPr>
              <a:solidFill>
                <a:srgbClr val="E6E5E5"/>
              </a:solidFill>
            </c:spPr>
            <c:extLst>
              <c:ext xmlns:c16="http://schemas.microsoft.com/office/drawing/2014/chart" uri="{C3380CC4-5D6E-409C-BE32-E72D297353CC}">
                <c16:uniqueId val="{00000071-B2E8-4080-83D6-EECA18439E6A}"/>
              </c:ext>
            </c:extLst>
          </c:dPt>
          <c:dPt>
            <c:idx val="57"/>
            <c:invertIfNegative val="1"/>
            <c:bubble3D val="0"/>
            <c:spPr>
              <a:solidFill>
                <a:srgbClr val="E6E5E5"/>
              </a:solidFill>
            </c:spPr>
            <c:extLst>
              <c:ext xmlns:c16="http://schemas.microsoft.com/office/drawing/2014/chart" uri="{C3380CC4-5D6E-409C-BE32-E72D297353CC}">
                <c16:uniqueId val="{00000073-B2E8-4080-83D6-EECA18439E6A}"/>
              </c:ext>
            </c:extLst>
          </c:dPt>
          <c:dPt>
            <c:idx val="58"/>
            <c:invertIfNegative val="1"/>
            <c:bubble3D val="0"/>
            <c:spPr>
              <a:solidFill>
                <a:srgbClr val="E6E5E5"/>
              </a:solidFill>
            </c:spPr>
            <c:extLst>
              <c:ext xmlns:c16="http://schemas.microsoft.com/office/drawing/2014/chart" uri="{C3380CC4-5D6E-409C-BE32-E72D297353CC}">
                <c16:uniqueId val="{00000075-B2E8-4080-83D6-EECA18439E6A}"/>
              </c:ext>
            </c:extLst>
          </c:dPt>
          <c:dPt>
            <c:idx val="59"/>
            <c:invertIfNegative val="1"/>
            <c:bubble3D val="0"/>
            <c:spPr>
              <a:solidFill>
                <a:srgbClr val="E6E5E5"/>
              </a:solidFill>
            </c:spPr>
            <c:extLst>
              <c:ext xmlns:c16="http://schemas.microsoft.com/office/drawing/2014/chart" uri="{C3380CC4-5D6E-409C-BE32-E72D297353CC}">
                <c16:uniqueId val="{00000077-B2E8-4080-83D6-EECA18439E6A}"/>
              </c:ext>
            </c:extLst>
          </c:dPt>
          <c:dPt>
            <c:idx val="60"/>
            <c:invertIfNegative val="1"/>
            <c:bubble3D val="0"/>
            <c:spPr>
              <a:solidFill>
                <a:srgbClr val="E6E5E5"/>
              </a:solidFill>
            </c:spPr>
            <c:extLst>
              <c:ext xmlns:c16="http://schemas.microsoft.com/office/drawing/2014/chart" uri="{C3380CC4-5D6E-409C-BE32-E72D297353CC}">
                <c16:uniqueId val="{00000079-B2E8-4080-83D6-EECA18439E6A}"/>
              </c:ext>
            </c:extLst>
          </c:dPt>
          <c:dPt>
            <c:idx val="61"/>
            <c:invertIfNegative val="1"/>
            <c:bubble3D val="0"/>
            <c:spPr>
              <a:solidFill>
                <a:srgbClr val="E6E5E5"/>
              </a:solidFill>
            </c:spPr>
            <c:extLst>
              <c:ext xmlns:c16="http://schemas.microsoft.com/office/drawing/2014/chart" uri="{C3380CC4-5D6E-409C-BE32-E72D297353CC}">
                <c16:uniqueId val="{0000007B-B2E8-4080-83D6-EECA18439E6A}"/>
              </c:ext>
            </c:extLst>
          </c:dPt>
          <c:dPt>
            <c:idx val="62"/>
            <c:invertIfNegative val="1"/>
            <c:bubble3D val="0"/>
            <c:spPr>
              <a:solidFill>
                <a:srgbClr val="E6E5E5"/>
              </a:solidFill>
            </c:spPr>
            <c:extLst>
              <c:ext xmlns:c16="http://schemas.microsoft.com/office/drawing/2014/chart" uri="{C3380CC4-5D6E-409C-BE32-E72D297353CC}">
                <c16:uniqueId val="{0000007D-B2E8-4080-83D6-EECA18439E6A}"/>
              </c:ext>
            </c:extLst>
          </c:dPt>
          <c:dPt>
            <c:idx val="63"/>
            <c:invertIfNegative val="1"/>
            <c:bubble3D val="0"/>
            <c:spPr>
              <a:solidFill>
                <a:srgbClr val="E6E5E5"/>
              </a:solidFill>
            </c:spPr>
            <c:extLst>
              <c:ext xmlns:c16="http://schemas.microsoft.com/office/drawing/2014/chart" uri="{C3380CC4-5D6E-409C-BE32-E72D297353CC}">
                <c16:uniqueId val="{0000007F-B2E8-4080-83D6-EECA18439E6A}"/>
              </c:ext>
            </c:extLst>
          </c:dPt>
          <c:dPt>
            <c:idx val="64"/>
            <c:invertIfNegative val="1"/>
            <c:bubble3D val="0"/>
            <c:spPr>
              <a:solidFill>
                <a:srgbClr val="E6E5E5"/>
              </a:solidFill>
            </c:spPr>
            <c:extLst>
              <c:ext xmlns:c16="http://schemas.microsoft.com/office/drawing/2014/chart" uri="{C3380CC4-5D6E-409C-BE32-E72D297353CC}">
                <c16:uniqueId val="{00000081-B2E8-4080-83D6-EECA18439E6A}"/>
              </c:ext>
            </c:extLst>
          </c:dPt>
          <c:dPt>
            <c:idx val="65"/>
            <c:invertIfNegative val="1"/>
            <c:bubble3D val="0"/>
            <c:spPr>
              <a:solidFill>
                <a:srgbClr val="E6E5E5"/>
              </a:solidFill>
            </c:spPr>
            <c:extLst>
              <c:ext xmlns:c16="http://schemas.microsoft.com/office/drawing/2014/chart" uri="{C3380CC4-5D6E-409C-BE32-E72D297353CC}">
                <c16:uniqueId val="{00000083-B2E8-4080-83D6-EECA18439E6A}"/>
              </c:ext>
            </c:extLst>
          </c:dPt>
          <c:dPt>
            <c:idx val="66"/>
            <c:invertIfNegative val="1"/>
            <c:bubble3D val="0"/>
            <c:spPr>
              <a:solidFill>
                <a:srgbClr val="E6E5E5"/>
              </a:solidFill>
            </c:spPr>
            <c:extLst>
              <c:ext xmlns:c16="http://schemas.microsoft.com/office/drawing/2014/chart" uri="{C3380CC4-5D6E-409C-BE32-E72D297353CC}">
                <c16:uniqueId val="{00000085-B2E8-4080-83D6-EECA18439E6A}"/>
              </c:ext>
            </c:extLst>
          </c:dPt>
          <c:dPt>
            <c:idx val="67"/>
            <c:invertIfNegative val="1"/>
            <c:bubble3D val="0"/>
            <c:spPr>
              <a:solidFill>
                <a:srgbClr val="E6E5E5"/>
              </a:solidFill>
            </c:spPr>
            <c:extLst>
              <c:ext xmlns:c16="http://schemas.microsoft.com/office/drawing/2014/chart" uri="{C3380CC4-5D6E-409C-BE32-E72D297353CC}">
                <c16:uniqueId val="{00000087-B2E8-4080-83D6-EECA18439E6A}"/>
              </c:ext>
            </c:extLst>
          </c:dPt>
          <c:dPt>
            <c:idx val="68"/>
            <c:invertIfNegative val="1"/>
            <c:bubble3D val="0"/>
            <c:spPr>
              <a:solidFill>
                <a:srgbClr val="E6E5E5"/>
              </a:solidFill>
            </c:spPr>
            <c:extLst>
              <c:ext xmlns:c16="http://schemas.microsoft.com/office/drawing/2014/chart" uri="{C3380CC4-5D6E-409C-BE32-E72D297353CC}">
                <c16:uniqueId val="{00000089-B2E8-4080-83D6-EECA18439E6A}"/>
              </c:ext>
            </c:extLst>
          </c:dPt>
          <c:dPt>
            <c:idx val="69"/>
            <c:invertIfNegative val="1"/>
            <c:bubble3D val="0"/>
            <c:spPr>
              <a:solidFill>
                <a:srgbClr val="E6E5E5"/>
              </a:solidFill>
            </c:spPr>
            <c:extLst>
              <c:ext xmlns:c16="http://schemas.microsoft.com/office/drawing/2014/chart" uri="{C3380CC4-5D6E-409C-BE32-E72D297353CC}">
                <c16:uniqueId val="{0000008B-B2E8-4080-83D6-EECA18439E6A}"/>
              </c:ext>
            </c:extLst>
          </c:dPt>
          <c:dPt>
            <c:idx val="70"/>
            <c:invertIfNegative val="1"/>
            <c:bubble3D val="0"/>
            <c:spPr>
              <a:solidFill>
                <a:srgbClr val="E6E5E5"/>
              </a:solidFill>
            </c:spPr>
            <c:extLst>
              <c:ext xmlns:c16="http://schemas.microsoft.com/office/drawing/2014/chart" uri="{C3380CC4-5D6E-409C-BE32-E72D297353CC}">
                <c16:uniqueId val="{0000008D-B2E8-4080-83D6-EECA18439E6A}"/>
              </c:ext>
            </c:extLst>
          </c:dPt>
          <c:dPt>
            <c:idx val="71"/>
            <c:invertIfNegative val="1"/>
            <c:bubble3D val="0"/>
            <c:spPr>
              <a:solidFill>
                <a:srgbClr val="E6E5E5"/>
              </a:solidFill>
            </c:spPr>
            <c:extLst>
              <c:ext xmlns:c16="http://schemas.microsoft.com/office/drawing/2014/chart" uri="{C3380CC4-5D6E-409C-BE32-E72D297353CC}">
                <c16:uniqueId val="{0000008F-B2E8-4080-83D6-EECA18439E6A}"/>
              </c:ext>
            </c:extLst>
          </c:dPt>
          <c:dPt>
            <c:idx val="72"/>
            <c:invertIfNegative val="1"/>
            <c:bubble3D val="0"/>
            <c:spPr>
              <a:solidFill>
                <a:srgbClr val="E6E5E5"/>
              </a:solidFill>
            </c:spPr>
            <c:extLst>
              <c:ext xmlns:c16="http://schemas.microsoft.com/office/drawing/2014/chart" uri="{C3380CC4-5D6E-409C-BE32-E72D297353CC}">
                <c16:uniqueId val="{00000091-B2E8-4080-83D6-EECA18439E6A}"/>
              </c:ext>
            </c:extLst>
          </c:dPt>
          <c:dPt>
            <c:idx val="73"/>
            <c:invertIfNegative val="1"/>
            <c:bubble3D val="0"/>
            <c:spPr>
              <a:solidFill>
                <a:srgbClr val="E6E5E5"/>
              </a:solidFill>
            </c:spPr>
            <c:extLst>
              <c:ext xmlns:c16="http://schemas.microsoft.com/office/drawing/2014/chart" uri="{C3380CC4-5D6E-409C-BE32-E72D297353CC}">
                <c16:uniqueId val="{00000093-B2E8-4080-83D6-EECA18439E6A}"/>
              </c:ext>
            </c:extLst>
          </c:dPt>
          <c:dPt>
            <c:idx val="74"/>
            <c:invertIfNegative val="1"/>
            <c:bubble3D val="0"/>
            <c:spPr>
              <a:solidFill>
                <a:srgbClr val="E6E5E5"/>
              </a:solidFill>
            </c:spPr>
            <c:extLst>
              <c:ext xmlns:c16="http://schemas.microsoft.com/office/drawing/2014/chart" uri="{C3380CC4-5D6E-409C-BE32-E72D297353CC}">
                <c16:uniqueId val="{00000095-B2E8-4080-83D6-EECA18439E6A}"/>
              </c:ext>
            </c:extLst>
          </c:dPt>
          <c:dPt>
            <c:idx val="75"/>
            <c:invertIfNegative val="1"/>
            <c:bubble3D val="0"/>
            <c:spPr>
              <a:solidFill>
                <a:srgbClr val="E6E5E5"/>
              </a:solidFill>
            </c:spPr>
            <c:extLst>
              <c:ext xmlns:c16="http://schemas.microsoft.com/office/drawing/2014/chart" uri="{C3380CC4-5D6E-409C-BE32-E72D297353CC}">
                <c16:uniqueId val="{00000097-B2E8-4080-83D6-EECA18439E6A}"/>
              </c:ext>
            </c:extLst>
          </c:dPt>
          <c:dPt>
            <c:idx val="76"/>
            <c:invertIfNegative val="1"/>
            <c:bubble3D val="0"/>
            <c:spPr>
              <a:solidFill>
                <a:srgbClr val="E6E5E5"/>
              </a:solidFill>
            </c:spPr>
            <c:extLst>
              <c:ext xmlns:c16="http://schemas.microsoft.com/office/drawing/2014/chart" uri="{C3380CC4-5D6E-409C-BE32-E72D297353CC}">
                <c16:uniqueId val="{00000099-B2E8-4080-83D6-EECA18439E6A}"/>
              </c:ext>
            </c:extLst>
          </c:dPt>
          <c:dPt>
            <c:idx val="77"/>
            <c:invertIfNegative val="1"/>
            <c:bubble3D val="0"/>
            <c:spPr>
              <a:solidFill>
                <a:srgbClr val="E6E5E5"/>
              </a:solidFill>
            </c:spPr>
            <c:extLst>
              <c:ext xmlns:c16="http://schemas.microsoft.com/office/drawing/2014/chart" uri="{C3380CC4-5D6E-409C-BE32-E72D297353CC}">
                <c16:uniqueId val="{0000009B-B2E8-4080-83D6-EECA18439E6A}"/>
              </c:ext>
            </c:extLst>
          </c:dPt>
          <c:dPt>
            <c:idx val="78"/>
            <c:invertIfNegative val="1"/>
            <c:bubble3D val="0"/>
            <c:spPr>
              <a:solidFill>
                <a:srgbClr val="E6E5E5"/>
              </a:solidFill>
            </c:spPr>
            <c:extLst>
              <c:ext xmlns:c16="http://schemas.microsoft.com/office/drawing/2014/chart" uri="{C3380CC4-5D6E-409C-BE32-E72D297353CC}">
                <c16:uniqueId val="{0000009D-B2E8-4080-83D6-EECA18439E6A}"/>
              </c:ext>
            </c:extLst>
          </c:dPt>
          <c:dPt>
            <c:idx val="79"/>
            <c:invertIfNegative val="1"/>
            <c:bubble3D val="0"/>
            <c:spPr>
              <a:solidFill>
                <a:srgbClr val="E6E5E5"/>
              </a:solidFill>
            </c:spPr>
            <c:extLst>
              <c:ext xmlns:c16="http://schemas.microsoft.com/office/drawing/2014/chart" uri="{C3380CC4-5D6E-409C-BE32-E72D297353CC}">
                <c16:uniqueId val="{0000009F-B2E8-4080-83D6-EECA18439E6A}"/>
              </c:ext>
            </c:extLst>
          </c:dPt>
          <c:dPt>
            <c:idx val="80"/>
            <c:invertIfNegative val="1"/>
            <c:bubble3D val="0"/>
            <c:spPr>
              <a:solidFill>
                <a:srgbClr val="E6E5E5"/>
              </a:solidFill>
            </c:spPr>
            <c:extLst>
              <c:ext xmlns:c16="http://schemas.microsoft.com/office/drawing/2014/chart" uri="{C3380CC4-5D6E-409C-BE32-E72D297353CC}">
                <c16:uniqueId val="{000000A1-B2E8-4080-83D6-EECA18439E6A}"/>
              </c:ext>
            </c:extLst>
          </c:dPt>
          <c:dPt>
            <c:idx val="81"/>
            <c:invertIfNegative val="1"/>
            <c:bubble3D val="0"/>
            <c:spPr>
              <a:solidFill>
                <a:srgbClr val="E6E5E5"/>
              </a:solidFill>
            </c:spPr>
            <c:extLst>
              <c:ext xmlns:c16="http://schemas.microsoft.com/office/drawing/2014/chart" uri="{C3380CC4-5D6E-409C-BE32-E72D297353CC}">
                <c16:uniqueId val="{000000A3-B2E8-4080-83D6-EECA18439E6A}"/>
              </c:ext>
            </c:extLst>
          </c:dPt>
          <c:dPt>
            <c:idx val="82"/>
            <c:invertIfNegative val="1"/>
            <c:bubble3D val="0"/>
            <c:spPr>
              <a:solidFill>
                <a:srgbClr val="E6E5E5"/>
              </a:solidFill>
            </c:spPr>
            <c:extLst>
              <c:ext xmlns:c16="http://schemas.microsoft.com/office/drawing/2014/chart" uri="{C3380CC4-5D6E-409C-BE32-E72D297353CC}">
                <c16:uniqueId val="{000000A5-B2E8-4080-83D6-EECA18439E6A}"/>
              </c:ext>
            </c:extLst>
          </c:dPt>
          <c:dPt>
            <c:idx val="83"/>
            <c:invertIfNegative val="1"/>
            <c:bubble3D val="0"/>
            <c:spPr>
              <a:solidFill>
                <a:srgbClr val="E6E5E5"/>
              </a:solidFill>
            </c:spPr>
            <c:extLst>
              <c:ext xmlns:c16="http://schemas.microsoft.com/office/drawing/2014/chart" uri="{C3380CC4-5D6E-409C-BE32-E72D297353CC}">
                <c16:uniqueId val="{000000A7-B2E8-4080-83D6-EECA18439E6A}"/>
              </c:ext>
            </c:extLst>
          </c:dPt>
          <c:dPt>
            <c:idx val="84"/>
            <c:invertIfNegative val="1"/>
            <c:bubble3D val="0"/>
            <c:spPr>
              <a:solidFill>
                <a:srgbClr val="E6E5E5"/>
              </a:solidFill>
            </c:spPr>
            <c:extLst>
              <c:ext xmlns:c16="http://schemas.microsoft.com/office/drawing/2014/chart" uri="{C3380CC4-5D6E-409C-BE32-E72D297353CC}">
                <c16:uniqueId val="{000000A9-B2E8-4080-83D6-EECA18439E6A}"/>
              </c:ext>
            </c:extLst>
          </c:dPt>
          <c:dPt>
            <c:idx val="85"/>
            <c:invertIfNegative val="1"/>
            <c:bubble3D val="0"/>
            <c:spPr>
              <a:solidFill>
                <a:srgbClr val="E6E5E5"/>
              </a:solidFill>
            </c:spPr>
            <c:extLst>
              <c:ext xmlns:c16="http://schemas.microsoft.com/office/drawing/2014/chart" uri="{C3380CC4-5D6E-409C-BE32-E72D297353CC}">
                <c16:uniqueId val="{000000AB-B2E8-4080-83D6-EECA18439E6A}"/>
              </c:ext>
            </c:extLst>
          </c:dPt>
          <c:dPt>
            <c:idx val="86"/>
            <c:invertIfNegative val="1"/>
            <c:bubble3D val="0"/>
            <c:spPr>
              <a:solidFill>
                <a:srgbClr val="E6E5E5"/>
              </a:solidFill>
            </c:spPr>
            <c:extLst>
              <c:ext xmlns:c16="http://schemas.microsoft.com/office/drawing/2014/chart" uri="{C3380CC4-5D6E-409C-BE32-E72D297353CC}">
                <c16:uniqueId val="{000000AD-B2E8-4080-83D6-EECA18439E6A}"/>
              </c:ext>
            </c:extLst>
          </c:dPt>
          <c:dPt>
            <c:idx val="87"/>
            <c:invertIfNegative val="1"/>
            <c:bubble3D val="0"/>
            <c:spPr>
              <a:solidFill>
                <a:srgbClr val="E6E5E5"/>
              </a:solidFill>
            </c:spPr>
            <c:extLst>
              <c:ext xmlns:c16="http://schemas.microsoft.com/office/drawing/2014/chart" uri="{C3380CC4-5D6E-409C-BE32-E72D297353CC}">
                <c16:uniqueId val="{000000AF-B2E8-4080-83D6-EECA18439E6A}"/>
              </c:ext>
            </c:extLst>
          </c:dPt>
          <c:dPt>
            <c:idx val="88"/>
            <c:invertIfNegative val="1"/>
            <c:bubble3D val="0"/>
            <c:spPr>
              <a:solidFill>
                <a:srgbClr val="E6E5E5"/>
              </a:solidFill>
            </c:spPr>
            <c:extLst>
              <c:ext xmlns:c16="http://schemas.microsoft.com/office/drawing/2014/chart" uri="{C3380CC4-5D6E-409C-BE32-E72D297353CC}">
                <c16:uniqueId val="{000000B1-B2E8-4080-83D6-EECA18439E6A}"/>
              </c:ext>
            </c:extLst>
          </c:dPt>
          <c:dPt>
            <c:idx val="89"/>
            <c:invertIfNegative val="1"/>
            <c:bubble3D val="0"/>
            <c:spPr>
              <a:solidFill>
                <a:srgbClr val="E6E5E5"/>
              </a:solidFill>
            </c:spPr>
            <c:extLst>
              <c:ext xmlns:c16="http://schemas.microsoft.com/office/drawing/2014/chart" uri="{C3380CC4-5D6E-409C-BE32-E72D297353CC}">
                <c16:uniqueId val="{000000B3-B2E8-4080-83D6-EECA18439E6A}"/>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902D-4251-AC41-C6D4CBCA5CD6}"/>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902D-4251-AC41-C6D4CBCA5CD6}"/>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902D-4251-AC41-C6D4CBCA5CD6}"/>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902D-4251-AC41-C6D4CBCA5CD6}"/>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902D-4251-AC41-C6D4CBCA5CD6}"/>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902D-4251-AC41-C6D4CBCA5CD6}"/>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902D-4251-AC41-C6D4CBCA5CD6}"/>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902D-4251-AC41-C6D4CBCA5CD6}"/>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902D-4251-AC41-C6D4CBCA5CD6}"/>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02D-4251-AC41-C6D4CBCA5CD6}"/>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02D-4251-AC41-C6D4CBCA5CD6}"/>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902D-4251-AC41-C6D4CBCA5CD6}"/>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902D-4251-AC41-C6D4CBCA5CD6}"/>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902D-4251-AC41-C6D4CBCA5CD6}"/>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902D-4251-AC41-C6D4CBCA5CD6}"/>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902D-4251-AC41-C6D4CBCA5CD6}"/>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902D-4251-AC41-C6D4CBCA5CD6}"/>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902D-4251-AC41-C6D4CBCA5CD6}"/>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902D-4251-AC41-C6D4CBCA5CD6}"/>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902D-4251-AC41-C6D4CBCA5CD6}"/>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902D-4251-AC41-C6D4CBCA5CD6}"/>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902D-4251-AC41-C6D4CBCA5CD6}"/>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902D-4251-AC41-C6D4CBCA5CD6}"/>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902D-4251-AC41-C6D4CBCA5CD6}"/>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902D-4251-AC41-C6D4CBCA5CD6}"/>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902D-4251-AC41-C6D4CBCA5CD6}"/>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902D-4251-AC41-C6D4CBCA5CD6}"/>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902D-4251-AC41-C6D4CBCA5CD6}"/>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902D-4251-AC41-C6D4CBCA5CD6}"/>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902D-4251-AC41-C6D4CBCA5CD6}"/>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902D-4251-AC41-C6D4CBCA5CD6}"/>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902D-4251-AC41-C6D4CBCA5CD6}"/>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902D-4251-AC41-C6D4CBCA5CD6}"/>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902D-4251-AC41-C6D4CBCA5CD6}"/>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902D-4251-AC41-C6D4CBCA5CD6}"/>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902D-4251-AC41-C6D4CBCA5CD6}"/>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902D-4251-AC41-C6D4CBCA5CD6}"/>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902D-4251-AC41-C6D4CBCA5CD6}"/>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902D-4251-AC41-C6D4CBCA5CD6}"/>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902D-4251-AC41-C6D4CBCA5CD6}"/>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902D-4251-AC41-C6D4CBCA5CD6}"/>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902D-4251-AC41-C6D4CBCA5CD6}"/>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902D-4251-AC41-C6D4CBCA5CD6}"/>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902D-4251-AC41-C6D4CBCA5CD6}"/>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902D-4251-AC41-C6D4CBCA5CD6}"/>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902D-4251-AC41-C6D4CBCA5CD6}"/>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902D-4251-AC41-C6D4CBCA5CD6}"/>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902D-4251-AC41-C6D4CBCA5CD6}"/>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902D-4251-AC41-C6D4CBCA5CD6}"/>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902D-4251-AC41-C6D4CBCA5CD6}"/>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902D-4251-AC41-C6D4CBCA5CD6}"/>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902D-4251-AC41-C6D4CBCA5CD6}"/>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902D-4251-AC41-C6D4CBCA5CD6}"/>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B2E8-4080-83D6-EECA18439E6A}"/>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B2E8-4080-83D6-EECA18439E6A}"/>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B2E8-4080-83D6-EECA18439E6A}"/>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B2E8-4080-83D6-EECA18439E6A}"/>
                </c:ext>
              </c:extLst>
            </c:dLbl>
            <c:dLbl>
              <c:idx val="5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B2E8-4080-83D6-EECA18439E6A}"/>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B2E8-4080-83D6-EECA18439E6A}"/>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B2E8-4080-83D6-EECA18439E6A}"/>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B2E8-4080-83D6-EECA18439E6A}"/>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B2E8-4080-83D6-EECA18439E6A}"/>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B2E8-4080-83D6-EECA18439E6A}"/>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B2E8-4080-83D6-EECA18439E6A}"/>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B2E8-4080-83D6-EECA18439E6A}"/>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B2E8-4080-83D6-EECA18439E6A}"/>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B2E8-4080-83D6-EECA18439E6A}"/>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B2E8-4080-83D6-EECA18439E6A}"/>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B2E8-4080-83D6-EECA18439E6A}"/>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B2E8-4080-83D6-EECA18439E6A}"/>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B2E8-4080-83D6-EECA18439E6A}"/>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B2E8-4080-83D6-EECA18439E6A}"/>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B2E8-4080-83D6-EECA18439E6A}"/>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B2E8-4080-83D6-EECA18439E6A}"/>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B2E8-4080-83D6-EECA18439E6A}"/>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B2E8-4080-83D6-EECA18439E6A}"/>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B2E8-4080-83D6-EECA18439E6A}"/>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B2E8-4080-83D6-EECA18439E6A}"/>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B2E8-4080-83D6-EECA18439E6A}"/>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B2E8-4080-83D6-EECA18439E6A}"/>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B2E8-4080-83D6-EECA18439E6A}"/>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B2E8-4080-83D6-EECA18439E6A}"/>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B2E8-4080-83D6-EECA18439E6A}"/>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B2E8-4080-83D6-EECA18439E6A}"/>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B2E8-4080-83D6-EECA18439E6A}"/>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B2E8-4080-83D6-EECA18439E6A}"/>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B2E8-4080-83D6-EECA18439E6A}"/>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B2E8-4080-83D6-EECA18439E6A}"/>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B2E8-4080-83D6-EECA18439E6A}"/>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9</c:f>
              <c:strCache>
                <c:ptCount val="78"/>
                <c:pt idx="0">
                  <c:v>Galaxy Jewels 1.4kg</c:v>
                </c:pt>
                <c:pt idx="1">
                  <c:v>Ferrero Rocher 300g</c:v>
                </c:pt>
                <c:pt idx="2">
                  <c:v>Galaxy Smooth Milk Chocolate 36g x 24</c:v>
                </c:pt>
                <c:pt idx="3">
                  <c:v>Galaxy Jewels 900g</c:v>
                </c:pt>
                <c:pt idx="4">
                  <c:v>Galaxy Jewels 650g</c:v>
                </c:pt>
                <c:pt idx="5">
                  <c:v>Cadbury Dairy Milk Minis Selection 500g</c:v>
                </c:pt>
                <c:pt idx="6">
                  <c:v>Kit Kat 17.7g x 18</c:v>
                </c:pt>
                <c:pt idx="7">
                  <c:v>Kinder Bueno Milk&amp;Hazelnut 43g</c:v>
                </c:pt>
                <c:pt idx="8">
                  <c:v>Tiffany Break Supa 38gx12</c:v>
                </c:pt>
                <c:pt idx="9">
                  <c:v>Snickers 50gx6</c:v>
                </c:pt>
                <c:pt idx="10">
                  <c:v>Tiffany Break 24x15.5g</c:v>
                </c:pt>
                <c:pt idx="11">
                  <c:v>Tiffany Break Mini Fun 384g</c:v>
                </c:pt>
                <c:pt idx="12">
                  <c:v>Kinder Bueno Milk&amp;Hazelnut 43gx10</c:v>
                </c:pt>
                <c:pt idx="13">
                  <c:v>Mackintosh Quality Street Chocolate 600g</c:v>
                </c:pt>
                <c:pt idx="14">
                  <c:v>Snickers Bar 50g</c:v>
                </c:pt>
                <c:pt idx="15">
                  <c:v>Maltesers Chocolate 175g</c:v>
                </c:pt>
                <c:pt idx="16">
                  <c:v>Tiffany Break 31gx12</c:v>
                </c:pt>
                <c:pt idx="17">
                  <c:v>Tiffany Break Delight 25gx12</c:v>
                </c:pt>
                <c:pt idx="18">
                  <c:v>Snickers Minis Bag 252g</c:v>
                </c:pt>
                <c:pt idx="19">
                  <c:v>Cadbury Miniatures Box 400g</c:v>
                </c:pt>
                <c:pt idx="20">
                  <c:v>Bounty Bar 57g</c:v>
                </c:pt>
                <c:pt idx="21">
                  <c:v>Galaxy Smooth Milk Minis 237.5g</c:v>
                </c:pt>
                <c:pt idx="22">
                  <c:v>Bounty Bar 57g x 5</c:v>
                </c:pt>
                <c:pt idx="23">
                  <c:v>Kinder Maxi Chocolate 21gx11 (10+1)</c:v>
                </c:pt>
                <c:pt idx="24">
                  <c:v>Ferrero Rocher 200g</c:v>
                </c:pt>
                <c:pt idx="25">
                  <c:v>Ferrero Raffaello 150g box </c:v>
                </c:pt>
                <c:pt idx="26">
                  <c:v>Galaxy Hazelnut Minis 237.5g</c:v>
                </c:pt>
                <c:pt idx="27">
                  <c:v>Twix 50gx5</c:v>
                </c:pt>
                <c:pt idx="28">
                  <c:v>Twix Bar 50g</c:v>
                </c:pt>
                <c:pt idx="29">
                  <c:v>Maltesers Chocolate 37g</c:v>
                </c:pt>
                <c:pt idx="30">
                  <c:v>Snickers Miniatures 150g</c:v>
                </c:pt>
                <c:pt idx="31">
                  <c:v>Cadbury Flake Minis Bag 159.5g</c:v>
                </c:pt>
                <c:pt idx="32">
                  <c:v>M&amp;M's Peanut 165g</c:v>
                </c:pt>
                <c:pt idx="33">
                  <c:v>Twix Miniatures 150g</c:v>
                </c:pt>
                <c:pt idx="34">
                  <c:v>Cadbury Timeout Minis Wafer 247.2g</c:v>
                </c:pt>
                <c:pt idx="35">
                  <c:v>Toblerone Milk Chocolate 200g</c:v>
                </c:pt>
                <c:pt idx="36">
                  <c:v>Galaxy Smooth Milk Minis 162.5g</c:v>
                </c:pt>
                <c:pt idx="37">
                  <c:v>Mars 45g x 6</c:v>
                </c:pt>
                <c:pt idx="38">
                  <c:v>Bounty Miniatures 150g</c:v>
                </c:pt>
                <c:pt idx="39">
                  <c:v>Kinder Chocolate Bar 8x12.5g</c:v>
                </c:pt>
                <c:pt idx="40">
                  <c:v>Galaxy Smooth Dark Chocolate 40g</c:v>
                </c:pt>
                <c:pt idx="41">
                  <c:v>Mars Bar 51g </c:v>
                </c:pt>
                <c:pt idx="42">
                  <c:v>Hershey's Kisses Special Selection Assorted 325g</c:v>
                </c:pt>
                <c:pt idx="43">
                  <c:v>Galaxy Hazelnut Chocolate 36g</c:v>
                </c:pt>
                <c:pt idx="44">
                  <c:v>Galaxy Smooth Milk Chocolate 36g</c:v>
                </c:pt>
                <c:pt idx="45">
                  <c:v>Galaxy Caramel Bar 40g</c:v>
                </c:pt>
                <c:pt idx="46">
                  <c:v>Kinder Chocolate Bar 50g</c:v>
                </c:pt>
                <c:pt idx="47">
                  <c:v>Kinder Bueno White 39g</c:v>
                </c:pt>
                <c:pt idx="48">
                  <c:v>Hershey's Kisses Classic Selection Assorted 325g</c:v>
                </c:pt>
                <c:pt idx="49">
                  <c:v>Galaxy Crispy Milk Chocolate 36g</c:v>
                </c:pt>
                <c:pt idx="50">
                  <c:v> Reeses Peanut Butter Cup Mini 340g </c:v>
                </c:pt>
                <c:pt idx="51">
                  <c:v>Kit Kat 17.7g</c:v>
                </c:pt>
                <c:pt idx="52">
                  <c:v> Reeses Peanut Butter Cup 42g x 6</c:v>
                </c:pt>
                <c:pt idx="53">
                  <c:v>Reeses Peanut Butter Cups 46g</c:v>
                </c:pt>
                <c:pt idx="54">
                  <c:v>Reeses Peanut Butter Cup Mini 215g</c:v>
                </c:pt>
                <c:pt idx="55">
                  <c:v>M&amp;M's Milk Chocolate 30.6g</c:v>
                </c:pt>
                <c:pt idx="56">
                  <c:v>Godiva Double Chocolate Bar 35g</c:v>
                </c:pt>
                <c:pt idx="57">
                  <c:v>Galaxy Smooth Milk Chocolate 80g</c:v>
                </c:pt>
                <c:pt idx="58">
                  <c:v>Galaxy Ripple Bar 33g</c:v>
                </c:pt>
                <c:pt idx="59">
                  <c:v>Hershey's Chocobites Cookies 'n Creme 90g</c:v>
                </c:pt>
                <c:pt idx="60">
                  <c:v>Hershey's Kisses Special Selection Assorted 100g</c:v>
                </c:pt>
                <c:pt idx="61">
                  <c:v>Hershey's Chocobites Salted Caramel 81g</c:v>
                </c:pt>
                <c:pt idx="62">
                  <c:v>Hershey's Cookies N' Chocolate 40g</c:v>
                </c:pt>
                <c:pt idx="63">
                  <c:v>Reeses Block 90g</c:v>
                </c:pt>
                <c:pt idx="64">
                  <c:v>Reeses Nut Bar 47g</c:v>
                </c:pt>
                <c:pt idx="65">
                  <c:v>Hershey's Kisses Classic Selection Assorted 100g</c:v>
                </c:pt>
                <c:pt idx="66">
                  <c:v>Hershey's Cookies 'n Creme Creations Salted Caramel 38g</c:v>
                </c:pt>
                <c:pt idx="67">
                  <c:v>Hershey's Cookies N' Crème 12.76g</c:v>
                </c:pt>
                <c:pt idx="68">
                  <c:v> Reeses Wafer Sticks 42g</c:v>
                </c:pt>
                <c:pt idx="69">
                  <c:v>Hershey's Choco Tubes Cookies N' Creme 18g</c:v>
                </c:pt>
                <c:pt idx="70">
                  <c:v> Reeses Peanut Butter Cup Mini 500G</c:v>
                </c:pt>
                <c:pt idx="71">
                  <c:v>Reeses Pieces 180g</c:v>
                </c:pt>
                <c:pt idx="72">
                  <c:v>Reeses Mini King Size 71g</c:v>
                </c:pt>
                <c:pt idx="73">
                  <c:v>Hershey's Cookies 'n Creme Block 90g</c:v>
                </c:pt>
                <c:pt idx="74">
                  <c:v>Hersheys Kisses Classic Selection Assorted 600G</c:v>
                </c:pt>
                <c:pt idx="75">
                  <c:v>Hershey's Cookies 'n Creme 40Gx 4</c:v>
                </c:pt>
                <c:pt idx="76">
                  <c:v>Hershey's Variety Pack 40Gx3</c:v>
                </c:pt>
                <c:pt idx="77">
                  <c:v>Reeses Fast break 51g</c:v>
                </c:pt>
              </c:strCache>
            </c:strRef>
          </c:cat>
          <c:val>
            <c:numRef>
              <c:f>Sheet1!$B$2:$B$79</c:f>
              <c:numCache>
                <c:formatCode>General</c:formatCode>
                <c:ptCount val="78"/>
                <c:pt idx="0">
                  <c:v>8.7534810601232665E-2</c:v>
                </c:pt>
                <c:pt idx="1">
                  <c:v>5.7559500892221442E-2</c:v>
                </c:pt>
                <c:pt idx="2">
                  <c:v>5.2484576460387768E-2</c:v>
                </c:pt>
                <c:pt idx="3">
                  <c:v>5.2431668272041182E-2</c:v>
                </c:pt>
                <c:pt idx="4">
                  <c:v>4.868892335715206E-2</c:v>
                </c:pt>
                <c:pt idx="5">
                  <c:v>3.9883127665807053E-2</c:v>
                </c:pt>
                <c:pt idx="6">
                  <c:v>2.9310751584451511E-2</c:v>
                </c:pt>
                <c:pt idx="7">
                  <c:v>2.7693958481604788E-2</c:v>
                </c:pt>
                <c:pt idx="8">
                  <c:v>2.520913477236672E-2</c:v>
                </c:pt>
                <c:pt idx="9">
                  <c:v>2.4955217813546149E-2</c:v>
                </c:pt>
                <c:pt idx="10">
                  <c:v>2.4411629377003408E-2</c:v>
                </c:pt>
                <c:pt idx="11">
                  <c:v>2.432162347521807E-2</c:v>
                </c:pt>
                <c:pt idx="12">
                  <c:v>2.2631346863859841E-2</c:v>
                </c:pt>
                <c:pt idx="13">
                  <c:v>2.2425372973408079E-2</c:v>
                </c:pt>
                <c:pt idx="14">
                  <c:v>2.1309215636296241E-2</c:v>
                </c:pt>
                <c:pt idx="15">
                  <c:v>2.0959753622360241E-2</c:v>
                </c:pt>
                <c:pt idx="16">
                  <c:v>2.0800319571241239E-2</c:v>
                </c:pt>
                <c:pt idx="17">
                  <c:v>1.7970810967835201E-2</c:v>
                </c:pt>
                <c:pt idx="18">
                  <c:v>1.6850758622753849E-2</c:v>
                </c:pt>
                <c:pt idx="19">
                  <c:v>1.596269816570935E-2</c:v>
                </c:pt>
                <c:pt idx="20">
                  <c:v>1.5112238409568249E-2</c:v>
                </c:pt>
                <c:pt idx="21">
                  <c:v>1.461542990237732E-2</c:v>
                </c:pt>
                <c:pt idx="22">
                  <c:v>1.4334284118613001E-2</c:v>
                </c:pt>
                <c:pt idx="23">
                  <c:v>1.430940527615138E-2</c:v>
                </c:pt>
                <c:pt idx="24">
                  <c:v>1.4289080781313281E-2</c:v>
                </c:pt>
                <c:pt idx="25">
                  <c:v>1.403814668354727E-2</c:v>
                </c:pt>
                <c:pt idx="26">
                  <c:v>1.330105136333818E-2</c:v>
                </c:pt>
                <c:pt idx="27">
                  <c:v>1.279435495102535E-2</c:v>
                </c:pt>
                <c:pt idx="28">
                  <c:v>1.1555834851677259E-2</c:v>
                </c:pt>
                <c:pt idx="29">
                  <c:v>1.1353549481144559E-2</c:v>
                </c:pt>
                <c:pt idx="30">
                  <c:v>1.086773292425431E-2</c:v>
                </c:pt>
                <c:pt idx="31">
                  <c:v>1.0487758880938881E-2</c:v>
                </c:pt>
                <c:pt idx="32">
                  <c:v>1.043360818931305E-2</c:v>
                </c:pt>
                <c:pt idx="33">
                  <c:v>1.021010493667055E-2</c:v>
                </c:pt>
                <c:pt idx="34">
                  <c:v>1.0000357436865779E-2</c:v>
                </c:pt>
                <c:pt idx="35">
                  <c:v>9.6856196504729163E-3</c:v>
                </c:pt>
                <c:pt idx="36">
                  <c:v>9.406623878718887E-3</c:v>
                </c:pt>
                <c:pt idx="37">
                  <c:v>8.1035583272461749E-3</c:v>
                </c:pt>
                <c:pt idx="38">
                  <c:v>7.5495692266556828E-3</c:v>
                </c:pt>
                <c:pt idx="39">
                  <c:v>7.4420449325245048E-3</c:v>
                </c:pt>
                <c:pt idx="40">
                  <c:v>7.2277216112720663E-3</c:v>
                </c:pt>
                <c:pt idx="41">
                  <c:v>7.1673392735173798E-3</c:v>
                </c:pt>
                <c:pt idx="42">
                  <c:v>6.7869153080573506E-3</c:v>
                </c:pt>
                <c:pt idx="43">
                  <c:v>6.6451374901548904E-3</c:v>
                </c:pt>
                <c:pt idx="44">
                  <c:v>6.5885098340167552E-3</c:v>
                </c:pt>
                <c:pt idx="45">
                  <c:v>6.1118889102816784E-3</c:v>
                </c:pt>
                <c:pt idx="46">
                  <c:v>5.4493931229054396E-3</c:v>
                </c:pt>
                <c:pt idx="47">
                  <c:v>5.4360110602241834E-3</c:v>
                </c:pt>
                <c:pt idx="48">
                  <c:v>5.072109933842715E-3</c:v>
                </c:pt>
                <c:pt idx="49">
                  <c:v>4.8778405380791113E-3</c:v>
                </c:pt>
                <c:pt idx="50">
                  <c:v>4.8293537084955207E-3</c:v>
                </c:pt>
                <c:pt idx="51">
                  <c:v>4.756436351299226E-3</c:v>
                </c:pt>
                <c:pt idx="52">
                  <c:v>4.6147312769180401E-3</c:v>
                </c:pt>
                <c:pt idx="53">
                  <c:v>4.5051743706602341E-3</c:v>
                </c:pt>
                <c:pt idx="54">
                  <c:v>4.4076916789279564E-3</c:v>
                </c:pt>
                <c:pt idx="55">
                  <c:v>4.0239190321588224E-3</c:v>
                </c:pt>
                <c:pt idx="56">
                  <c:v>3.9206240800433037E-3</c:v>
                </c:pt>
                <c:pt idx="57">
                  <c:v>3.4990833523240289E-3</c:v>
                </c:pt>
                <c:pt idx="58">
                  <c:v>3.3187734201093398E-3</c:v>
                </c:pt>
                <c:pt idx="59">
                  <c:v>2.7137303220649859E-3</c:v>
                </c:pt>
                <c:pt idx="60">
                  <c:v>2.541702375438945E-3</c:v>
                </c:pt>
                <c:pt idx="61">
                  <c:v>2.4340625382641319E-3</c:v>
                </c:pt>
                <c:pt idx="62">
                  <c:v>2.4219716916852839E-3</c:v>
                </c:pt>
                <c:pt idx="63">
                  <c:v>2.1593638402186001E-3</c:v>
                </c:pt>
                <c:pt idx="64">
                  <c:v>1.6564163558322471E-3</c:v>
                </c:pt>
                <c:pt idx="65">
                  <c:v>1.534050800512053E-3</c:v>
                </c:pt>
                <c:pt idx="66">
                  <c:v>8.8861505707664911E-4</c:v>
                </c:pt>
                <c:pt idx="67">
                  <c:v>7.8139805979037706E-4</c:v>
                </c:pt>
                <c:pt idx="68">
                  <c:v>2.7164883385527279E-4</c:v>
                </c:pt>
                <c:pt idx="69">
                  <c:v>7.2832393059720158E-5</c:v>
                </c:pt>
                <c:pt idx="70">
                  <c:v>0</c:v>
                </c:pt>
                <c:pt idx="71">
                  <c:v>0</c:v>
                </c:pt>
                <c:pt idx="72">
                  <c:v>0</c:v>
                </c:pt>
                <c:pt idx="73">
                  <c:v>0</c:v>
                </c:pt>
                <c:pt idx="74">
                  <c:v>0</c:v>
                </c:pt>
                <c:pt idx="75">
                  <c:v>0</c:v>
                </c:pt>
                <c:pt idx="76">
                  <c:v>0</c:v>
                </c:pt>
                <c:pt idx="77">
                  <c:v>0</c:v>
                </c:pt>
              </c:numCache>
            </c:numRef>
          </c:val>
          <c:extLst>
            <c:ext xmlns:c16="http://schemas.microsoft.com/office/drawing/2014/chart" uri="{C3380CC4-5D6E-409C-BE32-E72D297353CC}">
              <c16:uniqueId val="{0000006A-902D-4251-AC41-C6D4CBCA5CD6}"/>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ershey's Cookies 'n Creme Block 90g</c:v>
                </c:pt>
              </c:strCache>
            </c:strRef>
          </c:tx>
          <c:spPr>
            <a:solidFill>
              <a:schemeClr val="bg2"/>
            </a:solidFill>
            <a:ln>
              <a:noFill/>
            </a:ln>
            <a:effectLst/>
          </c:spPr>
          <c:invertIfNegative val="0"/>
          <c:dPt>
            <c:idx val="0"/>
            <c:invertIfNegative val="0"/>
            <c:bubble3D val="0"/>
            <c:spPr>
              <a:solidFill>
                <a:srgbClr val="E6E5E5"/>
              </a:solidFill>
              <a:ln>
                <a:noFill/>
              </a:ln>
              <a:effectLst/>
            </c:spPr>
            <c:extLst>
              <c:ext xmlns:c16="http://schemas.microsoft.com/office/drawing/2014/chart" uri="{C3380CC4-5D6E-409C-BE32-E72D297353CC}">
                <c16:uniqueId val="{0000000E-7980-4C82-8C1C-32D5A7B4E44B}"/>
              </c:ext>
            </c:extLst>
          </c:dPt>
          <c:dPt>
            <c:idx val="1"/>
            <c:invertIfNegative val="1"/>
            <c:bubble3D val="0"/>
            <c:spPr>
              <a:solidFill>
                <a:srgbClr val="E6E5E5"/>
              </a:solidFill>
            </c:spPr>
            <c:extLst>
              <c:ext xmlns:c16="http://schemas.microsoft.com/office/drawing/2014/chart" uri="{C3380CC4-5D6E-409C-BE32-E72D297353CC}">
                <c16:uniqueId val="{0000000F-7980-4C82-8C1C-32D5A7B4E44B}"/>
              </c:ext>
            </c:extLst>
          </c:dPt>
          <c:dPt>
            <c:idx val="2"/>
            <c:invertIfNegative val="1"/>
            <c:bubble3D val="0"/>
            <c:spPr>
              <a:solidFill>
                <a:srgbClr val="E6E5E5"/>
              </a:solidFill>
            </c:spPr>
            <c:extLst>
              <c:ext xmlns:c16="http://schemas.microsoft.com/office/drawing/2014/chart" uri="{C3380CC4-5D6E-409C-BE32-E72D297353CC}">
                <c16:uniqueId val="{00000010-7980-4C82-8C1C-32D5A7B4E44B}"/>
              </c:ext>
            </c:extLst>
          </c:dPt>
          <c:dPt>
            <c:idx val="3"/>
            <c:invertIfNegative val="0"/>
            <c:bubble3D val="0"/>
            <c:spPr>
              <a:solidFill>
                <a:srgbClr val="E6E5E5"/>
              </a:solidFill>
              <a:ln>
                <a:noFill/>
              </a:ln>
              <a:effectLst/>
            </c:spPr>
            <c:extLst>
              <c:ext xmlns:c16="http://schemas.microsoft.com/office/drawing/2014/chart" uri="{C3380CC4-5D6E-409C-BE32-E72D297353CC}">
                <c16:uniqueId val="{00000011-7980-4C82-8C1C-32D5A7B4E44B}"/>
              </c:ext>
            </c:extLst>
          </c:dPt>
          <c:dPt>
            <c:idx val="4"/>
            <c:invertIfNegative val="1"/>
            <c:bubble3D val="0"/>
            <c:spPr>
              <a:solidFill>
                <a:srgbClr val="E6E5E5"/>
              </a:solidFill>
            </c:spPr>
            <c:extLst>
              <c:ext xmlns:c16="http://schemas.microsoft.com/office/drawing/2014/chart" uri="{C3380CC4-5D6E-409C-BE32-E72D297353CC}">
                <c16:uniqueId val="{00000012-7980-4C82-8C1C-32D5A7B4E44B}"/>
              </c:ext>
            </c:extLst>
          </c:dPt>
          <c:dPt>
            <c:idx val="5"/>
            <c:invertIfNegative val="1"/>
            <c:bubble3D val="0"/>
            <c:spPr>
              <a:solidFill>
                <a:srgbClr val="E6E5E5"/>
              </a:solidFill>
            </c:spPr>
            <c:extLst>
              <c:ext xmlns:c16="http://schemas.microsoft.com/office/drawing/2014/chart" uri="{C3380CC4-5D6E-409C-BE32-E72D297353CC}">
                <c16:uniqueId val="{00000013-7980-4C82-8C1C-32D5A7B4E44B}"/>
              </c:ext>
            </c:extLst>
          </c:dPt>
          <c:dPt>
            <c:idx val="6"/>
            <c:invertIfNegative val="1"/>
            <c:bubble3D val="0"/>
            <c:spPr>
              <a:solidFill>
                <a:srgbClr val="E6E5E5"/>
              </a:solidFill>
            </c:spPr>
            <c:extLst>
              <c:ext xmlns:c16="http://schemas.microsoft.com/office/drawing/2014/chart" uri="{C3380CC4-5D6E-409C-BE32-E72D297353CC}">
                <c16:uniqueId val="{00000014-7980-4C82-8C1C-32D5A7B4E44B}"/>
              </c:ext>
            </c:extLst>
          </c:dPt>
          <c:dPt>
            <c:idx val="7"/>
            <c:invertIfNegative val="1"/>
            <c:bubble3D val="0"/>
            <c:spPr>
              <a:solidFill>
                <a:srgbClr val="E6E5E5"/>
              </a:solidFill>
            </c:spPr>
            <c:extLst>
              <c:ext xmlns:c16="http://schemas.microsoft.com/office/drawing/2014/chart" uri="{C3380CC4-5D6E-409C-BE32-E72D297353CC}">
                <c16:uniqueId val="{00000015-7980-4C82-8C1C-32D5A7B4E44B}"/>
              </c:ext>
            </c:extLst>
          </c:dPt>
          <c:dPt>
            <c:idx val="8"/>
            <c:invertIfNegative val="1"/>
            <c:bubble3D val="0"/>
            <c:spPr>
              <a:solidFill>
                <a:srgbClr val="E6E5E5"/>
              </a:solidFill>
            </c:spPr>
            <c:extLst>
              <c:ext xmlns:c16="http://schemas.microsoft.com/office/drawing/2014/chart" uri="{C3380CC4-5D6E-409C-BE32-E72D297353CC}">
                <c16:uniqueId val="{00000016-7980-4C82-8C1C-32D5A7B4E44B}"/>
              </c:ext>
            </c:extLst>
          </c:dPt>
          <c:dPt>
            <c:idx val="9"/>
            <c:invertIfNegative val="1"/>
            <c:bubble3D val="0"/>
            <c:spPr>
              <a:solidFill>
                <a:srgbClr val="E6E5E5"/>
              </a:solidFill>
            </c:spPr>
            <c:extLst>
              <c:ext xmlns:c16="http://schemas.microsoft.com/office/drawing/2014/chart" uri="{C3380CC4-5D6E-409C-BE32-E72D297353CC}">
                <c16:uniqueId val="{00000017-7980-4C82-8C1C-32D5A7B4E44B}"/>
              </c:ext>
            </c:extLst>
          </c:dPt>
          <c:dPt>
            <c:idx val="10"/>
            <c:invertIfNegative val="1"/>
            <c:bubble3D val="0"/>
            <c:spPr>
              <a:solidFill>
                <a:srgbClr val="E6E5E5"/>
              </a:solidFill>
            </c:spPr>
            <c:extLst>
              <c:ext xmlns:c16="http://schemas.microsoft.com/office/drawing/2014/chart" uri="{C3380CC4-5D6E-409C-BE32-E72D297353CC}">
                <c16:uniqueId val="{00000018-7980-4C82-8C1C-32D5A7B4E44B}"/>
              </c:ext>
            </c:extLst>
          </c:dPt>
          <c:dPt>
            <c:idx val="11"/>
            <c:invertIfNegative val="1"/>
            <c:bubble3D val="0"/>
            <c:spPr>
              <a:solidFill>
                <a:srgbClr val="E6E5E5"/>
              </a:solidFill>
            </c:spPr>
            <c:extLst>
              <c:ext xmlns:c16="http://schemas.microsoft.com/office/drawing/2014/chart" uri="{C3380CC4-5D6E-409C-BE32-E72D297353CC}">
                <c16:uniqueId val="{00000019-7980-4C82-8C1C-32D5A7B4E44B}"/>
              </c:ext>
            </c:extLst>
          </c:dPt>
          <c:dPt>
            <c:idx val="12"/>
            <c:invertIfNegative val="1"/>
            <c:bubble3D val="0"/>
            <c:spPr>
              <a:solidFill>
                <a:srgbClr val="E6E5E5"/>
              </a:solidFill>
            </c:spPr>
            <c:extLst>
              <c:ext xmlns:c16="http://schemas.microsoft.com/office/drawing/2014/chart" uri="{C3380CC4-5D6E-409C-BE32-E72D297353CC}">
                <c16:uniqueId val="{0000001A-7980-4C82-8C1C-32D5A7B4E44B}"/>
              </c:ext>
            </c:extLst>
          </c:dPt>
          <c:dPt>
            <c:idx val="13"/>
            <c:invertIfNegative val="1"/>
            <c:bubble3D val="0"/>
            <c:spPr>
              <a:solidFill>
                <a:srgbClr val="E6E5E5"/>
              </a:solidFill>
            </c:spPr>
            <c:extLst>
              <c:ext xmlns:c16="http://schemas.microsoft.com/office/drawing/2014/chart" uri="{C3380CC4-5D6E-409C-BE32-E72D297353CC}">
                <c16:uniqueId val="{0000001B-7980-4C82-8C1C-32D5A7B4E44B}"/>
              </c:ext>
            </c:extLst>
          </c:dPt>
          <c:dPt>
            <c:idx val="14"/>
            <c:invertIfNegative val="0"/>
            <c:bubble3D val="0"/>
            <c:spPr>
              <a:solidFill>
                <a:srgbClr val="E6E5E5"/>
              </a:solidFill>
              <a:ln>
                <a:noFill/>
              </a:ln>
              <a:effectLst/>
            </c:spPr>
            <c:extLst>
              <c:ext xmlns:c16="http://schemas.microsoft.com/office/drawing/2014/chart" uri="{C3380CC4-5D6E-409C-BE32-E72D297353CC}">
                <c16:uniqueId val="{0000001C-7980-4C82-8C1C-32D5A7B4E44B}"/>
              </c:ext>
            </c:extLst>
          </c:dPt>
          <c:dPt>
            <c:idx val="15"/>
            <c:invertIfNegative val="1"/>
            <c:bubble3D val="0"/>
            <c:spPr>
              <a:solidFill>
                <a:srgbClr val="E6E5E5"/>
              </a:solidFill>
            </c:spPr>
            <c:extLst>
              <c:ext xmlns:c16="http://schemas.microsoft.com/office/drawing/2014/chart" uri="{C3380CC4-5D6E-409C-BE32-E72D297353CC}">
                <c16:uniqueId val="{0000001D-7980-4C82-8C1C-32D5A7B4E44B}"/>
              </c:ext>
            </c:extLst>
          </c:dPt>
          <c:dPt>
            <c:idx val="16"/>
            <c:invertIfNegative val="1"/>
            <c:bubble3D val="0"/>
            <c:spPr>
              <a:solidFill>
                <a:srgbClr val="E6E5E5"/>
              </a:solidFill>
            </c:spPr>
            <c:extLst>
              <c:ext xmlns:c16="http://schemas.microsoft.com/office/drawing/2014/chart" uri="{C3380CC4-5D6E-409C-BE32-E72D297353CC}">
                <c16:uniqueId val="{0000001E-7980-4C82-8C1C-32D5A7B4E44B}"/>
              </c:ext>
            </c:extLst>
          </c:dPt>
          <c:dPt>
            <c:idx val="17"/>
            <c:invertIfNegative val="0"/>
            <c:bubble3D val="0"/>
            <c:spPr>
              <a:solidFill>
                <a:srgbClr val="E6E5E5"/>
              </a:solidFill>
              <a:ln>
                <a:noFill/>
              </a:ln>
              <a:effectLst/>
            </c:spPr>
            <c:extLst>
              <c:ext xmlns:c16="http://schemas.microsoft.com/office/drawing/2014/chart" uri="{C3380CC4-5D6E-409C-BE32-E72D297353CC}">
                <c16:uniqueId val="{0000001F-7980-4C82-8C1C-32D5A7B4E44B}"/>
              </c:ext>
            </c:extLst>
          </c:dPt>
          <c:dPt>
            <c:idx val="18"/>
            <c:invertIfNegative val="1"/>
            <c:bubble3D val="0"/>
            <c:spPr>
              <a:solidFill>
                <a:srgbClr val="E6E5E5"/>
              </a:solidFill>
            </c:spPr>
            <c:extLst>
              <c:ext xmlns:c16="http://schemas.microsoft.com/office/drawing/2014/chart" uri="{C3380CC4-5D6E-409C-BE32-E72D297353CC}">
                <c16:uniqueId val="{00000020-7980-4C82-8C1C-32D5A7B4E44B}"/>
              </c:ext>
            </c:extLst>
          </c:dPt>
          <c:dPt>
            <c:idx val="19"/>
            <c:invertIfNegative val="1"/>
            <c:bubble3D val="0"/>
            <c:spPr>
              <a:solidFill>
                <a:srgbClr val="E6E5E5"/>
              </a:solidFill>
            </c:spPr>
            <c:extLst>
              <c:ext xmlns:c16="http://schemas.microsoft.com/office/drawing/2014/chart" uri="{C3380CC4-5D6E-409C-BE32-E72D297353CC}">
                <c16:uniqueId val="{00000021-7980-4C82-8C1C-32D5A7B4E44B}"/>
              </c:ext>
            </c:extLst>
          </c:dPt>
          <c:dPt>
            <c:idx val="20"/>
            <c:invertIfNegative val="1"/>
            <c:bubble3D val="0"/>
            <c:spPr>
              <a:solidFill>
                <a:srgbClr val="E6E5E5"/>
              </a:solidFill>
            </c:spPr>
            <c:extLst>
              <c:ext xmlns:c16="http://schemas.microsoft.com/office/drawing/2014/chart" uri="{C3380CC4-5D6E-409C-BE32-E72D297353CC}">
                <c16:uniqueId val="{00000022-7980-4C82-8C1C-32D5A7B4E44B}"/>
              </c:ext>
            </c:extLst>
          </c:dPt>
          <c:dPt>
            <c:idx val="21"/>
            <c:invertIfNegative val="1"/>
            <c:bubble3D val="0"/>
            <c:spPr>
              <a:solidFill>
                <a:srgbClr val="E6E5E5"/>
              </a:solidFill>
            </c:spPr>
            <c:extLst>
              <c:ext xmlns:c16="http://schemas.microsoft.com/office/drawing/2014/chart" uri="{C3380CC4-5D6E-409C-BE32-E72D297353CC}">
                <c16:uniqueId val="{00000001-7980-4C82-8C1C-32D5A7B4E44B}"/>
              </c:ext>
            </c:extLst>
          </c:dPt>
          <c:dPt>
            <c:idx val="22"/>
            <c:invertIfNegative val="1"/>
            <c:bubble3D val="0"/>
            <c:spPr>
              <a:solidFill>
                <a:srgbClr val="E6E5E5"/>
              </a:solidFill>
            </c:spPr>
            <c:extLst>
              <c:ext xmlns:c16="http://schemas.microsoft.com/office/drawing/2014/chart" uri="{C3380CC4-5D6E-409C-BE32-E72D297353CC}">
                <c16:uniqueId val="{00000023-7980-4C82-8C1C-32D5A7B4E44B}"/>
              </c:ext>
            </c:extLst>
          </c:dPt>
          <c:dPt>
            <c:idx val="23"/>
            <c:invertIfNegative val="1"/>
            <c:bubble3D val="0"/>
            <c:spPr>
              <a:solidFill>
                <a:srgbClr val="E6E5E5"/>
              </a:solidFill>
            </c:spPr>
            <c:extLst>
              <c:ext xmlns:c16="http://schemas.microsoft.com/office/drawing/2014/chart" uri="{C3380CC4-5D6E-409C-BE32-E72D297353CC}">
                <c16:uniqueId val="{00000003-7980-4C82-8C1C-32D5A7B4E44B}"/>
              </c:ext>
            </c:extLst>
          </c:dPt>
          <c:dPt>
            <c:idx val="24"/>
            <c:invertIfNegative val="1"/>
            <c:bubble3D val="0"/>
            <c:spPr>
              <a:solidFill>
                <a:srgbClr val="E6E5E5"/>
              </a:solidFill>
            </c:spPr>
            <c:extLst>
              <c:ext xmlns:c16="http://schemas.microsoft.com/office/drawing/2014/chart" uri="{C3380CC4-5D6E-409C-BE32-E72D297353CC}">
                <c16:uniqueId val="{00000024-7980-4C82-8C1C-32D5A7B4E44B}"/>
              </c:ext>
            </c:extLst>
          </c:dPt>
          <c:dPt>
            <c:idx val="25"/>
            <c:invertIfNegative val="1"/>
            <c:bubble3D val="0"/>
            <c:spPr>
              <a:solidFill>
                <a:srgbClr val="E6E5E5"/>
              </a:solidFill>
            </c:spPr>
            <c:extLst>
              <c:ext xmlns:c16="http://schemas.microsoft.com/office/drawing/2014/chart" uri="{C3380CC4-5D6E-409C-BE32-E72D297353CC}">
                <c16:uniqueId val="{00000025-7980-4C82-8C1C-32D5A7B4E44B}"/>
              </c:ext>
            </c:extLst>
          </c:dPt>
          <c:dPt>
            <c:idx val="26"/>
            <c:invertIfNegative val="1"/>
            <c:bubble3D val="0"/>
            <c:spPr>
              <a:solidFill>
                <a:srgbClr val="E6E5E5"/>
              </a:solidFill>
            </c:spPr>
            <c:extLst>
              <c:ext xmlns:c16="http://schemas.microsoft.com/office/drawing/2014/chart" uri="{C3380CC4-5D6E-409C-BE32-E72D297353CC}">
                <c16:uniqueId val="{00000026-7980-4C82-8C1C-32D5A7B4E44B}"/>
              </c:ext>
            </c:extLst>
          </c:dPt>
          <c:dPt>
            <c:idx val="27"/>
            <c:invertIfNegative val="1"/>
            <c:bubble3D val="0"/>
            <c:spPr>
              <a:solidFill>
                <a:srgbClr val="E6E5E5"/>
              </a:solidFill>
            </c:spPr>
            <c:extLst>
              <c:ext xmlns:c16="http://schemas.microsoft.com/office/drawing/2014/chart" uri="{C3380CC4-5D6E-409C-BE32-E72D297353CC}">
                <c16:uniqueId val="{00000027-7980-4C82-8C1C-32D5A7B4E44B}"/>
              </c:ext>
            </c:extLst>
          </c:dPt>
          <c:dPt>
            <c:idx val="28"/>
            <c:invertIfNegative val="1"/>
            <c:bubble3D val="0"/>
            <c:spPr>
              <a:solidFill>
                <a:srgbClr val="E6E5E5"/>
              </a:solidFill>
            </c:spPr>
            <c:extLst>
              <c:ext xmlns:c16="http://schemas.microsoft.com/office/drawing/2014/chart" uri="{C3380CC4-5D6E-409C-BE32-E72D297353CC}">
                <c16:uniqueId val="{00000028-7980-4C82-8C1C-32D5A7B4E44B}"/>
              </c:ext>
            </c:extLst>
          </c:dPt>
          <c:dPt>
            <c:idx val="29"/>
            <c:invertIfNegative val="1"/>
            <c:bubble3D val="0"/>
            <c:spPr>
              <a:solidFill>
                <a:srgbClr val="E6E5E5"/>
              </a:solidFill>
            </c:spPr>
            <c:extLst>
              <c:ext xmlns:c16="http://schemas.microsoft.com/office/drawing/2014/chart" uri="{C3380CC4-5D6E-409C-BE32-E72D297353CC}">
                <c16:uniqueId val="{00000029-7980-4C82-8C1C-32D5A7B4E44B}"/>
              </c:ext>
            </c:extLst>
          </c:dPt>
          <c:dPt>
            <c:idx val="30"/>
            <c:invertIfNegative val="1"/>
            <c:bubble3D val="0"/>
            <c:spPr>
              <a:solidFill>
                <a:srgbClr val="E6E5E5"/>
              </a:solidFill>
            </c:spPr>
            <c:extLst>
              <c:ext xmlns:c16="http://schemas.microsoft.com/office/drawing/2014/chart" uri="{C3380CC4-5D6E-409C-BE32-E72D297353CC}">
                <c16:uniqueId val="{0000002A-7980-4C82-8C1C-32D5A7B4E44B}"/>
              </c:ext>
            </c:extLst>
          </c:dPt>
          <c:dPt>
            <c:idx val="31"/>
            <c:invertIfNegative val="1"/>
            <c:bubble3D val="0"/>
            <c:spPr>
              <a:solidFill>
                <a:srgbClr val="E6E5E5"/>
              </a:solidFill>
            </c:spPr>
            <c:extLst>
              <c:ext xmlns:c16="http://schemas.microsoft.com/office/drawing/2014/chart" uri="{C3380CC4-5D6E-409C-BE32-E72D297353CC}">
                <c16:uniqueId val="{0000002B-7980-4C82-8C1C-32D5A7B4E44B}"/>
              </c:ext>
            </c:extLst>
          </c:dPt>
          <c:dPt>
            <c:idx val="32"/>
            <c:invertIfNegative val="0"/>
            <c:bubble3D val="0"/>
            <c:spPr>
              <a:solidFill>
                <a:srgbClr val="E6E5E5"/>
              </a:solidFill>
              <a:ln>
                <a:noFill/>
              </a:ln>
              <a:effectLst/>
            </c:spPr>
            <c:extLst>
              <c:ext xmlns:c16="http://schemas.microsoft.com/office/drawing/2014/chart" uri="{C3380CC4-5D6E-409C-BE32-E72D297353CC}">
                <c16:uniqueId val="{00000005-7980-4C82-8C1C-32D5A7B4E44B}"/>
              </c:ext>
            </c:extLst>
          </c:dPt>
          <c:dPt>
            <c:idx val="33"/>
            <c:invertIfNegative val="1"/>
            <c:bubble3D val="0"/>
            <c:spPr>
              <a:solidFill>
                <a:srgbClr val="E6E5E5"/>
              </a:solidFill>
            </c:spPr>
            <c:extLst>
              <c:ext xmlns:c16="http://schemas.microsoft.com/office/drawing/2014/chart" uri="{C3380CC4-5D6E-409C-BE32-E72D297353CC}">
                <c16:uniqueId val="{0000002C-7980-4C82-8C1C-32D5A7B4E44B}"/>
              </c:ext>
            </c:extLst>
          </c:dPt>
          <c:dPt>
            <c:idx val="34"/>
            <c:invertIfNegative val="1"/>
            <c:bubble3D val="0"/>
            <c:spPr>
              <a:solidFill>
                <a:srgbClr val="E6E5E5"/>
              </a:solidFill>
            </c:spPr>
            <c:extLst>
              <c:ext xmlns:c16="http://schemas.microsoft.com/office/drawing/2014/chart" uri="{C3380CC4-5D6E-409C-BE32-E72D297353CC}">
                <c16:uniqueId val="{00000007-7980-4C82-8C1C-32D5A7B4E44B}"/>
              </c:ext>
            </c:extLst>
          </c:dPt>
          <c:dPt>
            <c:idx val="35"/>
            <c:invertIfNegative val="1"/>
            <c:bubble3D val="0"/>
            <c:spPr>
              <a:solidFill>
                <a:srgbClr val="E6E5E5"/>
              </a:solidFill>
            </c:spPr>
            <c:extLst>
              <c:ext xmlns:c16="http://schemas.microsoft.com/office/drawing/2014/chart" uri="{C3380CC4-5D6E-409C-BE32-E72D297353CC}">
                <c16:uniqueId val="{0000002D-7980-4C82-8C1C-32D5A7B4E44B}"/>
              </c:ext>
            </c:extLst>
          </c:dPt>
          <c:dPt>
            <c:idx val="36"/>
            <c:invertIfNegative val="1"/>
            <c:bubble3D val="0"/>
            <c:spPr>
              <a:solidFill>
                <a:srgbClr val="E6E5E5"/>
              </a:solidFill>
            </c:spPr>
            <c:extLst>
              <c:ext xmlns:c16="http://schemas.microsoft.com/office/drawing/2014/chart" uri="{C3380CC4-5D6E-409C-BE32-E72D297353CC}">
                <c16:uniqueId val="{0000002E-7980-4C82-8C1C-32D5A7B4E44B}"/>
              </c:ext>
            </c:extLst>
          </c:dPt>
          <c:dPt>
            <c:idx val="37"/>
            <c:invertIfNegative val="1"/>
            <c:bubble3D val="0"/>
            <c:spPr>
              <a:solidFill>
                <a:srgbClr val="E6E5E5"/>
              </a:solidFill>
            </c:spPr>
            <c:extLst>
              <c:ext xmlns:c16="http://schemas.microsoft.com/office/drawing/2014/chart" uri="{C3380CC4-5D6E-409C-BE32-E72D297353CC}">
                <c16:uniqueId val="{0000002F-7980-4C82-8C1C-32D5A7B4E44B}"/>
              </c:ext>
            </c:extLst>
          </c:dPt>
          <c:dPt>
            <c:idx val="38"/>
            <c:invertIfNegative val="1"/>
            <c:bubble3D val="0"/>
            <c:spPr>
              <a:solidFill>
                <a:srgbClr val="E6E5E5"/>
              </a:solidFill>
            </c:spPr>
            <c:extLst>
              <c:ext xmlns:c16="http://schemas.microsoft.com/office/drawing/2014/chart" uri="{C3380CC4-5D6E-409C-BE32-E72D297353CC}">
                <c16:uniqueId val="{00000030-7980-4C82-8C1C-32D5A7B4E44B}"/>
              </c:ext>
            </c:extLst>
          </c:dPt>
          <c:dPt>
            <c:idx val="39"/>
            <c:invertIfNegative val="1"/>
            <c:bubble3D val="0"/>
            <c:spPr>
              <a:solidFill>
                <a:srgbClr val="E6E5E5"/>
              </a:solidFill>
            </c:spPr>
            <c:extLst>
              <c:ext xmlns:c16="http://schemas.microsoft.com/office/drawing/2014/chart" uri="{C3380CC4-5D6E-409C-BE32-E72D297353CC}">
                <c16:uniqueId val="{00000031-7980-4C82-8C1C-32D5A7B4E44B}"/>
              </c:ext>
            </c:extLst>
          </c:dPt>
          <c:dPt>
            <c:idx val="40"/>
            <c:invertIfNegative val="1"/>
            <c:bubble3D val="0"/>
            <c:spPr>
              <a:solidFill>
                <a:srgbClr val="E6E5E5"/>
              </a:solidFill>
            </c:spPr>
            <c:extLst>
              <c:ext xmlns:c16="http://schemas.microsoft.com/office/drawing/2014/chart" uri="{C3380CC4-5D6E-409C-BE32-E72D297353CC}">
                <c16:uniqueId val="{00000032-7980-4C82-8C1C-32D5A7B4E44B}"/>
              </c:ext>
            </c:extLst>
          </c:dPt>
          <c:dPt>
            <c:idx val="41"/>
            <c:invertIfNegative val="1"/>
            <c:bubble3D val="0"/>
            <c:spPr>
              <a:solidFill>
                <a:srgbClr val="E6E5E5"/>
              </a:solidFill>
            </c:spPr>
            <c:extLst>
              <c:ext xmlns:c16="http://schemas.microsoft.com/office/drawing/2014/chart" uri="{C3380CC4-5D6E-409C-BE32-E72D297353CC}">
                <c16:uniqueId val="{00000033-7980-4C82-8C1C-32D5A7B4E44B}"/>
              </c:ext>
            </c:extLst>
          </c:dPt>
          <c:dPt>
            <c:idx val="42"/>
            <c:invertIfNegative val="1"/>
            <c:bubble3D val="0"/>
            <c:spPr>
              <a:solidFill>
                <a:srgbClr val="E6E5E5"/>
              </a:solidFill>
            </c:spPr>
            <c:extLst>
              <c:ext xmlns:c16="http://schemas.microsoft.com/office/drawing/2014/chart" uri="{C3380CC4-5D6E-409C-BE32-E72D297353CC}">
                <c16:uniqueId val="{00000009-7980-4C82-8C1C-32D5A7B4E44B}"/>
              </c:ext>
            </c:extLst>
          </c:dPt>
          <c:dPt>
            <c:idx val="43"/>
            <c:invertIfNegative val="1"/>
            <c:bubble3D val="0"/>
            <c:spPr>
              <a:solidFill>
                <a:srgbClr val="E6E5E5"/>
              </a:solidFill>
            </c:spPr>
            <c:extLst>
              <c:ext xmlns:c16="http://schemas.microsoft.com/office/drawing/2014/chart" uri="{C3380CC4-5D6E-409C-BE32-E72D297353CC}">
                <c16:uniqueId val="{0000000B-7980-4C82-8C1C-32D5A7B4E44B}"/>
              </c:ext>
            </c:extLst>
          </c:dPt>
          <c:dPt>
            <c:idx val="44"/>
            <c:invertIfNegative val="0"/>
            <c:bubble3D val="0"/>
            <c:spPr>
              <a:solidFill>
                <a:srgbClr val="E6E5E5"/>
              </a:solidFill>
              <a:ln>
                <a:noFill/>
              </a:ln>
              <a:effectLst/>
            </c:spPr>
            <c:extLst>
              <c:ext xmlns:c16="http://schemas.microsoft.com/office/drawing/2014/chart" uri="{C3380CC4-5D6E-409C-BE32-E72D297353CC}">
                <c16:uniqueId val="{00000034-7980-4C82-8C1C-32D5A7B4E44B}"/>
              </c:ext>
            </c:extLst>
          </c:dPt>
          <c:dPt>
            <c:idx val="45"/>
            <c:invertIfNegative val="1"/>
            <c:bubble3D val="0"/>
            <c:spPr>
              <a:solidFill>
                <a:srgbClr val="E6E5E5"/>
              </a:solidFill>
            </c:spPr>
            <c:extLst>
              <c:ext xmlns:c16="http://schemas.microsoft.com/office/drawing/2014/chart" uri="{C3380CC4-5D6E-409C-BE32-E72D297353CC}">
                <c16:uniqueId val="{00000035-7980-4C82-8C1C-32D5A7B4E44B}"/>
              </c:ext>
            </c:extLst>
          </c:dPt>
          <c:dPt>
            <c:idx val="46"/>
            <c:invertIfNegative val="1"/>
            <c:bubble3D val="0"/>
            <c:spPr>
              <a:solidFill>
                <a:srgbClr val="E6E5E5"/>
              </a:solidFill>
            </c:spPr>
            <c:extLst>
              <c:ext xmlns:c16="http://schemas.microsoft.com/office/drawing/2014/chart" uri="{C3380CC4-5D6E-409C-BE32-E72D297353CC}">
                <c16:uniqueId val="{00000036-7980-4C82-8C1C-32D5A7B4E44B}"/>
              </c:ext>
            </c:extLst>
          </c:dPt>
          <c:dPt>
            <c:idx val="47"/>
            <c:invertIfNegative val="1"/>
            <c:bubble3D val="0"/>
            <c:spPr>
              <a:solidFill>
                <a:srgbClr val="E6E5E5"/>
              </a:solidFill>
            </c:spPr>
            <c:extLst>
              <c:ext xmlns:c16="http://schemas.microsoft.com/office/drawing/2014/chart" uri="{C3380CC4-5D6E-409C-BE32-E72D297353CC}">
                <c16:uniqueId val="{00000037-7980-4C82-8C1C-32D5A7B4E44B}"/>
              </c:ext>
            </c:extLst>
          </c:dPt>
          <c:dPt>
            <c:idx val="48"/>
            <c:invertIfNegative val="1"/>
            <c:bubble3D val="0"/>
            <c:spPr>
              <a:solidFill>
                <a:srgbClr val="E6E5E5"/>
              </a:solidFill>
            </c:spPr>
            <c:extLst>
              <c:ext xmlns:c16="http://schemas.microsoft.com/office/drawing/2014/chart" uri="{C3380CC4-5D6E-409C-BE32-E72D297353CC}">
                <c16:uniqueId val="{00000038-7980-4C82-8C1C-32D5A7B4E44B}"/>
              </c:ext>
            </c:extLst>
          </c:dPt>
          <c:dPt>
            <c:idx val="49"/>
            <c:invertIfNegative val="0"/>
            <c:bubble3D val="0"/>
            <c:spPr>
              <a:solidFill>
                <a:srgbClr val="E6E5E5"/>
              </a:solidFill>
              <a:ln>
                <a:noFill/>
              </a:ln>
              <a:effectLst/>
            </c:spPr>
            <c:extLst>
              <c:ext xmlns:c16="http://schemas.microsoft.com/office/drawing/2014/chart" uri="{C3380CC4-5D6E-409C-BE32-E72D297353CC}">
                <c16:uniqueId val="{00000039-7980-4C82-8C1C-32D5A7B4E44B}"/>
              </c:ext>
            </c:extLst>
          </c:dPt>
          <c:dPt>
            <c:idx val="50"/>
            <c:invertIfNegative val="0"/>
            <c:bubble3D val="0"/>
            <c:spPr>
              <a:solidFill>
                <a:srgbClr val="E6E5E5"/>
              </a:solidFill>
              <a:ln>
                <a:noFill/>
              </a:ln>
              <a:effectLst/>
            </c:spPr>
            <c:extLst>
              <c:ext xmlns:c16="http://schemas.microsoft.com/office/drawing/2014/chart" uri="{C3380CC4-5D6E-409C-BE32-E72D297353CC}">
                <c16:uniqueId val="{0000003A-7980-4C82-8C1C-32D5A7B4E44B}"/>
              </c:ext>
            </c:extLst>
          </c:dPt>
          <c:dPt>
            <c:idx val="51"/>
            <c:invertIfNegative val="1"/>
            <c:bubble3D val="0"/>
            <c:spPr>
              <a:solidFill>
                <a:srgbClr val="E6E5E5"/>
              </a:solidFill>
            </c:spPr>
            <c:extLst>
              <c:ext xmlns:c16="http://schemas.microsoft.com/office/drawing/2014/chart" uri="{C3380CC4-5D6E-409C-BE32-E72D297353CC}">
                <c16:uniqueId val="{0000003B-7980-4C82-8C1C-32D5A7B4E44B}"/>
              </c:ext>
            </c:extLst>
          </c:dPt>
          <c:dPt>
            <c:idx val="52"/>
            <c:invertIfNegative val="1"/>
            <c:bubble3D val="0"/>
            <c:spPr>
              <a:solidFill>
                <a:srgbClr val="E6E5E5"/>
              </a:solidFill>
            </c:spPr>
            <c:extLst>
              <c:ext xmlns:c16="http://schemas.microsoft.com/office/drawing/2014/chart" uri="{C3380CC4-5D6E-409C-BE32-E72D297353CC}">
                <c16:uniqueId val="{0000003C-7980-4C82-8C1C-32D5A7B4E44B}"/>
              </c:ext>
            </c:extLst>
          </c:dPt>
          <c:dPt>
            <c:idx val="53"/>
            <c:invertIfNegative val="1"/>
            <c:bubble3D val="0"/>
            <c:spPr>
              <a:solidFill>
                <a:srgbClr val="E6E5E5"/>
              </a:solidFill>
            </c:spPr>
            <c:extLst>
              <c:ext xmlns:c16="http://schemas.microsoft.com/office/drawing/2014/chart" uri="{C3380CC4-5D6E-409C-BE32-E72D297353CC}">
                <c16:uniqueId val="{0000006B-77EF-42ED-BAFF-03BF265C16B5}"/>
              </c:ext>
            </c:extLst>
          </c:dPt>
          <c:dPt>
            <c:idx val="54"/>
            <c:invertIfNegative val="1"/>
            <c:bubble3D val="0"/>
            <c:spPr>
              <a:solidFill>
                <a:srgbClr val="E6E5E5"/>
              </a:solidFill>
            </c:spPr>
            <c:extLst>
              <c:ext xmlns:c16="http://schemas.microsoft.com/office/drawing/2014/chart" uri="{C3380CC4-5D6E-409C-BE32-E72D297353CC}">
                <c16:uniqueId val="{0000006D-77EF-42ED-BAFF-03BF265C16B5}"/>
              </c:ext>
            </c:extLst>
          </c:dPt>
          <c:dPt>
            <c:idx val="55"/>
            <c:invertIfNegative val="1"/>
            <c:bubble3D val="0"/>
            <c:spPr>
              <a:solidFill>
                <a:srgbClr val="E6E5E5"/>
              </a:solidFill>
            </c:spPr>
            <c:extLst>
              <c:ext xmlns:c16="http://schemas.microsoft.com/office/drawing/2014/chart" uri="{C3380CC4-5D6E-409C-BE32-E72D297353CC}">
                <c16:uniqueId val="{0000006F-77EF-42ED-BAFF-03BF265C16B5}"/>
              </c:ext>
            </c:extLst>
          </c:dPt>
          <c:dPt>
            <c:idx val="56"/>
            <c:invertIfNegative val="1"/>
            <c:bubble3D val="0"/>
            <c:spPr>
              <a:solidFill>
                <a:srgbClr val="E6E5E5"/>
              </a:solidFill>
            </c:spPr>
            <c:extLst>
              <c:ext xmlns:c16="http://schemas.microsoft.com/office/drawing/2014/chart" uri="{C3380CC4-5D6E-409C-BE32-E72D297353CC}">
                <c16:uniqueId val="{00000071-77EF-42ED-BAFF-03BF265C16B5}"/>
              </c:ext>
            </c:extLst>
          </c:dPt>
          <c:dPt>
            <c:idx val="57"/>
            <c:invertIfNegative val="1"/>
            <c:bubble3D val="0"/>
            <c:spPr>
              <a:solidFill>
                <a:srgbClr val="E6E5E5"/>
              </a:solidFill>
            </c:spPr>
            <c:extLst>
              <c:ext xmlns:c16="http://schemas.microsoft.com/office/drawing/2014/chart" uri="{C3380CC4-5D6E-409C-BE32-E72D297353CC}">
                <c16:uniqueId val="{00000073-77EF-42ED-BAFF-03BF265C16B5}"/>
              </c:ext>
            </c:extLst>
          </c:dPt>
          <c:dPt>
            <c:idx val="58"/>
            <c:invertIfNegative val="1"/>
            <c:bubble3D val="0"/>
            <c:spPr>
              <a:solidFill>
                <a:srgbClr val="E6E5E5"/>
              </a:solidFill>
            </c:spPr>
            <c:extLst>
              <c:ext xmlns:c16="http://schemas.microsoft.com/office/drawing/2014/chart" uri="{C3380CC4-5D6E-409C-BE32-E72D297353CC}">
                <c16:uniqueId val="{00000075-77EF-42ED-BAFF-03BF265C16B5}"/>
              </c:ext>
            </c:extLst>
          </c:dPt>
          <c:dPt>
            <c:idx val="59"/>
            <c:invertIfNegative val="1"/>
            <c:bubble3D val="0"/>
            <c:spPr>
              <a:solidFill>
                <a:srgbClr val="E6E5E5"/>
              </a:solidFill>
            </c:spPr>
            <c:extLst>
              <c:ext xmlns:c16="http://schemas.microsoft.com/office/drawing/2014/chart" uri="{C3380CC4-5D6E-409C-BE32-E72D297353CC}">
                <c16:uniqueId val="{00000077-77EF-42ED-BAFF-03BF265C16B5}"/>
              </c:ext>
            </c:extLst>
          </c:dPt>
          <c:dPt>
            <c:idx val="60"/>
            <c:invertIfNegative val="1"/>
            <c:bubble3D val="0"/>
            <c:spPr>
              <a:solidFill>
                <a:srgbClr val="E6E5E5"/>
              </a:solidFill>
            </c:spPr>
            <c:extLst>
              <c:ext xmlns:c16="http://schemas.microsoft.com/office/drawing/2014/chart" uri="{C3380CC4-5D6E-409C-BE32-E72D297353CC}">
                <c16:uniqueId val="{00000079-77EF-42ED-BAFF-03BF265C16B5}"/>
              </c:ext>
            </c:extLst>
          </c:dPt>
          <c:dPt>
            <c:idx val="61"/>
            <c:invertIfNegative val="1"/>
            <c:bubble3D val="0"/>
            <c:spPr>
              <a:solidFill>
                <a:srgbClr val="E6E5E5"/>
              </a:solidFill>
            </c:spPr>
            <c:extLst>
              <c:ext xmlns:c16="http://schemas.microsoft.com/office/drawing/2014/chart" uri="{C3380CC4-5D6E-409C-BE32-E72D297353CC}">
                <c16:uniqueId val="{0000007B-77EF-42ED-BAFF-03BF265C16B5}"/>
              </c:ext>
            </c:extLst>
          </c:dPt>
          <c:dPt>
            <c:idx val="62"/>
            <c:invertIfNegative val="1"/>
            <c:bubble3D val="0"/>
            <c:spPr>
              <a:solidFill>
                <a:srgbClr val="E6E5E5"/>
              </a:solidFill>
            </c:spPr>
            <c:extLst>
              <c:ext xmlns:c16="http://schemas.microsoft.com/office/drawing/2014/chart" uri="{C3380CC4-5D6E-409C-BE32-E72D297353CC}">
                <c16:uniqueId val="{0000007D-77EF-42ED-BAFF-03BF265C16B5}"/>
              </c:ext>
            </c:extLst>
          </c:dPt>
          <c:dPt>
            <c:idx val="63"/>
            <c:invertIfNegative val="1"/>
            <c:bubble3D val="0"/>
            <c:spPr>
              <a:solidFill>
                <a:srgbClr val="E6E5E5"/>
              </a:solidFill>
            </c:spPr>
            <c:extLst>
              <c:ext xmlns:c16="http://schemas.microsoft.com/office/drawing/2014/chart" uri="{C3380CC4-5D6E-409C-BE32-E72D297353CC}">
                <c16:uniqueId val="{0000007F-77EF-42ED-BAFF-03BF265C16B5}"/>
              </c:ext>
            </c:extLst>
          </c:dPt>
          <c:dPt>
            <c:idx val="64"/>
            <c:invertIfNegative val="1"/>
            <c:bubble3D val="0"/>
            <c:spPr>
              <a:solidFill>
                <a:srgbClr val="E6E5E5"/>
              </a:solidFill>
            </c:spPr>
            <c:extLst>
              <c:ext xmlns:c16="http://schemas.microsoft.com/office/drawing/2014/chart" uri="{C3380CC4-5D6E-409C-BE32-E72D297353CC}">
                <c16:uniqueId val="{00000081-77EF-42ED-BAFF-03BF265C16B5}"/>
              </c:ext>
            </c:extLst>
          </c:dPt>
          <c:dPt>
            <c:idx val="65"/>
            <c:invertIfNegative val="1"/>
            <c:bubble3D val="0"/>
            <c:spPr>
              <a:solidFill>
                <a:srgbClr val="E6E5E5"/>
              </a:solidFill>
            </c:spPr>
            <c:extLst>
              <c:ext xmlns:c16="http://schemas.microsoft.com/office/drawing/2014/chart" uri="{C3380CC4-5D6E-409C-BE32-E72D297353CC}">
                <c16:uniqueId val="{00000083-77EF-42ED-BAFF-03BF265C16B5}"/>
              </c:ext>
            </c:extLst>
          </c:dPt>
          <c:dPt>
            <c:idx val="66"/>
            <c:invertIfNegative val="1"/>
            <c:bubble3D val="0"/>
            <c:spPr>
              <a:solidFill>
                <a:srgbClr val="E6E5E5"/>
              </a:solidFill>
            </c:spPr>
            <c:extLst>
              <c:ext xmlns:c16="http://schemas.microsoft.com/office/drawing/2014/chart" uri="{C3380CC4-5D6E-409C-BE32-E72D297353CC}">
                <c16:uniqueId val="{00000085-77EF-42ED-BAFF-03BF265C16B5}"/>
              </c:ext>
            </c:extLst>
          </c:dPt>
          <c:dPt>
            <c:idx val="67"/>
            <c:invertIfNegative val="1"/>
            <c:bubble3D val="0"/>
            <c:spPr>
              <a:solidFill>
                <a:srgbClr val="E6E5E5"/>
              </a:solidFill>
            </c:spPr>
            <c:extLst>
              <c:ext xmlns:c16="http://schemas.microsoft.com/office/drawing/2014/chart" uri="{C3380CC4-5D6E-409C-BE32-E72D297353CC}">
                <c16:uniqueId val="{00000087-77EF-42ED-BAFF-03BF265C16B5}"/>
              </c:ext>
            </c:extLst>
          </c:dPt>
          <c:dPt>
            <c:idx val="68"/>
            <c:invertIfNegative val="1"/>
            <c:bubble3D val="0"/>
            <c:spPr>
              <a:solidFill>
                <a:srgbClr val="E6E5E5"/>
              </a:solidFill>
            </c:spPr>
            <c:extLst>
              <c:ext xmlns:c16="http://schemas.microsoft.com/office/drawing/2014/chart" uri="{C3380CC4-5D6E-409C-BE32-E72D297353CC}">
                <c16:uniqueId val="{00000089-77EF-42ED-BAFF-03BF265C16B5}"/>
              </c:ext>
            </c:extLst>
          </c:dPt>
          <c:dPt>
            <c:idx val="69"/>
            <c:invertIfNegative val="1"/>
            <c:bubble3D val="0"/>
            <c:spPr>
              <a:solidFill>
                <a:srgbClr val="E6E5E5"/>
              </a:solidFill>
            </c:spPr>
            <c:extLst>
              <c:ext xmlns:c16="http://schemas.microsoft.com/office/drawing/2014/chart" uri="{C3380CC4-5D6E-409C-BE32-E72D297353CC}">
                <c16:uniqueId val="{0000008B-77EF-42ED-BAFF-03BF265C16B5}"/>
              </c:ext>
            </c:extLst>
          </c:dPt>
          <c:dPt>
            <c:idx val="70"/>
            <c:invertIfNegative val="1"/>
            <c:bubble3D val="0"/>
            <c:spPr>
              <a:solidFill>
                <a:srgbClr val="E6E5E5"/>
              </a:solidFill>
            </c:spPr>
            <c:extLst>
              <c:ext xmlns:c16="http://schemas.microsoft.com/office/drawing/2014/chart" uri="{C3380CC4-5D6E-409C-BE32-E72D297353CC}">
                <c16:uniqueId val="{0000008D-77EF-42ED-BAFF-03BF265C16B5}"/>
              </c:ext>
            </c:extLst>
          </c:dPt>
          <c:dPt>
            <c:idx val="71"/>
            <c:invertIfNegative val="1"/>
            <c:bubble3D val="0"/>
            <c:spPr>
              <a:solidFill>
                <a:srgbClr val="E6E5E5"/>
              </a:solidFill>
            </c:spPr>
            <c:extLst>
              <c:ext xmlns:c16="http://schemas.microsoft.com/office/drawing/2014/chart" uri="{C3380CC4-5D6E-409C-BE32-E72D297353CC}">
                <c16:uniqueId val="{0000008F-77EF-42ED-BAFF-03BF265C16B5}"/>
              </c:ext>
            </c:extLst>
          </c:dPt>
          <c:dPt>
            <c:idx val="72"/>
            <c:invertIfNegative val="1"/>
            <c:bubble3D val="0"/>
            <c:spPr>
              <a:solidFill>
                <a:srgbClr val="E6E5E5"/>
              </a:solidFill>
            </c:spPr>
            <c:extLst>
              <c:ext xmlns:c16="http://schemas.microsoft.com/office/drawing/2014/chart" uri="{C3380CC4-5D6E-409C-BE32-E72D297353CC}">
                <c16:uniqueId val="{00000091-77EF-42ED-BAFF-03BF265C16B5}"/>
              </c:ext>
            </c:extLst>
          </c:dPt>
          <c:dPt>
            <c:idx val="73"/>
            <c:invertIfNegative val="1"/>
            <c:bubble3D val="0"/>
            <c:spPr>
              <a:solidFill>
                <a:srgbClr val="E6E5E5"/>
              </a:solidFill>
            </c:spPr>
            <c:extLst>
              <c:ext xmlns:c16="http://schemas.microsoft.com/office/drawing/2014/chart" uri="{C3380CC4-5D6E-409C-BE32-E72D297353CC}">
                <c16:uniqueId val="{00000093-77EF-42ED-BAFF-03BF265C16B5}"/>
              </c:ext>
            </c:extLst>
          </c:dPt>
          <c:dPt>
            <c:idx val="74"/>
            <c:invertIfNegative val="1"/>
            <c:bubble3D val="0"/>
            <c:spPr>
              <a:solidFill>
                <a:srgbClr val="E6E5E5"/>
              </a:solidFill>
            </c:spPr>
            <c:extLst>
              <c:ext xmlns:c16="http://schemas.microsoft.com/office/drawing/2014/chart" uri="{C3380CC4-5D6E-409C-BE32-E72D297353CC}">
                <c16:uniqueId val="{00000095-77EF-42ED-BAFF-03BF265C16B5}"/>
              </c:ext>
            </c:extLst>
          </c:dPt>
          <c:dPt>
            <c:idx val="75"/>
            <c:invertIfNegative val="1"/>
            <c:bubble3D val="0"/>
            <c:spPr>
              <a:solidFill>
                <a:srgbClr val="E6E5E5"/>
              </a:solidFill>
            </c:spPr>
            <c:extLst>
              <c:ext xmlns:c16="http://schemas.microsoft.com/office/drawing/2014/chart" uri="{C3380CC4-5D6E-409C-BE32-E72D297353CC}">
                <c16:uniqueId val="{00000097-77EF-42ED-BAFF-03BF265C16B5}"/>
              </c:ext>
            </c:extLst>
          </c:dPt>
          <c:dPt>
            <c:idx val="76"/>
            <c:invertIfNegative val="1"/>
            <c:bubble3D val="0"/>
            <c:spPr>
              <a:solidFill>
                <a:srgbClr val="E6E5E5"/>
              </a:solidFill>
            </c:spPr>
            <c:extLst>
              <c:ext xmlns:c16="http://schemas.microsoft.com/office/drawing/2014/chart" uri="{C3380CC4-5D6E-409C-BE32-E72D297353CC}">
                <c16:uniqueId val="{00000099-77EF-42ED-BAFF-03BF265C16B5}"/>
              </c:ext>
            </c:extLst>
          </c:dPt>
          <c:dPt>
            <c:idx val="77"/>
            <c:invertIfNegative val="1"/>
            <c:bubble3D val="0"/>
            <c:spPr>
              <a:solidFill>
                <a:srgbClr val="E6E5E5"/>
              </a:solidFill>
            </c:spPr>
            <c:extLst>
              <c:ext xmlns:c16="http://schemas.microsoft.com/office/drawing/2014/chart" uri="{C3380CC4-5D6E-409C-BE32-E72D297353CC}">
                <c16:uniqueId val="{0000009B-77EF-42ED-BAFF-03BF265C16B5}"/>
              </c:ext>
            </c:extLst>
          </c:dPt>
          <c:dPt>
            <c:idx val="78"/>
            <c:invertIfNegative val="1"/>
            <c:bubble3D val="0"/>
            <c:spPr>
              <a:solidFill>
                <a:srgbClr val="E6E5E5"/>
              </a:solidFill>
            </c:spPr>
            <c:extLst>
              <c:ext xmlns:c16="http://schemas.microsoft.com/office/drawing/2014/chart" uri="{C3380CC4-5D6E-409C-BE32-E72D297353CC}">
                <c16:uniqueId val="{0000009D-77EF-42ED-BAFF-03BF265C16B5}"/>
              </c:ext>
            </c:extLst>
          </c:dPt>
          <c:dPt>
            <c:idx val="79"/>
            <c:invertIfNegative val="1"/>
            <c:bubble3D val="0"/>
            <c:spPr>
              <a:solidFill>
                <a:srgbClr val="E6E5E5"/>
              </a:solidFill>
            </c:spPr>
            <c:extLst>
              <c:ext xmlns:c16="http://schemas.microsoft.com/office/drawing/2014/chart" uri="{C3380CC4-5D6E-409C-BE32-E72D297353CC}">
                <c16:uniqueId val="{0000009F-77EF-42ED-BAFF-03BF265C16B5}"/>
              </c:ext>
            </c:extLst>
          </c:dPt>
          <c:dPt>
            <c:idx val="80"/>
            <c:invertIfNegative val="1"/>
            <c:bubble3D val="0"/>
            <c:spPr>
              <a:solidFill>
                <a:srgbClr val="E6E5E5"/>
              </a:solidFill>
            </c:spPr>
            <c:extLst>
              <c:ext xmlns:c16="http://schemas.microsoft.com/office/drawing/2014/chart" uri="{C3380CC4-5D6E-409C-BE32-E72D297353CC}">
                <c16:uniqueId val="{000000A1-77EF-42ED-BAFF-03BF265C16B5}"/>
              </c:ext>
            </c:extLst>
          </c:dPt>
          <c:dPt>
            <c:idx val="81"/>
            <c:invertIfNegative val="1"/>
            <c:bubble3D val="0"/>
            <c:spPr>
              <a:solidFill>
                <a:srgbClr val="E6E5E5"/>
              </a:solidFill>
            </c:spPr>
            <c:extLst>
              <c:ext xmlns:c16="http://schemas.microsoft.com/office/drawing/2014/chart" uri="{C3380CC4-5D6E-409C-BE32-E72D297353CC}">
                <c16:uniqueId val="{000000A3-77EF-42ED-BAFF-03BF265C16B5}"/>
              </c:ext>
            </c:extLst>
          </c:dPt>
          <c:dPt>
            <c:idx val="82"/>
            <c:invertIfNegative val="1"/>
            <c:bubble3D val="0"/>
            <c:spPr>
              <a:solidFill>
                <a:srgbClr val="E6E5E5"/>
              </a:solidFill>
            </c:spPr>
            <c:extLst>
              <c:ext xmlns:c16="http://schemas.microsoft.com/office/drawing/2014/chart" uri="{C3380CC4-5D6E-409C-BE32-E72D297353CC}">
                <c16:uniqueId val="{000000A5-77EF-42ED-BAFF-03BF265C16B5}"/>
              </c:ext>
            </c:extLst>
          </c:dPt>
          <c:dPt>
            <c:idx val="83"/>
            <c:invertIfNegative val="1"/>
            <c:bubble3D val="0"/>
            <c:spPr>
              <a:solidFill>
                <a:srgbClr val="E6E5E5"/>
              </a:solidFill>
            </c:spPr>
            <c:extLst>
              <c:ext xmlns:c16="http://schemas.microsoft.com/office/drawing/2014/chart" uri="{C3380CC4-5D6E-409C-BE32-E72D297353CC}">
                <c16:uniqueId val="{000000A7-77EF-42ED-BAFF-03BF265C16B5}"/>
              </c:ext>
            </c:extLst>
          </c:dPt>
          <c:dPt>
            <c:idx val="84"/>
            <c:invertIfNegative val="1"/>
            <c:bubble3D val="0"/>
            <c:spPr>
              <a:solidFill>
                <a:srgbClr val="E6E5E5"/>
              </a:solidFill>
            </c:spPr>
            <c:extLst>
              <c:ext xmlns:c16="http://schemas.microsoft.com/office/drawing/2014/chart" uri="{C3380CC4-5D6E-409C-BE32-E72D297353CC}">
                <c16:uniqueId val="{000000A9-77EF-42ED-BAFF-03BF265C16B5}"/>
              </c:ext>
            </c:extLst>
          </c:dPt>
          <c:dPt>
            <c:idx val="85"/>
            <c:invertIfNegative val="1"/>
            <c:bubble3D val="0"/>
            <c:spPr>
              <a:solidFill>
                <a:srgbClr val="E6E5E5"/>
              </a:solidFill>
            </c:spPr>
            <c:extLst>
              <c:ext xmlns:c16="http://schemas.microsoft.com/office/drawing/2014/chart" uri="{C3380CC4-5D6E-409C-BE32-E72D297353CC}">
                <c16:uniqueId val="{000000AB-77EF-42ED-BAFF-03BF265C16B5}"/>
              </c:ext>
            </c:extLst>
          </c:dPt>
          <c:dPt>
            <c:idx val="86"/>
            <c:invertIfNegative val="1"/>
            <c:bubble3D val="0"/>
            <c:spPr>
              <a:solidFill>
                <a:srgbClr val="E6E5E5"/>
              </a:solidFill>
            </c:spPr>
            <c:extLst>
              <c:ext xmlns:c16="http://schemas.microsoft.com/office/drawing/2014/chart" uri="{C3380CC4-5D6E-409C-BE32-E72D297353CC}">
                <c16:uniqueId val="{000000AD-77EF-42ED-BAFF-03BF265C16B5}"/>
              </c:ext>
            </c:extLst>
          </c:dPt>
          <c:dPt>
            <c:idx val="87"/>
            <c:invertIfNegative val="1"/>
            <c:bubble3D val="0"/>
            <c:spPr>
              <a:solidFill>
                <a:srgbClr val="E6E5E5"/>
              </a:solidFill>
            </c:spPr>
            <c:extLst>
              <c:ext xmlns:c16="http://schemas.microsoft.com/office/drawing/2014/chart" uri="{C3380CC4-5D6E-409C-BE32-E72D297353CC}">
                <c16:uniqueId val="{000000AF-77EF-42ED-BAFF-03BF265C16B5}"/>
              </c:ext>
            </c:extLst>
          </c:dPt>
          <c:dPt>
            <c:idx val="88"/>
            <c:invertIfNegative val="1"/>
            <c:bubble3D val="0"/>
            <c:spPr>
              <a:solidFill>
                <a:srgbClr val="E6E5E5"/>
              </a:solidFill>
            </c:spPr>
            <c:extLst>
              <c:ext xmlns:c16="http://schemas.microsoft.com/office/drawing/2014/chart" uri="{C3380CC4-5D6E-409C-BE32-E72D297353CC}">
                <c16:uniqueId val="{000000B1-77EF-42ED-BAFF-03BF265C16B5}"/>
              </c:ext>
            </c:extLst>
          </c:dPt>
          <c:dPt>
            <c:idx val="89"/>
            <c:invertIfNegative val="1"/>
            <c:bubble3D val="0"/>
            <c:spPr>
              <a:solidFill>
                <a:srgbClr val="E6E5E5"/>
              </a:solidFill>
            </c:spPr>
            <c:extLst>
              <c:ext xmlns:c16="http://schemas.microsoft.com/office/drawing/2014/chart" uri="{C3380CC4-5D6E-409C-BE32-E72D297353CC}">
                <c16:uniqueId val="{000000B3-77EF-42ED-BAFF-03BF265C16B5}"/>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7980-4C82-8C1C-32D5A7B4E44B}"/>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7980-4C82-8C1C-32D5A7B4E44B}"/>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7980-4C82-8C1C-32D5A7B4E44B}"/>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7980-4C82-8C1C-32D5A7B4E44B}"/>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7980-4C82-8C1C-32D5A7B4E44B}"/>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7980-4C82-8C1C-32D5A7B4E44B}"/>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7980-4C82-8C1C-32D5A7B4E44B}"/>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7980-4C82-8C1C-32D5A7B4E44B}"/>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7980-4C82-8C1C-32D5A7B4E44B}"/>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7980-4C82-8C1C-32D5A7B4E44B}"/>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7980-4C82-8C1C-32D5A7B4E44B}"/>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7980-4C82-8C1C-32D5A7B4E44B}"/>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7980-4C82-8C1C-32D5A7B4E44B}"/>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7980-4C82-8C1C-32D5A7B4E44B}"/>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7980-4C82-8C1C-32D5A7B4E44B}"/>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7980-4C82-8C1C-32D5A7B4E44B}"/>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7980-4C82-8C1C-32D5A7B4E44B}"/>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7980-4C82-8C1C-32D5A7B4E44B}"/>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7980-4C82-8C1C-32D5A7B4E44B}"/>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7980-4C82-8C1C-32D5A7B4E44B}"/>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7980-4C82-8C1C-32D5A7B4E44B}"/>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7980-4C82-8C1C-32D5A7B4E44B}"/>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7980-4C82-8C1C-32D5A7B4E44B}"/>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7980-4C82-8C1C-32D5A7B4E44B}"/>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7980-4C82-8C1C-32D5A7B4E44B}"/>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7980-4C82-8C1C-32D5A7B4E44B}"/>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7980-4C82-8C1C-32D5A7B4E44B}"/>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7980-4C82-8C1C-32D5A7B4E44B}"/>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7980-4C82-8C1C-32D5A7B4E44B}"/>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7980-4C82-8C1C-32D5A7B4E44B}"/>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7980-4C82-8C1C-32D5A7B4E44B}"/>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7980-4C82-8C1C-32D5A7B4E44B}"/>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980-4C82-8C1C-32D5A7B4E44B}"/>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7980-4C82-8C1C-32D5A7B4E44B}"/>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980-4C82-8C1C-32D5A7B4E44B}"/>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7980-4C82-8C1C-32D5A7B4E44B}"/>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7980-4C82-8C1C-32D5A7B4E44B}"/>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7980-4C82-8C1C-32D5A7B4E44B}"/>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7980-4C82-8C1C-32D5A7B4E44B}"/>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7980-4C82-8C1C-32D5A7B4E44B}"/>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layout>
                    <c:manualLayout>
                      <c:w val="4.4718783068783061E-2"/>
                      <c:h val="5.0377414451733424E-2"/>
                    </c:manualLayout>
                  </c15:layout>
                  <c15:showDataLabelsRange val="0"/>
                </c:ext>
                <c:ext xmlns:c16="http://schemas.microsoft.com/office/drawing/2014/chart" uri="{C3380CC4-5D6E-409C-BE32-E72D297353CC}">
                  <c16:uniqueId val="{00000032-7980-4C82-8C1C-32D5A7B4E44B}"/>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7980-4C82-8C1C-32D5A7B4E44B}"/>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7980-4C82-8C1C-32D5A7B4E44B}"/>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7980-4C82-8C1C-32D5A7B4E44B}"/>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7980-4C82-8C1C-32D5A7B4E44B}"/>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7980-4C82-8C1C-32D5A7B4E44B}"/>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7980-4C82-8C1C-32D5A7B4E44B}"/>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7980-4C82-8C1C-32D5A7B4E44B}"/>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7980-4C82-8C1C-32D5A7B4E44B}"/>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7980-4C82-8C1C-32D5A7B4E44B}"/>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7980-4C82-8C1C-32D5A7B4E44B}"/>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7980-4C82-8C1C-32D5A7B4E44B}"/>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7980-4C82-8C1C-32D5A7B4E44B}"/>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77EF-42ED-BAFF-03BF265C16B5}"/>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77EF-42ED-BAFF-03BF265C16B5}"/>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77EF-42ED-BAFF-03BF265C16B5}"/>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77EF-42ED-BAFF-03BF265C16B5}"/>
                </c:ext>
              </c:extLst>
            </c:dLbl>
            <c:dLbl>
              <c:idx val="5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77EF-42ED-BAFF-03BF265C16B5}"/>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77EF-42ED-BAFF-03BF265C16B5}"/>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77EF-42ED-BAFF-03BF265C16B5}"/>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77EF-42ED-BAFF-03BF265C16B5}"/>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77EF-42ED-BAFF-03BF265C16B5}"/>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77EF-42ED-BAFF-03BF265C16B5}"/>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77EF-42ED-BAFF-03BF265C16B5}"/>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77EF-42ED-BAFF-03BF265C16B5}"/>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77EF-42ED-BAFF-03BF265C16B5}"/>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77EF-42ED-BAFF-03BF265C16B5}"/>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77EF-42ED-BAFF-03BF265C16B5}"/>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77EF-42ED-BAFF-03BF265C16B5}"/>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77EF-42ED-BAFF-03BF265C16B5}"/>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77EF-42ED-BAFF-03BF265C16B5}"/>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77EF-42ED-BAFF-03BF265C16B5}"/>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77EF-42ED-BAFF-03BF265C16B5}"/>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77EF-42ED-BAFF-03BF265C16B5}"/>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77EF-42ED-BAFF-03BF265C16B5}"/>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77EF-42ED-BAFF-03BF265C16B5}"/>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77EF-42ED-BAFF-03BF265C16B5}"/>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77EF-42ED-BAFF-03BF265C16B5}"/>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77EF-42ED-BAFF-03BF265C16B5}"/>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77EF-42ED-BAFF-03BF265C16B5}"/>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77EF-42ED-BAFF-03BF265C16B5}"/>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77EF-42ED-BAFF-03BF265C16B5}"/>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77EF-42ED-BAFF-03BF265C16B5}"/>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77EF-42ED-BAFF-03BF265C16B5}"/>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77EF-42ED-BAFF-03BF265C16B5}"/>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77EF-42ED-BAFF-03BF265C16B5}"/>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77EF-42ED-BAFF-03BF265C16B5}"/>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77EF-42ED-BAFF-03BF265C16B5}"/>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77EF-42ED-BAFF-03BF265C16B5}"/>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9</c:f>
              <c:strCache>
                <c:ptCount val="78"/>
                <c:pt idx="0">
                  <c:v>Galaxy Jewels 1.4kg</c:v>
                </c:pt>
                <c:pt idx="1">
                  <c:v>Ferrero Rocher 300g</c:v>
                </c:pt>
                <c:pt idx="2">
                  <c:v>Galaxy Smooth Milk Chocolate 36g x 24</c:v>
                </c:pt>
                <c:pt idx="3">
                  <c:v>Galaxy Jewels 900g</c:v>
                </c:pt>
                <c:pt idx="4">
                  <c:v>Galaxy Jewels 650g</c:v>
                </c:pt>
                <c:pt idx="5">
                  <c:v>Cadbury Dairy Milk Minis Selection 500g</c:v>
                </c:pt>
                <c:pt idx="6">
                  <c:v>Kit Kat 17.7g x 18</c:v>
                </c:pt>
                <c:pt idx="7">
                  <c:v>Kinder Bueno Milk&amp;Hazelnut 43g</c:v>
                </c:pt>
                <c:pt idx="8">
                  <c:v>Tiffany Break Supa 38gx12</c:v>
                </c:pt>
                <c:pt idx="9">
                  <c:v>Snickers 50gx6</c:v>
                </c:pt>
                <c:pt idx="10">
                  <c:v>Tiffany Break 24x15.5g</c:v>
                </c:pt>
                <c:pt idx="11">
                  <c:v>Tiffany Break Mini Fun 384g</c:v>
                </c:pt>
                <c:pt idx="12">
                  <c:v>Kinder Bueno Milk&amp;Hazelnut 43gx10</c:v>
                </c:pt>
                <c:pt idx="13">
                  <c:v>Mackintosh Quality Street Chocolate 600g</c:v>
                </c:pt>
                <c:pt idx="14">
                  <c:v>Snickers Bar 50g</c:v>
                </c:pt>
                <c:pt idx="15">
                  <c:v>Maltesers Chocolate 175g</c:v>
                </c:pt>
                <c:pt idx="16">
                  <c:v>Tiffany Break 31gx12</c:v>
                </c:pt>
                <c:pt idx="17">
                  <c:v>Tiffany Break Delight 25gx12</c:v>
                </c:pt>
                <c:pt idx="18">
                  <c:v>Snickers Minis Bag 252g</c:v>
                </c:pt>
                <c:pt idx="19">
                  <c:v>Cadbury Miniatures Box 400g</c:v>
                </c:pt>
                <c:pt idx="20">
                  <c:v>Bounty Bar 57g</c:v>
                </c:pt>
                <c:pt idx="21">
                  <c:v>Galaxy Smooth Milk Minis 237.5g</c:v>
                </c:pt>
                <c:pt idx="22">
                  <c:v>Bounty Bar 57g x 5</c:v>
                </c:pt>
                <c:pt idx="23">
                  <c:v>Kinder Maxi Chocolate 21gx11 (10+1)</c:v>
                </c:pt>
                <c:pt idx="24">
                  <c:v>Ferrero Rocher 200g</c:v>
                </c:pt>
                <c:pt idx="25">
                  <c:v>Ferrero Raffaello 150g box </c:v>
                </c:pt>
                <c:pt idx="26">
                  <c:v>Galaxy Hazelnut Minis 237.5g</c:v>
                </c:pt>
                <c:pt idx="27">
                  <c:v>Twix 50gx5</c:v>
                </c:pt>
                <c:pt idx="28">
                  <c:v>Twix Bar 50g</c:v>
                </c:pt>
                <c:pt idx="29">
                  <c:v>Maltesers Chocolate 37g</c:v>
                </c:pt>
                <c:pt idx="30">
                  <c:v>Snickers Miniatures 150g</c:v>
                </c:pt>
                <c:pt idx="31">
                  <c:v>Cadbury Flake Minis Bag 159.5g</c:v>
                </c:pt>
                <c:pt idx="32">
                  <c:v>M&amp;M's Peanut 165g</c:v>
                </c:pt>
                <c:pt idx="33">
                  <c:v>Twix Miniatures 150g</c:v>
                </c:pt>
                <c:pt idx="34">
                  <c:v>Cadbury Timeout Minis Wafer 247.2g</c:v>
                </c:pt>
                <c:pt idx="35">
                  <c:v>Toblerone Milk Chocolate 200g</c:v>
                </c:pt>
                <c:pt idx="36">
                  <c:v>Galaxy Smooth Milk Minis 162.5g</c:v>
                </c:pt>
                <c:pt idx="37">
                  <c:v>Mars 45g x 6</c:v>
                </c:pt>
                <c:pt idx="38">
                  <c:v>Bounty Miniatures 150g</c:v>
                </c:pt>
                <c:pt idx="39">
                  <c:v>Kinder Chocolate Bar 8x12.5g</c:v>
                </c:pt>
                <c:pt idx="40">
                  <c:v>Galaxy Smooth Dark Chocolate 40g</c:v>
                </c:pt>
                <c:pt idx="41">
                  <c:v>Mars Bar 51g </c:v>
                </c:pt>
                <c:pt idx="42">
                  <c:v>Hershey's Kisses Special Selection Assorted 325g</c:v>
                </c:pt>
                <c:pt idx="43">
                  <c:v>Galaxy Hazelnut Chocolate 36g</c:v>
                </c:pt>
                <c:pt idx="44">
                  <c:v>Galaxy Smooth Milk Chocolate 36g</c:v>
                </c:pt>
                <c:pt idx="45">
                  <c:v>Galaxy Caramel Bar 40g</c:v>
                </c:pt>
                <c:pt idx="46">
                  <c:v>Kinder Chocolate Bar 50g</c:v>
                </c:pt>
                <c:pt idx="47">
                  <c:v>Kinder Bueno White 39g</c:v>
                </c:pt>
                <c:pt idx="48">
                  <c:v>Hershey's Kisses Classic Selection Assorted 325g</c:v>
                </c:pt>
                <c:pt idx="49">
                  <c:v>Galaxy Crispy Milk Chocolate 36g</c:v>
                </c:pt>
                <c:pt idx="50">
                  <c:v> Reeses Peanut Butter Cup Mini 340g </c:v>
                </c:pt>
                <c:pt idx="51">
                  <c:v>Kit Kat 17.7g</c:v>
                </c:pt>
                <c:pt idx="52">
                  <c:v> Reeses Peanut Butter Cup 42g x 6</c:v>
                </c:pt>
                <c:pt idx="53">
                  <c:v>Reeses Peanut Butter Cups 46g</c:v>
                </c:pt>
                <c:pt idx="54">
                  <c:v>Reeses Peanut Butter Cup Mini 215g</c:v>
                </c:pt>
                <c:pt idx="55">
                  <c:v>M&amp;M's Milk Chocolate 30.6g</c:v>
                </c:pt>
                <c:pt idx="56">
                  <c:v>Godiva Double Chocolate Bar 35g</c:v>
                </c:pt>
                <c:pt idx="57">
                  <c:v>Galaxy Smooth Milk Chocolate 80g</c:v>
                </c:pt>
                <c:pt idx="58">
                  <c:v>Galaxy Ripple Bar 33g</c:v>
                </c:pt>
                <c:pt idx="59">
                  <c:v>Hershey's Chocobites Cookies 'n Creme 90g</c:v>
                </c:pt>
                <c:pt idx="60">
                  <c:v>Hershey's Kisses Special Selection Assorted 100g</c:v>
                </c:pt>
                <c:pt idx="61">
                  <c:v>Hershey's Chocobites Salted Caramel 81g</c:v>
                </c:pt>
                <c:pt idx="62">
                  <c:v>Hershey's Cookies N' Chocolate 40g</c:v>
                </c:pt>
                <c:pt idx="63">
                  <c:v>Reeses Block 90g</c:v>
                </c:pt>
                <c:pt idx="64">
                  <c:v>Reeses Nut Bar 47g</c:v>
                </c:pt>
                <c:pt idx="65">
                  <c:v>Hershey's Kisses Classic Selection Assorted 100g</c:v>
                </c:pt>
                <c:pt idx="66">
                  <c:v>Hershey's Cookies 'n Creme Block 90g</c:v>
                </c:pt>
                <c:pt idx="67">
                  <c:v>Hershey's Cookies N' Crème 12.76g</c:v>
                </c:pt>
                <c:pt idx="68">
                  <c:v> Reeses Wafer Sticks 42g</c:v>
                </c:pt>
                <c:pt idx="69">
                  <c:v>Hershey's Choco Tubes Cookies N' Creme 18g</c:v>
                </c:pt>
                <c:pt idx="70">
                  <c:v> Reeses Peanut Butter Cup Mini 500G</c:v>
                </c:pt>
                <c:pt idx="71">
                  <c:v>Reeses Pieces 180g</c:v>
                </c:pt>
                <c:pt idx="72">
                  <c:v>Reeses Mini King Size 71g</c:v>
                </c:pt>
                <c:pt idx="73">
                  <c:v>Hershey's Cookies 'n Creme Creations Salted Caramel 38g</c:v>
                </c:pt>
                <c:pt idx="74">
                  <c:v>Hersheys Kisses Classic Selection Assorted 600G</c:v>
                </c:pt>
                <c:pt idx="75">
                  <c:v>Hershey's Cookies 'n Creme 40Gx 4</c:v>
                </c:pt>
                <c:pt idx="76">
                  <c:v>Hershey's Variety Pack 40Gx3</c:v>
                </c:pt>
                <c:pt idx="77">
                  <c:v>Reeses Fast break 51g</c:v>
                </c:pt>
              </c:strCache>
            </c:strRef>
          </c:cat>
          <c:val>
            <c:numRef>
              <c:f>Sheet1!$B$2:$B$79</c:f>
              <c:numCache>
                <c:formatCode>General</c:formatCode>
                <c:ptCount val="78"/>
                <c:pt idx="0">
                  <c:v>8.7472496097121558E-2</c:v>
                </c:pt>
                <c:pt idx="1">
                  <c:v>5.7538947324104119E-2</c:v>
                </c:pt>
                <c:pt idx="2">
                  <c:v>5.2433248127097418E-2</c:v>
                </c:pt>
                <c:pt idx="3">
                  <c:v>5.2427028090236263E-2</c:v>
                </c:pt>
                <c:pt idx="4">
                  <c:v>4.8702496145713738E-2</c:v>
                </c:pt>
                <c:pt idx="5">
                  <c:v>3.984530703204197E-2</c:v>
                </c:pt>
                <c:pt idx="6">
                  <c:v>2.9281333941963E-2</c:v>
                </c:pt>
                <c:pt idx="7">
                  <c:v>2.7690668434504601E-2</c:v>
                </c:pt>
                <c:pt idx="8">
                  <c:v>2.5210000455187748E-2</c:v>
                </c:pt>
                <c:pt idx="9">
                  <c:v>2.4943187003251179E-2</c:v>
                </c:pt>
                <c:pt idx="10">
                  <c:v>2.4410882866364541E-2</c:v>
                </c:pt>
                <c:pt idx="11">
                  <c:v>2.431449668967391E-2</c:v>
                </c:pt>
                <c:pt idx="12">
                  <c:v>2.2624836421410909E-2</c:v>
                </c:pt>
                <c:pt idx="13">
                  <c:v>2.240126222098935E-2</c:v>
                </c:pt>
                <c:pt idx="14">
                  <c:v>2.1312383520667021E-2</c:v>
                </c:pt>
                <c:pt idx="15">
                  <c:v>2.0948557967625781E-2</c:v>
                </c:pt>
                <c:pt idx="16">
                  <c:v>2.0802759209870909E-2</c:v>
                </c:pt>
                <c:pt idx="17">
                  <c:v>1.796715545025266E-2</c:v>
                </c:pt>
                <c:pt idx="18">
                  <c:v>1.6841617507406651E-2</c:v>
                </c:pt>
                <c:pt idx="19">
                  <c:v>1.595185798501797E-2</c:v>
                </c:pt>
                <c:pt idx="20">
                  <c:v>1.5133684418223889E-2</c:v>
                </c:pt>
                <c:pt idx="21">
                  <c:v>1.4607463502544641E-2</c:v>
                </c:pt>
                <c:pt idx="22">
                  <c:v>1.4327795755228641E-2</c:v>
                </c:pt>
                <c:pt idx="23">
                  <c:v>1.4300496139580759E-2</c:v>
                </c:pt>
                <c:pt idx="24">
                  <c:v>1.428543080773065E-2</c:v>
                </c:pt>
                <c:pt idx="25">
                  <c:v>1.4034261062238269E-2</c:v>
                </c:pt>
                <c:pt idx="26">
                  <c:v>1.329639293211704E-2</c:v>
                </c:pt>
                <c:pt idx="27">
                  <c:v>1.2785194916348211E-2</c:v>
                </c:pt>
                <c:pt idx="28">
                  <c:v>1.1550390621815201E-2</c:v>
                </c:pt>
                <c:pt idx="29">
                  <c:v>1.1357457804435761E-2</c:v>
                </c:pt>
                <c:pt idx="30">
                  <c:v>1.086426231323109E-2</c:v>
                </c:pt>
                <c:pt idx="31">
                  <c:v>1.0480589734489711E-2</c:v>
                </c:pt>
                <c:pt idx="32">
                  <c:v>1.0430399563066959E-2</c:v>
                </c:pt>
                <c:pt idx="33">
                  <c:v>1.020525301098122E-2</c:v>
                </c:pt>
                <c:pt idx="34">
                  <c:v>9.9953769134242237E-3</c:v>
                </c:pt>
                <c:pt idx="35">
                  <c:v>9.681768078509994E-3</c:v>
                </c:pt>
                <c:pt idx="36">
                  <c:v>9.4015158630799279E-3</c:v>
                </c:pt>
                <c:pt idx="37">
                  <c:v>8.0950411657840678E-3</c:v>
                </c:pt>
                <c:pt idx="38">
                  <c:v>7.5484160737205926E-3</c:v>
                </c:pt>
                <c:pt idx="39">
                  <c:v>7.4456816552401391E-3</c:v>
                </c:pt>
                <c:pt idx="40">
                  <c:v>7.2259315698773264E-3</c:v>
                </c:pt>
                <c:pt idx="41">
                  <c:v>7.1656336772027091E-3</c:v>
                </c:pt>
                <c:pt idx="42">
                  <c:v>6.7758356553924001E-3</c:v>
                </c:pt>
                <c:pt idx="43">
                  <c:v>6.6474385250116421E-3</c:v>
                </c:pt>
                <c:pt idx="44">
                  <c:v>6.5896804076022017E-3</c:v>
                </c:pt>
                <c:pt idx="45">
                  <c:v>6.1115357976134982E-3</c:v>
                </c:pt>
                <c:pt idx="46">
                  <c:v>5.451110043885531E-3</c:v>
                </c:pt>
                <c:pt idx="47">
                  <c:v>5.4366567437936376E-3</c:v>
                </c:pt>
                <c:pt idx="48">
                  <c:v>5.0655794386848208E-3</c:v>
                </c:pt>
                <c:pt idx="49">
                  <c:v>4.8777439605028356E-3</c:v>
                </c:pt>
                <c:pt idx="50">
                  <c:v>4.8173841850306202E-3</c:v>
                </c:pt>
                <c:pt idx="51">
                  <c:v>4.757078936432276E-3</c:v>
                </c:pt>
                <c:pt idx="52">
                  <c:v>4.6073366062554071E-3</c:v>
                </c:pt>
                <c:pt idx="53">
                  <c:v>4.4996529359943851E-3</c:v>
                </c:pt>
                <c:pt idx="54">
                  <c:v>4.3987723156036279E-3</c:v>
                </c:pt>
                <c:pt idx="55">
                  <c:v>4.0273573708384863E-3</c:v>
                </c:pt>
                <c:pt idx="56">
                  <c:v>3.9203779776991127E-3</c:v>
                </c:pt>
                <c:pt idx="57">
                  <c:v>3.4968857436555559E-3</c:v>
                </c:pt>
                <c:pt idx="58">
                  <c:v>3.318392300390517E-3</c:v>
                </c:pt>
                <c:pt idx="59">
                  <c:v>2.7099351522742849E-3</c:v>
                </c:pt>
                <c:pt idx="60">
                  <c:v>2.541972149100086E-3</c:v>
                </c:pt>
                <c:pt idx="61">
                  <c:v>2.4365023024946779E-3</c:v>
                </c:pt>
                <c:pt idx="62">
                  <c:v>2.4242122973904402E-3</c:v>
                </c:pt>
                <c:pt idx="63">
                  <c:v>2.1546631701556051E-3</c:v>
                </c:pt>
                <c:pt idx="64">
                  <c:v>1.6539174754250411E-3</c:v>
                </c:pt>
                <c:pt idx="65">
                  <c:v>1.533100664626598E-3</c:v>
                </c:pt>
                <c:pt idx="66">
                  <c:v>1.2803795821592181E-3</c:v>
                </c:pt>
                <c:pt idx="67">
                  <c:v>7.8328664731944621E-4</c:v>
                </c:pt>
                <c:pt idx="68">
                  <c:v>2.7127970870976262E-4</c:v>
                </c:pt>
                <c:pt idx="69">
                  <c:v>7.2971836586101626E-5</c:v>
                </c:pt>
                <c:pt idx="70">
                  <c:v>0</c:v>
                </c:pt>
                <c:pt idx="71">
                  <c:v>0</c:v>
                </c:pt>
                <c:pt idx="72">
                  <c:v>0</c:v>
                </c:pt>
                <c:pt idx="73">
                  <c:v>0</c:v>
                </c:pt>
                <c:pt idx="74">
                  <c:v>0</c:v>
                </c:pt>
                <c:pt idx="75">
                  <c:v>0</c:v>
                </c:pt>
                <c:pt idx="76">
                  <c:v>0</c:v>
                </c:pt>
                <c:pt idx="77">
                  <c:v>0</c:v>
                </c:pt>
              </c:numCache>
            </c:numRef>
          </c:val>
          <c:extLst>
            <c:ext xmlns:c16="http://schemas.microsoft.com/office/drawing/2014/chart" uri="{C3380CC4-5D6E-409C-BE32-E72D297353CC}">
              <c16:uniqueId val="{00000042-7980-4C82-8C1C-32D5A7B4E44B}"/>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ershey's Cookies 'n Creme 40Gx 4</c:v>
                </c:pt>
              </c:strCache>
            </c:strRef>
          </c:tx>
          <c:spPr>
            <a:solidFill>
              <a:schemeClr val="bg2"/>
            </a:solidFill>
            <a:ln>
              <a:noFill/>
            </a:ln>
            <a:effectLst/>
          </c:spPr>
          <c:invertIfNegative val="0"/>
          <c:dPt>
            <c:idx val="0"/>
            <c:invertIfNegative val="1"/>
            <c:bubble3D val="0"/>
            <c:spPr>
              <a:solidFill>
                <a:srgbClr val="E6E5E5"/>
              </a:solidFill>
            </c:spPr>
            <c:extLst>
              <c:ext xmlns:c16="http://schemas.microsoft.com/office/drawing/2014/chart" uri="{C3380CC4-5D6E-409C-BE32-E72D297353CC}">
                <c16:uniqueId val="{00000008-A0D8-4FF8-BF2D-A6DC7B178F5A}"/>
              </c:ext>
            </c:extLst>
          </c:dPt>
          <c:dPt>
            <c:idx val="1"/>
            <c:invertIfNegative val="0"/>
            <c:bubble3D val="0"/>
            <c:spPr>
              <a:solidFill>
                <a:srgbClr val="E6E5E5"/>
              </a:solidFill>
              <a:ln>
                <a:noFill/>
              </a:ln>
              <a:effectLst/>
            </c:spPr>
            <c:extLst>
              <c:ext xmlns:c16="http://schemas.microsoft.com/office/drawing/2014/chart" uri="{C3380CC4-5D6E-409C-BE32-E72D297353CC}">
                <c16:uniqueId val="{00000009-A0D8-4FF8-BF2D-A6DC7B178F5A}"/>
              </c:ext>
            </c:extLst>
          </c:dPt>
          <c:dPt>
            <c:idx val="2"/>
            <c:invertIfNegative val="1"/>
            <c:bubble3D val="0"/>
            <c:spPr>
              <a:solidFill>
                <a:srgbClr val="E6E5E5"/>
              </a:solidFill>
            </c:spPr>
            <c:extLst>
              <c:ext xmlns:c16="http://schemas.microsoft.com/office/drawing/2014/chart" uri="{C3380CC4-5D6E-409C-BE32-E72D297353CC}">
                <c16:uniqueId val="{0000000A-A0D8-4FF8-BF2D-A6DC7B178F5A}"/>
              </c:ext>
            </c:extLst>
          </c:dPt>
          <c:dPt>
            <c:idx val="3"/>
            <c:invertIfNegative val="1"/>
            <c:bubble3D val="0"/>
            <c:spPr>
              <a:solidFill>
                <a:srgbClr val="E6E5E5"/>
              </a:solidFill>
            </c:spPr>
            <c:extLst>
              <c:ext xmlns:c16="http://schemas.microsoft.com/office/drawing/2014/chart" uri="{C3380CC4-5D6E-409C-BE32-E72D297353CC}">
                <c16:uniqueId val="{0000000B-A0D8-4FF8-BF2D-A6DC7B178F5A}"/>
              </c:ext>
            </c:extLst>
          </c:dPt>
          <c:dPt>
            <c:idx val="4"/>
            <c:invertIfNegative val="1"/>
            <c:bubble3D val="0"/>
            <c:spPr>
              <a:solidFill>
                <a:srgbClr val="E6E5E5"/>
              </a:solidFill>
            </c:spPr>
            <c:extLst>
              <c:ext xmlns:c16="http://schemas.microsoft.com/office/drawing/2014/chart" uri="{C3380CC4-5D6E-409C-BE32-E72D297353CC}">
                <c16:uniqueId val="{0000000C-A0D8-4FF8-BF2D-A6DC7B178F5A}"/>
              </c:ext>
            </c:extLst>
          </c:dPt>
          <c:dPt>
            <c:idx val="5"/>
            <c:invertIfNegative val="1"/>
            <c:bubble3D val="0"/>
            <c:spPr>
              <a:solidFill>
                <a:srgbClr val="E6E5E5"/>
              </a:solidFill>
            </c:spPr>
            <c:extLst>
              <c:ext xmlns:c16="http://schemas.microsoft.com/office/drawing/2014/chart" uri="{C3380CC4-5D6E-409C-BE32-E72D297353CC}">
                <c16:uniqueId val="{0000000D-A0D8-4FF8-BF2D-A6DC7B178F5A}"/>
              </c:ext>
            </c:extLst>
          </c:dPt>
          <c:dPt>
            <c:idx val="6"/>
            <c:invertIfNegative val="1"/>
            <c:bubble3D val="0"/>
            <c:spPr>
              <a:solidFill>
                <a:srgbClr val="E6E5E5"/>
              </a:solidFill>
            </c:spPr>
            <c:extLst>
              <c:ext xmlns:c16="http://schemas.microsoft.com/office/drawing/2014/chart" uri="{C3380CC4-5D6E-409C-BE32-E72D297353CC}">
                <c16:uniqueId val="{0000000E-A0D8-4FF8-BF2D-A6DC7B178F5A}"/>
              </c:ext>
            </c:extLst>
          </c:dPt>
          <c:dPt>
            <c:idx val="7"/>
            <c:invertIfNegative val="1"/>
            <c:bubble3D val="0"/>
            <c:spPr>
              <a:solidFill>
                <a:srgbClr val="E6E5E5"/>
              </a:solidFill>
            </c:spPr>
            <c:extLst>
              <c:ext xmlns:c16="http://schemas.microsoft.com/office/drawing/2014/chart" uri="{C3380CC4-5D6E-409C-BE32-E72D297353CC}">
                <c16:uniqueId val="{0000000F-A0D8-4FF8-BF2D-A6DC7B178F5A}"/>
              </c:ext>
            </c:extLst>
          </c:dPt>
          <c:dPt>
            <c:idx val="8"/>
            <c:invertIfNegative val="1"/>
            <c:bubble3D val="0"/>
            <c:spPr>
              <a:solidFill>
                <a:srgbClr val="E6E5E5"/>
              </a:solidFill>
            </c:spPr>
            <c:extLst>
              <c:ext xmlns:c16="http://schemas.microsoft.com/office/drawing/2014/chart" uri="{C3380CC4-5D6E-409C-BE32-E72D297353CC}">
                <c16:uniqueId val="{00000010-A0D8-4FF8-BF2D-A6DC7B178F5A}"/>
              </c:ext>
            </c:extLst>
          </c:dPt>
          <c:dPt>
            <c:idx val="9"/>
            <c:invertIfNegative val="1"/>
            <c:bubble3D val="0"/>
            <c:spPr>
              <a:solidFill>
                <a:srgbClr val="E6E5E5"/>
              </a:solidFill>
            </c:spPr>
            <c:extLst>
              <c:ext xmlns:c16="http://schemas.microsoft.com/office/drawing/2014/chart" uri="{C3380CC4-5D6E-409C-BE32-E72D297353CC}">
                <c16:uniqueId val="{00000011-A0D8-4FF8-BF2D-A6DC7B178F5A}"/>
              </c:ext>
            </c:extLst>
          </c:dPt>
          <c:dPt>
            <c:idx val="10"/>
            <c:invertIfNegative val="1"/>
            <c:bubble3D val="0"/>
            <c:spPr>
              <a:solidFill>
                <a:srgbClr val="E6E5E5"/>
              </a:solidFill>
            </c:spPr>
            <c:extLst>
              <c:ext xmlns:c16="http://schemas.microsoft.com/office/drawing/2014/chart" uri="{C3380CC4-5D6E-409C-BE32-E72D297353CC}">
                <c16:uniqueId val="{00000001-A0D8-4FF8-BF2D-A6DC7B178F5A}"/>
              </c:ext>
            </c:extLst>
          </c:dPt>
          <c:dPt>
            <c:idx val="11"/>
            <c:invertIfNegative val="0"/>
            <c:bubble3D val="0"/>
            <c:spPr>
              <a:solidFill>
                <a:srgbClr val="E6E5E5"/>
              </a:solidFill>
              <a:ln>
                <a:noFill/>
              </a:ln>
              <a:effectLst/>
            </c:spPr>
            <c:extLst>
              <c:ext xmlns:c16="http://schemas.microsoft.com/office/drawing/2014/chart" uri="{C3380CC4-5D6E-409C-BE32-E72D297353CC}">
                <c16:uniqueId val="{00000003-A0D8-4FF8-BF2D-A6DC7B178F5A}"/>
              </c:ext>
            </c:extLst>
          </c:dPt>
          <c:dPt>
            <c:idx val="12"/>
            <c:invertIfNegative val="1"/>
            <c:bubble3D val="0"/>
            <c:spPr>
              <a:solidFill>
                <a:srgbClr val="E6E5E5"/>
              </a:solidFill>
            </c:spPr>
            <c:extLst>
              <c:ext xmlns:c16="http://schemas.microsoft.com/office/drawing/2014/chart" uri="{C3380CC4-5D6E-409C-BE32-E72D297353CC}">
                <c16:uniqueId val="{00000005-A0D8-4FF8-BF2D-A6DC7B178F5A}"/>
              </c:ext>
            </c:extLst>
          </c:dPt>
          <c:dPt>
            <c:idx val="13"/>
            <c:invertIfNegative val="1"/>
            <c:bubble3D val="0"/>
            <c:spPr>
              <a:solidFill>
                <a:srgbClr val="E6E5E5"/>
              </a:solidFill>
            </c:spPr>
            <c:extLst>
              <c:ext xmlns:c16="http://schemas.microsoft.com/office/drawing/2014/chart" uri="{C3380CC4-5D6E-409C-BE32-E72D297353CC}">
                <c16:uniqueId val="{00000012-A0D8-4FF8-BF2D-A6DC7B178F5A}"/>
              </c:ext>
            </c:extLst>
          </c:dPt>
          <c:dPt>
            <c:idx val="14"/>
            <c:invertIfNegative val="1"/>
            <c:bubble3D val="0"/>
            <c:spPr>
              <a:solidFill>
                <a:srgbClr val="E6E5E5"/>
              </a:solidFill>
            </c:spPr>
            <c:extLst>
              <c:ext xmlns:c16="http://schemas.microsoft.com/office/drawing/2014/chart" uri="{C3380CC4-5D6E-409C-BE32-E72D297353CC}">
                <c16:uniqueId val="{00000013-A0D8-4FF8-BF2D-A6DC7B178F5A}"/>
              </c:ext>
            </c:extLst>
          </c:dPt>
          <c:dPt>
            <c:idx val="15"/>
            <c:invertIfNegative val="1"/>
            <c:bubble3D val="0"/>
            <c:spPr>
              <a:solidFill>
                <a:srgbClr val="E6E5E5"/>
              </a:solidFill>
            </c:spPr>
            <c:extLst>
              <c:ext xmlns:c16="http://schemas.microsoft.com/office/drawing/2014/chart" uri="{C3380CC4-5D6E-409C-BE32-E72D297353CC}">
                <c16:uniqueId val="{00000014-A0D8-4FF8-BF2D-A6DC7B178F5A}"/>
              </c:ext>
            </c:extLst>
          </c:dPt>
          <c:dPt>
            <c:idx val="16"/>
            <c:invertIfNegative val="1"/>
            <c:bubble3D val="0"/>
            <c:spPr>
              <a:solidFill>
                <a:srgbClr val="E6E5E5"/>
              </a:solidFill>
            </c:spPr>
            <c:extLst>
              <c:ext xmlns:c16="http://schemas.microsoft.com/office/drawing/2014/chart" uri="{C3380CC4-5D6E-409C-BE32-E72D297353CC}">
                <c16:uniqueId val="{00000015-A0D8-4FF8-BF2D-A6DC7B178F5A}"/>
              </c:ext>
            </c:extLst>
          </c:dPt>
          <c:dPt>
            <c:idx val="17"/>
            <c:invertIfNegative val="1"/>
            <c:bubble3D val="0"/>
            <c:spPr>
              <a:solidFill>
                <a:srgbClr val="E6E5E5"/>
              </a:solidFill>
            </c:spPr>
            <c:extLst>
              <c:ext xmlns:c16="http://schemas.microsoft.com/office/drawing/2014/chart" uri="{C3380CC4-5D6E-409C-BE32-E72D297353CC}">
                <c16:uniqueId val="{00000016-A0D8-4FF8-BF2D-A6DC7B178F5A}"/>
              </c:ext>
            </c:extLst>
          </c:dPt>
          <c:dPt>
            <c:idx val="18"/>
            <c:invertIfNegative val="1"/>
            <c:bubble3D val="0"/>
            <c:spPr>
              <a:solidFill>
                <a:srgbClr val="E6E5E5"/>
              </a:solidFill>
            </c:spPr>
            <c:extLst>
              <c:ext xmlns:c16="http://schemas.microsoft.com/office/drawing/2014/chart" uri="{C3380CC4-5D6E-409C-BE32-E72D297353CC}">
                <c16:uniqueId val="{00000017-A0D8-4FF8-BF2D-A6DC7B178F5A}"/>
              </c:ext>
            </c:extLst>
          </c:dPt>
          <c:dPt>
            <c:idx val="19"/>
            <c:invertIfNegative val="1"/>
            <c:bubble3D val="0"/>
            <c:spPr>
              <a:solidFill>
                <a:srgbClr val="E6E5E5"/>
              </a:solidFill>
            </c:spPr>
            <c:extLst>
              <c:ext xmlns:c16="http://schemas.microsoft.com/office/drawing/2014/chart" uri="{C3380CC4-5D6E-409C-BE32-E72D297353CC}">
                <c16:uniqueId val="{00000018-A0D8-4FF8-BF2D-A6DC7B178F5A}"/>
              </c:ext>
            </c:extLst>
          </c:dPt>
          <c:dPt>
            <c:idx val="20"/>
            <c:invertIfNegative val="1"/>
            <c:bubble3D val="0"/>
            <c:spPr>
              <a:solidFill>
                <a:srgbClr val="E6E5E5"/>
              </a:solidFill>
            </c:spPr>
            <c:extLst>
              <c:ext xmlns:c16="http://schemas.microsoft.com/office/drawing/2014/chart" uri="{C3380CC4-5D6E-409C-BE32-E72D297353CC}">
                <c16:uniqueId val="{00000019-A0D8-4FF8-BF2D-A6DC7B178F5A}"/>
              </c:ext>
            </c:extLst>
          </c:dPt>
          <c:dPt>
            <c:idx val="21"/>
            <c:invertIfNegative val="1"/>
            <c:bubble3D val="0"/>
            <c:spPr>
              <a:solidFill>
                <a:srgbClr val="E6E5E5"/>
              </a:solidFill>
            </c:spPr>
            <c:extLst>
              <c:ext xmlns:c16="http://schemas.microsoft.com/office/drawing/2014/chart" uri="{C3380CC4-5D6E-409C-BE32-E72D297353CC}">
                <c16:uniqueId val="{0000001A-A0D8-4FF8-BF2D-A6DC7B178F5A}"/>
              </c:ext>
            </c:extLst>
          </c:dPt>
          <c:dPt>
            <c:idx val="22"/>
            <c:invertIfNegative val="1"/>
            <c:bubble3D val="0"/>
            <c:spPr>
              <a:solidFill>
                <a:srgbClr val="E6E5E5"/>
              </a:solidFill>
            </c:spPr>
            <c:extLst>
              <c:ext xmlns:c16="http://schemas.microsoft.com/office/drawing/2014/chart" uri="{C3380CC4-5D6E-409C-BE32-E72D297353CC}">
                <c16:uniqueId val="{0000001B-A0D8-4FF8-BF2D-A6DC7B178F5A}"/>
              </c:ext>
            </c:extLst>
          </c:dPt>
          <c:dPt>
            <c:idx val="23"/>
            <c:invertIfNegative val="1"/>
            <c:bubble3D val="0"/>
            <c:spPr>
              <a:solidFill>
                <a:srgbClr val="E6E5E5"/>
              </a:solidFill>
            </c:spPr>
            <c:extLst>
              <c:ext xmlns:c16="http://schemas.microsoft.com/office/drawing/2014/chart" uri="{C3380CC4-5D6E-409C-BE32-E72D297353CC}">
                <c16:uniqueId val="{0000001C-A0D8-4FF8-BF2D-A6DC7B178F5A}"/>
              </c:ext>
            </c:extLst>
          </c:dPt>
          <c:dPt>
            <c:idx val="24"/>
            <c:invertIfNegative val="1"/>
            <c:bubble3D val="0"/>
            <c:spPr>
              <a:solidFill>
                <a:srgbClr val="E6E5E5"/>
              </a:solidFill>
            </c:spPr>
            <c:extLst>
              <c:ext xmlns:c16="http://schemas.microsoft.com/office/drawing/2014/chart" uri="{C3380CC4-5D6E-409C-BE32-E72D297353CC}">
                <c16:uniqueId val="{0000001D-A0D8-4FF8-BF2D-A6DC7B178F5A}"/>
              </c:ext>
            </c:extLst>
          </c:dPt>
          <c:dPt>
            <c:idx val="25"/>
            <c:invertIfNegative val="1"/>
            <c:bubble3D val="0"/>
            <c:spPr>
              <a:solidFill>
                <a:srgbClr val="E6E5E5"/>
              </a:solidFill>
            </c:spPr>
            <c:extLst>
              <c:ext xmlns:c16="http://schemas.microsoft.com/office/drawing/2014/chart" uri="{C3380CC4-5D6E-409C-BE32-E72D297353CC}">
                <c16:uniqueId val="{0000001E-A0D8-4FF8-BF2D-A6DC7B178F5A}"/>
              </c:ext>
            </c:extLst>
          </c:dPt>
          <c:dPt>
            <c:idx val="26"/>
            <c:invertIfNegative val="1"/>
            <c:bubble3D val="0"/>
            <c:spPr>
              <a:solidFill>
                <a:srgbClr val="E6E5E5"/>
              </a:solidFill>
            </c:spPr>
            <c:extLst>
              <c:ext xmlns:c16="http://schemas.microsoft.com/office/drawing/2014/chart" uri="{C3380CC4-5D6E-409C-BE32-E72D297353CC}">
                <c16:uniqueId val="{0000001F-A0D8-4FF8-BF2D-A6DC7B178F5A}"/>
              </c:ext>
            </c:extLst>
          </c:dPt>
          <c:dPt>
            <c:idx val="27"/>
            <c:invertIfNegative val="1"/>
            <c:bubble3D val="0"/>
            <c:spPr>
              <a:solidFill>
                <a:srgbClr val="E6E5E5"/>
              </a:solidFill>
            </c:spPr>
            <c:extLst>
              <c:ext xmlns:c16="http://schemas.microsoft.com/office/drawing/2014/chart" uri="{C3380CC4-5D6E-409C-BE32-E72D297353CC}">
                <c16:uniqueId val="{00000020-A0D8-4FF8-BF2D-A6DC7B178F5A}"/>
              </c:ext>
            </c:extLst>
          </c:dPt>
          <c:dPt>
            <c:idx val="28"/>
            <c:invertIfNegative val="1"/>
            <c:bubble3D val="0"/>
            <c:spPr>
              <a:solidFill>
                <a:srgbClr val="E6E5E5"/>
              </a:solidFill>
            </c:spPr>
            <c:extLst>
              <c:ext xmlns:c16="http://schemas.microsoft.com/office/drawing/2014/chart" uri="{C3380CC4-5D6E-409C-BE32-E72D297353CC}">
                <c16:uniqueId val="{00000021-A0D8-4FF8-BF2D-A6DC7B178F5A}"/>
              </c:ext>
            </c:extLst>
          </c:dPt>
          <c:dPt>
            <c:idx val="29"/>
            <c:invertIfNegative val="1"/>
            <c:bubble3D val="0"/>
            <c:spPr>
              <a:solidFill>
                <a:srgbClr val="E6E5E5"/>
              </a:solidFill>
            </c:spPr>
            <c:extLst>
              <c:ext xmlns:c16="http://schemas.microsoft.com/office/drawing/2014/chart" uri="{C3380CC4-5D6E-409C-BE32-E72D297353CC}">
                <c16:uniqueId val="{00000022-A0D8-4FF8-BF2D-A6DC7B178F5A}"/>
              </c:ext>
            </c:extLst>
          </c:dPt>
          <c:dPt>
            <c:idx val="30"/>
            <c:invertIfNegative val="1"/>
            <c:bubble3D val="0"/>
            <c:spPr>
              <a:solidFill>
                <a:srgbClr val="E6E5E5"/>
              </a:solidFill>
            </c:spPr>
            <c:extLst>
              <c:ext xmlns:c16="http://schemas.microsoft.com/office/drawing/2014/chart" uri="{C3380CC4-5D6E-409C-BE32-E72D297353CC}">
                <c16:uniqueId val="{00000023-A0D8-4FF8-BF2D-A6DC7B178F5A}"/>
              </c:ext>
            </c:extLst>
          </c:dPt>
          <c:dPt>
            <c:idx val="31"/>
            <c:invertIfNegative val="1"/>
            <c:bubble3D val="0"/>
            <c:spPr>
              <a:solidFill>
                <a:srgbClr val="E6E5E5"/>
              </a:solidFill>
            </c:spPr>
            <c:extLst>
              <c:ext xmlns:c16="http://schemas.microsoft.com/office/drawing/2014/chart" uri="{C3380CC4-5D6E-409C-BE32-E72D297353CC}">
                <c16:uniqueId val="{00000024-A0D8-4FF8-BF2D-A6DC7B178F5A}"/>
              </c:ext>
            </c:extLst>
          </c:dPt>
          <c:dPt>
            <c:idx val="32"/>
            <c:invertIfNegative val="1"/>
            <c:bubble3D val="0"/>
            <c:spPr>
              <a:solidFill>
                <a:srgbClr val="E6E5E5"/>
              </a:solidFill>
            </c:spPr>
            <c:extLst>
              <c:ext xmlns:c16="http://schemas.microsoft.com/office/drawing/2014/chart" uri="{C3380CC4-5D6E-409C-BE32-E72D297353CC}">
                <c16:uniqueId val="{00000025-A0D8-4FF8-BF2D-A6DC7B178F5A}"/>
              </c:ext>
            </c:extLst>
          </c:dPt>
          <c:dPt>
            <c:idx val="33"/>
            <c:invertIfNegative val="1"/>
            <c:bubble3D val="0"/>
            <c:spPr>
              <a:solidFill>
                <a:srgbClr val="E6E5E5"/>
              </a:solidFill>
            </c:spPr>
            <c:extLst>
              <c:ext xmlns:c16="http://schemas.microsoft.com/office/drawing/2014/chart" uri="{C3380CC4-5D6E-409C-BE32-E72D297353CC}">
                <c16:uniqueId val="{00000026-A0D8-4FF8-BF2D-A6DC7B178F5A}"/>
              </c:ext>
            </c:extLst>
          </c:dPt>
          <c:dPt>
            <c:idx val="34"/>
            <c:invertIfNegative val="1"/>
            <c:bubble3D val="0"/>
            <c:spPr>
              <a:solidFill>
                <a:srgbClr val="E6E5E5"/>
              </a:solidFill>
            </c:spPr>
            <c:extLst>
              <c:ext xmlns:c16="http://schemas.microsoft.com/office/drawing/2014/chart" uri="{C3380CC4-5D6E-409C-BE32-E72D297353CC}">
                <c16:uniqueId val="{00000027-A0D8-4FF8-BF2D-A6DC7B178F5A}"/>
              </c:ext>
            </c:extLst>
          </c:dPt>
          <c:dPt>
            <c:idx val="35"/>
            <c:invertIfNegative val="1"/>
            <c:bubble3D val="0"/>
            <c:spPr>
              <a:solidFill>
                <a:srgbClr val="E6E5E5"/>
              </a:solidFill>
            </c:spPr>
            <c:extLst>
              <c:ext xmlns:c16="http://schemas.microsoft.com/office/drawing/2014/chart" uri="{C3380CC4-5D6E-409C-BE32-E72D297353CC}">
                <c16:uniqueId val="{00000028-A0D8-4FF8-BF2D-A6DC7B178F5A}"/>
              </c:ext>
            </c:extLst>
          </c:dPt>
          <c:dPt>
            <c:idx val="36"/>
            <c:invertIfNegative val="1"/>
            <c:bubble3D val="0"/>
            <c:spPr>
              <a:solidFill>
                <a:srgbClr val="E6E5E5"/>
              </a:solidFill>
            </c:spPr>
            <c:extLst>
              <c:ext xmlns:c16="http://schemas.microsoft.com/office/drawing/2014/chart" uri="{C3380CC4-5D6E-409C-BE32-E72D297353CC}">
                <c16:uniqueId val="{00000029-A0D8-4FF8-BF2D-A6DC7B178F5A}"/>
              </c:ext>
            </c:extLst>
          </c:dPt>
          <c:dPt>
            <c:idx val="37"/>
            <c:invertIfNegative val="1"/>
            <c:bubble3D val="0"/>
            <c:spPr>
              <a:solidFill>
                <a:srgbClr val="E6E5E5"/>
              </a:solidFill>
            </c:spPr>
            <c:extLst>
              <c:ext xmlns:c16="http://schemas.microsoft.com/office/drawing/2014/chart" uri="{C3380CC4-5D6E-409C-BE32-E72D297353CC}">
                <c16:uniqueId val="{0000002A-A0D8-4FF8-BF2D-A6DC7B178F5A}"/>
              </c:ext>
            </c:extLst>
          </c:dPt>
          <c:dPt>
            <c:idx val="38"/>
            <c:invertIfNegative val="1"/>
            <c:bubble3D val="0"/>
            <c:spPr>
              <a:solidFill>
                <a:srgbClr val="E6E5E5"/>
              </a:solidFill>
            </c:spPr>
            <c:extLst>
              <c:ext xmlns:c16="http://schemas.microsoft.com/office/drawing/2014/chart" uri="{C3380CC4-5D6E-409C-BE32-E72D297353CC}">
                <c16:uniqueId val="{0000002B-A0D8-4FF8-BF2D-A6DC7B178F5A}"/>
              </c:ext>
            </c:extLst>
          </c:dPt>
          <c:dPt>
            <c:idx val="39"/>
            <c:invertIfNegative val="1"/>
            <c:bubble3D val="0"/>
            <c:spPr>
              <a:solidFill>
                <a:srgbClr val="E6E5E5"/>
              </a:solidFill>
            </c:spPr>
            <c:extLst>
              <c:ext xmlns:c16="http://schemas.microsoft.com/office/drawing/2014/chart" uri="{C3380CC4-5D6E-409C-BE32-E72D297353CC}">
                <c16:uniqueId val="{0000002C-A0D8-4FF8-BF2D-A6DC7B178F5A}"/>
              </c:ext>
            </c:extLst>
          </c:dPt>
          <c:dPt>
            <c:idx val="40"/>
            <c:invertIfNegative val="1"/>
            <c:bubble3D val="0"/>
            <c:spPr>
              <a:solidFill>
                <a:srgbClr val="E6E5E5"/>
              </a:solidFill>
            </c:spPr>
            <c:extLst>
              <c:ext xmlns:c16="http://schemas.microsoft.com/office/drawing/2014/chart" uri="{C3380CC4-5D6E-409C-BE32-E72D297353CC}">
                <c16:uniqueId val="{0000002D-A0D8-4FF8-BF2D-A6DC7B178F5A}"/>
              </c:ext>
            </c:extLst>
          </c:dPt>
          <c:dPt>
            <c:idx val="41"/>
            <c:invertIfNegative val="1"/>
            <c:bubble3D val="0"/>
            <c:spPr>
              <a:solidFill>
                <a:srgbClr val="E6E5E5"/>
              </a:solidFill>
            </c:spPr>
            <c:extLst>
              <c:ext xmlns:c16="http://schemas.microsoft.com/office/drawing/2014/chart" uri="{C3380CC4-5D6E-409C-BE32-E72D297353CC}">
                <c16:uniqueId val="{0000002E-A0D8-4FF8-BF2D-A6DC7B178F5A}"/>
              </c:ext>
            </c:extLst>
          </c:dPt>
          <c:dPt>
            <c:idx val="42"/>
            <c:invertIfNegative val="1"/>
            <c:bubble3D val="0"/>
            <c:spPr>
              <a:solidFill>
                <a:srgbClr val="E6E5E5"/>
              </a:solidFill>
            </c:spPr>
            <c:extLst>
              <c:ext xmlns:c16="http://schemas.microsoft.com/office/drawing/2014/chart" uri="{C3380CC4-5D6E-409C-BE32-E72D297353CC}">
                <c16:uniqueId val="{00000007-A0D8-4FF8-BF2D-A6DC7B178F5A}"/>
              </c:ext>
            </c:extLst>
          </c:dPt>
          <c:dPt>
            <c:idx val="43"/>
            <c:invertIfNegative val="1"/>
            <c:bubble3D val="0"/>
            <c:spPr>
              <a:solidFill>
                <a:srgbClr val="E6E5E5"/>
              </a:solidFill>
            </c:spPr>
            <c:extLst>
              <c:ext xmlns:c16="http://schemas.microsoft.com/office/drawing/2014/chart" uri="{C3380CC4-5D6E-409C-BE32-E72D297353CC}">
                <c16:uniqueId val="{0000002F-A0D8-4FF8-BF2D-A6DC7B178F5A}"/>
              </c:ext>
            </c:extLst>
          </c:dPt>
          <c:dPt>
            <c:idx val="44"/>
            <c:invertIfNegative val="1"/>
            <c:bubble3D val="0"/>
            <c:spPr>
              <a:solidFill>
                <a:srgbClr val="E6E5E5"/>
              </a:solidFill>
            </c:spPr>
            <c:extLst>
              <c:ext xmlns:c16="http://schemas.microsoft.com/office/drawing/2014/chart" uri="{C3380CC4-5D6E-409C-BE32-E72D297353CC}">
                <c16:uniqueId val="{00000030-A0D8-4FF8-BF2D-A6DC7B178F5A}"/>
              </c:ext>
            </c:extLst>
          </c:dPt>
          <c:dPt>
            <c:idx val="45"/>
            <c:invertIfNegative val="1"/>
            <c:bubble3D val="0"/>
            <c:spPr>
              <a:solidFill>
                <a:srgbClr val="E6E5E5"/>
              </a:solidFill>
            </c:spPr>
            <c:extLst>
              <c:ext xmlns:c16="http://schemas.microsoft.com/office/drawing/2014/chart" uri="{C3380CC4-5D6E-409C-BE32-E72D297353CC}">
                <c16:uniqueId val="{00000031-A0D8-4FF8-BF2D-A6DC7B178F5A}"/>
              </c:ext>
            </c:extLst>
          </c:dPt>
          <c:dPt>
            <c:idx val="46"/>
            <c:invertIfNegative val="0"/>
            <c:bubble3D val="0"/>
            <c:spPr>
              <a:solidFill>
                <a:srgbClr val="E6E5E5"/>
              </a:solidFill>
              <a:ln>
                <a:noFill/>
              </a:ln>
              <a:effectLst/>
            </c:spPr>
            <c:extLst>
              <c:ext xmlns:c16="http://schemas.microsoft.com/office/drawing/2014/chart" uri="{C3380CC4-5D6E-409C-BE32-E72D297353CC}">
                <c16:uniqueId val="{00000032-A0D8-4FF8-BF2D-A6DC7B178F5A}"/>
              </c:ext>
            </c:extLst>
          </c:dPt>
          <c:dPt>
            <c:idx val="47"/>
            <c:invertIfNegative val="1"/>
            <c:bubble3D val="0"/>
            <c:spPr>
              <a:solidFill>
                <a:srgbClr val="E6E5E5"/>
              </a:solidFill>
            </c:spPr>
            <c:extLst>
              <c:ext xmlns:c16="http://schemas.microsoft.com/office/drawing/2014/chart" uri="{C3380CC4-5D6E-409C-BE32-E72D297353CC}">
                <c16:uniqueId val="{00000033-A0D8-4FF8-BF2D-A6DC7B178F5A}"/>
              </c:ext>
            </c:extLst>
          </c:dPt>
          <c:dPt>
            <c:idx val="48"/>
            <c:invertIfNegative val="0"/>
            <c:bubble3D val="0"/>
            <c:spPr>
              <a:solidFill>
                <a:srgbClr val="E6E5E5"/>
              </a:solidFill>
              <a:ln>
                <a:noFill/>
              </a:ln>
              <a:effectLst/>
            </c:spPr>
            <c:extLst>
              <c:ext xmlns:c16="http://schemas.microsoft.com/office/drawing/2014/chart" uri="{C3380CC4-5D6E-409C-BE32-E72D297353CC}">
                <c16:uniqueId val="{00000034-A0D8-4FF8-BF2D-A6DC7B178F5A}"/>
              </c:ext>
            </c:extLst>
          </c:dPt>
          <c:dPt>
            <c:idx val="49"/>
            <c:invertIfNegative val="1"/>
            <c:bubble3D val="0"/>
            <c:spPr>
              <a:solidFill>
                <a:srgbClr val="E6E5E5"/>
              </a:solidFill>
            </c:spPr>
            <c:extLst>
              <c:ext xmlns:c16="http://schemas.microsoft.com/office/drawing/2014/chart" uri="{C3380CC4-5D6E-409C-BE32-E72D297353CC}">
                <c16:uniqueId val="{00000035-A0D8-4FF8-BF2D-A6DC7B178F5A}"/>
              </c:ext>
            </c:extLst>
          </c:dPt>
          <c:dPt>
            <c:idx val="50"/>
            <c:invertIfNegative val="1"/>
            <c:bubble3D val="0"/>
            <c:spPr>
              <a:solidFill>
                <a:srgbClr val="E6E5E5"/>
              </a:solidFill>
            </c:spPr>
            <c:extLst>
              <c:ext xmlns:c16="http://schemas.microsoft.com/office/drawing/2014/chart" uri="{C3380CC4-5D6E-409C-BE32-E72D297353CC}">
                <c16:uniqueId val="{00000036-A0D8-4FF8-BF2D-A6DC7B178F5A}"/>
              </c:ext>
            </c:extLst>
          </c:dPt>
          <c:dPt>
            <c:idx val="51"/>
            <c:invertIfNegative val="1"/>
            <c:bubble3D val="0"/>
            <c:spPr>
              <a:solidFill>
                <a:srgbClr val="E6E5E5"/>
              </a:solidFill>
            </c:spPr>
            <c:extLst>
              <c:ext xmlns:c16="http://schemas.microsoft.com/office/drawing/2014/chart" uri="{C3380CC4-5D6E-409C-BE32-E72D297353CC}">
                <c16:uniqueId val="{00000037-A0D8-4FF8-BF2D-A6DC7B178F5A}"/>
              </c:ext>
            </c:extLst>
          </c:dPt>
          <c:dPt>
            <c:idx val="52"/>
            <c:invertIfNegative val="0"/>
            <c:bubble3D val="0"/>
            <c:spPr>
              <a:solidFill>
                <a:srgbClr val="E6E5E5"/>
              </a:solidFill>
              <a:ln>
                <a:noFill/>
              </a:ln>
              <a:effectLst/>
            </c:spPr>
            <c:extLst>
              <c:ext xmlns:c16="http://schemas.microsoft.com/office/drawing/2014/chart" uri="{C3380CC4-5D6E-409C-BE32-E72D297353CC}">
                <c16:uniqueId val="{00000038-A0D8-4FF8-BF2D-A6DC7B178F5A}"/>
              </c:ext>
            </c:extLst>
          </c:dPt>
          <c:dPt>
            <c:idx val="53"/>
            <c:invertIfNegative val="1"/>
            <c:bubble3D val="0"/>
            <c:spPr>
              <a:solidFill>
                <a:srgbClr val="E6E5E5"/>
              </a:solidFill>
            </c:spPr>
            <c:extLst>
              <c:ext xmlns:c16="http://schemas.microsoft.com/office/drawing/2014/chart" uri="{C3380CC4-5D6E-409C-BE32-E72D297353CC}">
                <c16:uniqueId val="{0000006B-B572-4DF2-A18B-EB5D630E70B4}"/>
              </c:ext>
            </c:extLst>
          </c:dPt>
          <c:dPt>
            <c:idx val="54"/>
            <c:invertIfNegative val="1"/>
            <c:bubble3D val="0"/>
            <c:spPr>
              <a:solidFill>
                <a:srgbClr val="E6E5E5"/>
              </a:solidFill>
            </c:spPr>
            <c:extLst>
              <c:ext xmlns:c16="http://schemas.microsoft.com/office/drawing/2014/chart" uri="{C3380CC4-5D6E-409C-BE32-E72D297353CC}">
                <c16:uniqueId val="{0000006D-B572-4DF2-A18B-EB5D630E70B4}"/>
              </c:ext>
            </c:extLst>
          </c:dPt>
          <c:dPt>
            <c:idx val="55"/>
            <c:invertIfNegative val="1"/>
            <c:bubble3D val="0"/>
            <c:spPr>
              <a:solidFill>
                <a:srgbClr val="E6E5E5"/>
              </a:solidFill>
            </c:spPr>
            <c:extLst>
              <c:ext xmlns:c16="http://schemas.microsoft.com/office/drawing/2014/chart" uri="{C3380CC4-5D6E-409C-BE32-E72D297353CC}">
                <c16:uniqueId val="{0000006F-B572-4DF2-A18B-EB5D630E70B4}"/>
              </c:ext>
            </c:extLst>
          </c:dPt>
          <c:dPt>
            <c:idx val="56"/>
            <c:invertIfNegative val="1"/>
            <c:bubble3D val="0"/>
            <c:spPr>
              <a:solidFill>
                <a:srgbClr val="E6E5E5"/>
              </a:solidFill>
            </c:spPr>
            <c:extLst>
              <c:ext xmlns:c16="http://schemas.microsoft.com/office/drawing/2014/chart" uri="{C3380CC4-5D6E-409C-BE32-E72D297353CC}">
                <c16:uniqueId val="{00000071-B572-4DF2-A18B-EB5D630E70B4}"/>
              </c:ext>
            </c:extLst>
          </c:dPt>
          <c:dPt>
            <c:idx val="57"/>
            <c:invertIfNegative val="1"/>
            <c:bubble3D val="0"/>
            <c:spPr>
              <a:solidFill>
                <a:srgbClr val="E6E5E5"/>
              </a:solidFill>
            </c:spPr>
            <c:extLst>
              <c:ext xmlns:c16="http://schemas.microsoft.com/office/drawing/2014/chart" uri="{C3380CC4-5D6E-409C-BE32-E72D297353CC}">
                <c16:uniqueId val="{00000073-B572-4DF2-A18B-EB5D630E70B4}"/>
              </c:ext>
            </c:extLst>
          </c:dPt>
          <c:dPt>
            <c:idx val="58"/>
            <c:invertIfNegative val="1"/>
            <c:bubble3D val="0"/>
            <c:spPr>
              <a:solidFill>
                <a:srgbClr val="E6E5E5"/>
              </a:solidFill>
            </c:spPr>
            <c:extLst>
              <c:ext xmlns:c16="http://schemas.microsoft.com/office/drawing/2014/chart" uri="{C3380CC4-5D6E-409C-BE32-E72D297353CC}">
                <c16:uniqueId val="{00000075-B572-4DF2-A18B-EB5D630E70B4}"/>
              </c:ext>
            </c:extLst>
          </c:dPt>
          <c:dPt>
            <c:idx val="59"/>
            <c:invertIfNegative val="1"/>
            <c:bubble3D val="0"/>
            <c:spPr>
              <a:solidFill>
                <a:srgbClr val="E6E5E5"/>
              </a:solidFill>
            </c:spPr>
            <c:extLst>
              <c:ext xmlns:c16="http://schemas.microsoft.com/office/drawing/2014/chart" uri="{C3380CC4-5D6E-409C-BE32-E72D297353CC}">
                <c16:uniqueId val="{00000077-B572-4DF2-A18B-EB5D630E70B4}"/>
              </c:ext>
            </c:extLst>
          </c:dPt>
          <c:dPt>
            <c:idx val="60"/>
            <c:invertIfNegative val="1"/>
            <c:bubble3D val="0"/>
            <c:spPr>
              <a:solidFill>
                <a:srgbClr val="E6E5E5"/>
              </a:solidFill>
            </c:spPr>
            <c:extLst>
              <c:ext xmlns:c16="http://schemas.microsoft.com/office/drawing/2014/chart" uri="{C3380CC4-5D6E-409C-BE32-E72D297353CC}">
                <c16:uniqueId val="{00000079-B572-4DF2-A18B-EB5D630E70B4}"/>
              </c:ext>
            </c:extLst>
          </c:dPt>
          <c:dPt>
            <c:idx val="61"/>
            <c:invertIfNegative val="1"/>
            <c:bubble3D val="0"/>
            <c:spPr>
              <a:solidFill>
                <a:srgbClr val="E6E5E5"/>
              </a:solidFill>
            </c:spPr>
            <c:extLst>
              <c:ext xmlns:c16="http://schemas.microsoft.com/office/drawing/2014/chart" uri="{C3380CC4-5D6E-409C-BE32-E72D297353CC}">
                <c16:uniqueId val="{0000007B-B572-4DF2-A18B-EB5D630E70B4}"/>
              </c:ext>
            </c:extLst>
          </c:dPt>
          <c:dPt>
            <c:idx val="62"/>
            <c:invertIfNegative val="1"/>
            <c:bubble3D val="0"/>
            <c:spPr>
              <a:solidFill>
                <a:srgbClr val="E6E5E5"/>
              </a:solidFill>
            </c:spPr>
            <c:extLst>
              <c:ext xmlns:c16="http://schemas.microsoft.com/office/drawing/2014/chart" uri="{C3380CC4-5D6E-409C-BE32-E72D297353CC}">
                <c16:uniqueId val="{0000007D-B572-4DF2-A18B-EB5D630E70B4}"/>
              </c:ext>
            </c:extLst>
          </c:dPt>
          <c:dPt>
            <c:idx val="63"/>
            <c:invertIfNegative val="1"/>
            <c:bubble3D val="0"/>
            <c:spPr>
              <a:solidFill>
                <a:srgbClr val="E6E5E5"/>
              </a:solidFill>
            </c:spPr>
            <c:extLst>
              <c:ext xmlns:c16="http://schemas.microsoft.com/office/drawing/2014/chart" uri="{C3380CC4-5D6E-409C-BE32-E72D297353CC}">
                <c16:uniqueId val="{0000007F-B572-4DF2-A18B-EB5D630E70B4}"/>
              </c:ext>
            </c:extLst>
          </c:dPt>
          <c:dPt>
            <c:idx val="64"/>
            <c:invertIfNegative val="1"/>
            <c:bubble3D val="0"/>
            <c:spPr>
              <a:solidFill>
                <a:srgbClr val="E6E5E5"/>
              </a:solidFill>
            </c:spPr>
            <c:extLst>
              <c:ext xmlns:c16="http://schemas.microsoft.com/office/drawing/2014/chart" uri="{C3380CC4-5D6E-409C-BE32-E72D297353CC}">
                <c16:uniqueId val="{00000081-B572-4DF2-A18B-EB5D630E70B4}"/>
              </c:ext>
            </c:extLst>
          </c:dPt>
          <c:dPt>
            <c:idx val="65"/>
            <c:invertIfNegative val="1"/>
            <c:bubble3D val="0"/>
            <c:spPr>
              <a:solidFill>
                <a:srgbClr val="E6E5E5"/>
              </a:solidFill>
            </c:spPr>
            <c:extLst>
              <c:ext xmlns:c16="http://schemas.microsoft.com/office/drawing/2014/chart" uri="{C3380CC4-5D6E-409C-BE32-E72D297353CC}">
                <c16:uniqueId val="{00000083-B572-4DF2-A18B-EB5D630E70B4}"/>
              </c:ext>
            </c:extLst>
          </c:dPt>
          <c:dPt>
            <c:idx val="66"/>
            <c:invertIfNegative val="1"/>
            <c:bubble3D val="0"/>
            <c:spPr>
              <a:solidFill>
                <a:srgbClr val="E6E5E5"/>
              </a:solidFill>
            </c:spPr>
            <c:extLst>
              <c:ext xmlns:c16="http://schemas.microsoft.com/office/drawing/2014/chart" uri="{C3380CC4-5D6E-409C-BE32-E72D297353CC}">
                <c16:uniqueId val="{00000085-B572-4DF2-A18B-EB5D630E70B4}"/>
              </c:ext>
            </c:extLst>
          </c:dPt>
          <c:dPt>
            <c:idx val="67"/>
            <c:invertIfNegative val="1"/>
            <c:bubble3D val="0"/>
            <c:spPr>
              <a:solidFill>
                <a:srgbClr val="E6E5E5"/>
              </a:solidFill>
            </c:spPr>
            <c:extLst>
              <c:ext xmlns:c16="http://schemas.microsoft.com/office/drawing/2014/chart" uri="{C3380CC4-5D6E-409C-BE32-E72D297353CC}">
                <c16:uniqueId val="{00000087-B572-4DF2-A18B-EB5D630E70B4}"/>
              </c:ext>
            </c:extLst>
          </c:dPt>
          <c:dPt>
            <c:idx val="68"/>
            <c:invertIfNegative val="1"/>
            <c:bubble3D val="0"/>
            <c:spPr>
              <a:solidFill>
                <a:srgbClr val="E6E5E5"/>
              </a:solidFill>
            </c:spPr>
            <c:extLst>
              <c:ext xmlns:c16="http://schemas.microsoft.com/office/drawing/2014/chart" uri="{C3380CC4-5D6E-409C-BE32-E72D297353CC}">
                <c16:uniqueId val="{00000089-B572-4DF2-A18B-EB5D630E70B4}"/>
              </c:ext>
            </c:extLst>
          </c:dPt>
          <c:dPt>
            <c:idx val="69"/>
            <c:invertIfNegative val="1"/>
            <c:bubble3D val="0"/>
            <c:spPr>
              <a:solidFill>
                <a:srgbClr val="E6E5E5"/>
              </a:solidFill>
            </c:spPr>
            <c:extLst>
              <c:ext xmlns:c16="http://schemas.microsoft.com/office/drawing/2014/chart" uri="{C3380CC4-5D6E-409C-BE32-E72D297353CC}">
                <c16:uniqueId val="{0000008B-B572-4DF2-A18B-EB5D630E70B4}"/>
              </c:ext>
            </c:extLst>
          </c:dPt>
          <c:dPt>
            <c:idx val="70"/>
            <c:invertIfNegative val="1"/>
            <c:bubble3D val="0"/>
            <c:spPr>
              <a:solidFill>
                <a:srgbClr val="E6E5E5"/>
              </a:solidFill>
            </c:spPr>
            <c:extLst>
              <c:ext xmlns:c16="http://schemas.microsoft.com/office/drawing/2014/chart" uri="{C3380CC4-5D6E-409C-BE32-E72D297353CC}">
                <c16:uniqueId val="{0000008D-B572-4DF2-A18B-EB5D630E70B4}"/>
              </c:ext>
            </c:extLst>
          </c:dPt>
          <c:dPt>
            <c:idx val="71"/>
            <c:invertIfNegative val="1"/>
            <c:bubble3D val="0"/>
            <c:spPr>
              <a:solidFill>
                <a:srgbClr val="E6E5E5"/>
              </a:solidFill>
            </c:spPr>
            <c:extLst>
              <c:ext xmlns:c16="http://schemas.microsoft.com/office/drawing/2014/chart" uri="{C3380CC4-5D6E-409C-BE32-E72D297353CC}">
                <c16:uniqueId val="{0000008F-B572-4DF2-A18B-EB5D630E70B4}"/>
              </c:ext>
            </c:extLst>
          </c:dPt>
          <c:dPt>
            <c:idx val="72"/>
            <c:invertIfNegative val="1"/>
            <c:bubble3D val="0"/>
            <c:spPr>
              <a:solidFill>
                <a:srgbClr val="E6E5E5"/>
              </a:solidFill>
            </c:spPr>
            <c:extLst>
              <c:ext xmlns:c16="http://schemas.microsoft.com/office/drawing/2014/chart" uri="{C3380CC4-5D6E-409C-BE32-E72D297353CC}">
                <c16:uniqueId val="{00000091-B572-4DF2-A18B-EB5D630E70B4}"/>
              </c:ext>
            </c:extLst>
          </c:dPt>
          <c:dPt>
            <c:idx val="73"/>
            <c:invertIfNegative val="1"/>
            <c:bubble3D val="0"/>
            <c:spPr>
              <a:solidFill>
                <a:srgbClr val="E6E5E5"/>
              </a:solidFill>
            </c:spPr>
            <c:extLst>
              <c:ext xmlns:c16="http://schemas.microsoft.com/office/drawing/2014/chart" uri="{C3380CC4-5D6E-409C-BE32-E72D297353CC}">
                <c16:uniqueId val="{00000093-B572-4DF2-A18B-EB5D630E70B4}"/>
              </c:ext>
            </c:extLst>
          </c:dPt>
          <c:dPt>
            <c:idx val="74"/>
            <c:invertIfNegative val="1"/>
            <c:bubble3D val="0"/>
            <c:spPr>
              <a:solidFill>
                <a:srgbClr val="E6E5E5"/>
              </a:solidFill>
            </c:spPr>
            <c:extLst>
              <c:ext xmlns:c16="http://schemas.microsoft.com/office/drawing/2014/chart" uri="{C3380CC4-5D6E-409C-BE32-E72D297353CC}">
                <c16:uniqueId val="{00000095-B572-4DF2-A18B-EB5D630E70B4}"/>
              </c:ext>
            </c:extLst>
          </c:dPt>
          <c:dPt>
            <c:idx val="75"/>
            <c:invertIfNegative val="1"/>
            <c:bubble3D val="0"/>
            <c:spPr>
              <a:solidFill>
                <a:srgbClr val="E6E5E5"/>
              </a:solidFill>
            </c:spPr>
            <c:extLst>
              <c:ext xmlns:c16="http://schemas.microsoft.com/office/drawing/2014/chart" uri="{C3380CC4-5D6E-409C-BE32-E72D297353CC}">
                <c16:uniqueId val="{00000097-B572-4DF2-A18B-EB5D630E70B4}"/>
              </c:ext>
            </c:extLst>
          </c:dPt>
          <c:dPt>
            <c:idx val="76"/>
            <c:invertIfNegative val="1"/>
            <c:bubble3D val="0"/>
            <c:spPr>
              <a:solidFill>
                <a:srgbClr val="E6E5E5"/>
              </a:solidFill>
            </c:spPr>
            <c:extLst>
              <c:ext xmlns:c16="http://schemas.microsoft.com/office/drawing/2014/chart" uri="{C3380CC4-5D6E-409C-BE32-E72D297353CC}">
                <c16:uniqueId val="{00000099-B572-4DF2-A18B-EB5D630E70B4}"/>
              </c:ext>
            </c:extLst>
          </c:dPt>
          <c:dPt>
            <c:idx val="77"/>
            <c:invertIfNegative val="1"/>
            <c:bubble3D val="0"/>
            <c:spPr>
              <a:solidFill>
                <a:srgbClr val="E6E5E5"/>
              </a:solidFill>
            </c:spPr>
            <c:extLst>
              <c:ext xmlns:c16="http://schemas.microsoft.com/office/drawing/2014/chart" uri="{C3380CC4-5D6E-409C-BE32-E72D297353CC}">
                <c16:uniqueId val="{0000009B-B572-4DF2-A18B-EB5D630E70B4}"/>
              </c:ext>
            </c:extLst>
          </c:dPt>
          <c:dPt>
            <c:idx val="78"/>
            <c:invertIfNegative val="1"/>
            <c:bubble3D val="0"/>
            <c:spPr>
              <a:solidFill>
                <a:srgbClr val="E6E5E5"/>
              </a:solidFill>
            </c:spPr>
            <c:extLst>
              <c:ext xmlns:c16="http://schemas.microsoft.com/office/drawing/2014/chart" uri="{C3380CC4-5D6E-409C-BE32-E72D297353CC}">
                <c16:uniqueId val="{0000009D-B572-4DF2-A18B-EB5D630E70B4}"/>
              </c:ext>
            </c:extLst>
          </c:dPt>
          <c:dPt>
            <c:idx val="79"/>
            <c:invertIfNegative val="1"/>
            <c:bubble3D val="0"/>
            <c:spPr>
              <a:solidFill>
                <a:srgbClr val="E6E5E5"/>
              </a:solidFill>
            </c:spPr>
            <c:extLst>
              <c:ext xmlns:c16="http://schemas.microsoft.com/office/drawing/2014/chart" uri="{C3380CC4-5D6E-409C-BE32-E72D297353CC}">
                <c16:uniqueId val="{0000009F-B572-4DF2-A18B-EB5D630E70B4}"/>
              </c:ext>
            </c:extLst>
          </c:dPt>
          <c:dPt>
            <c:idx val="80"/>
            <c:invertIfNegative val="1"/>
            <c:bubble3D val="0"/>
            <c:spPr>
              <a:solidFill>
                <a:srgbClr val="E6E5E5"/>
              </a:solidFill>
            </c:spPr>
            <c:extLst>
              <c:ext xmlns:c16="http://schemas.microsoft.com/office/drawing/2014/chart" uri="{C3380CC4-5D6E-409C-BE32-E72D297353CC}">
                <c16:uniqueId val="{000000A1-B572-4DF2-A18B-EB5D630E70B4}"/>
              </c:ext>
            </c:extLst>
          </c:dPt>
          <c:dPt>
            <c:idx val="81"/>
            <c:invertIfNegative val="1"/>
            <c:bubble3D val="0"/>
            <c:spPr>
              <a:solidFill>
                <a:srgbClr val="E6E5E5"/>
              </a:solidFill>
            </c:spPr>
            <c:extLst>
              <c:ext xmlns:c16="http://schemas.microsoft.com/office/drawing/2014/chart" uri="{C3380CC4-5D6E-409C-BE32-E72D297353CC}">
                <c16:uniqueId val="{000000A3-B572-4DF2-A18B-EB5D630E70B4}"/>
              </c:ext>
            </c:extLst>
          </c:dPt>
          <c:dPt>
            <c:idx val="82"/>
            <c:invertIfNegative val="1"/>
            <c:bubble3D val="0"/>
            <c:spPr>
              <a:solidFill>
                <a:srgbClr val="E6E5E5"/>
              </a:solidFill>
            </c:spPr>
            <c:extLst>
              <c:ext xmlns:c16="http://schemas.microsoft.com/office/drawing/2014/chart" uri="{C3380CC4-5D6E-409C-BE32-E72D297353CC}">
                <c16:uniqueId val="{000000A5-B572-4DF2-A18B-EB5D630E70B4}"/>
              </c:ext>
            </c:extLst>
          </c:dPt>
          <c:dPt>
            <c:idx val="83"/>
            <c:invertIfNegative val="1"/>
            <c:bubble3D val="0"/>
            <c:spPr>
              <a:solidFill>
                <a:srgbClr val="E6E5E5"/>
              </a:solidFill>
            </c:spPr>
            <c:extLst>
              <c:ext xmlns:c16="http://schemas.microsoft.com/office/drawing/2014/chart" uri="{C3380CC4-5D6E-409C-BE32-E72D297353CC}">
                <c16:uniqueId val="{000000A7-B572-4DF2-A18B-EB5D630E70B4}"/>
              </c:ext>
            </c:extLst>
          </c:dPt>
          <c:dPt>
            <c:idx val="84"/>
            <c:invertIfNegative val="1"/>
            <c:bubble3D val="0"/>
            <c:spPr>
              <a:solidFill>
                <a:srgbClr val="E6E5E5"/>
              </a:solidFill>
            </c:spPr>
            <c:extLst>
              <c:ext xmlns:c16="http://schemas.microsoft.com/office/drawing/2014/chart" uri="{C3380CC4-5D6E-409C-BE32-E72D297353CC}">
                <c16:uniqueId val="{000000A9-B572-4DF2-A18B-EB5D630E70B4}"/>
              </c:ext>
            </c:extLst>
          </c:dPt>
          <c:dPt>
            <c:idx val="85"/>
            <c:invertIfNegative val="1"/>
            <c:bubble3D val="0"/>
            <c:spPr>
              <a:solidFill>
                <a:srgbClr val="E6E5E5"/>
              </a:solidFill>
            </c:spPr>
            <c:extLst>
              <c:ext xmlns:c16="http://schemas.microsoft.com/office/drawing/2014/chart" uri="{C3380CC4-5D6E-409C-BE32-E72D297353CC}">
                <c16:uniqueId val="{000000AB-B572-4DF2-A18B-EB5D630E70B4}"/>
              </c:ext>
            </c:extLst>
          </c:dPt>
          <c:dPt>
            <c:idx val="86"/>
            <c:invertIfNegative val="1"/>
            <c:bubble3D val="0"/>
            <c:spPr>
              <a:solidFill>
                <a:srgbClr val="E6E5E5"/>
              </a:solidFill>
            </c:spPr>
            <c:extLst>
              <c:ext xmlns:c16="http://schemas.microsoft.com/office/drawing/2014/chart" uri="{C3380CC4-5D6E-409C-BE32-E72D297353CC}">
                <c16:uniqueId val="{000000AD-B572-4DF2-A18B-EB5D630E70B4}"/>
              </c:ext>
            </c:extLst>
          </c:dPt>
          <c:dPt>
            <c:idx val="87"/>
            <c:invertIfNegative val="1"/>
            <c:bubble3D val="0"/>
            <c:spPr>
              <a:solidFill>
                <a:srgbClr val="E6E5E5"/>
              </a:solidFill>
            </c:spPr>
            <c:extLst>
              <c:ext xmlns:c16="http://schemas.microsoft.com/office/drawing/2014/chart" uri="{C3380CC4-5D6E-409C-BE32-E72D297353CC}">
                <c16:uniqueId val="{000000AF-B572-4DF2-A18B-EB5D630E70B4}"/>
              </c:ext>
            </c:extLst>
          </c:dPt>
          <c:dPt>
            <c:idx val="88"/>
            <c:invertIfNegative val="1"/>
            <c:bubble3D val="0"/>
            <c:spPr>
              <a:solidFill>
                <a:srgbClr val="E6E5E5"/>
              </a:solidFill>
            </c:spPr>
            <c:extLst>
              <c:ext xmlns:c16="http://schemas.microsoft.com/office/drawing/2014/chart" uri="{C3380CC4-5D6E-409C-BE32-E72D297353CC}">
                <c16:uniqueId val="{000000B1-B572-4DF2-A18B-EB5D630E70B4}"/>
              </c:ext>
            </c:extLst>
          </c:dPt>
          <c:dPt>
            <c:idx val="89"/>
            <c:invertIfNegative val="1"/>
            <c:bubble3D val="0"/>
            <c:spPr>
              <a:solidFill>
                <a:srgbClr val="E6E5E5"/>
              </a:solidFill>
            </c:spPr>
            <c:extLst>
              <c:ext xmlns:c16="http://schemas.microsoft.com/office/drawing/2014/chart" uri="{C3380CC4-5D6E-409C-BE32-E72D297353CC}">
                <c16:uniqueId val="{000000B3-B572-4DF2-A18B-EB5D630E70B4}"/>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A0D8-4FF8-BF2D-A6DC7B178F5A}"/>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A0D8-4FF8-BF2D-A6DC7B178F5A}"/>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A0D8-4FF8-BF2D-A6DC7B178F5A}"/>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A0D8-4FF8-BF2D-A6DC7B178F5A}"/>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A0D8-4FF8-BF2D-A6DC7B178F5A}"/>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A0D8-4FF8-BF2D-A6DC7B178F5A}"/>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A0D8-4FF8-BF2D-A6DC7B178F5A}"/>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A0D8-4FF8-BF2D-A6DC7B178F5A}"/>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A0D8-4FF8-BF2D-A6DC7B178F5A}"/>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A0D8-4FF8-BF2D-A6DC7B178F5A}"/>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A0D8-4FF8-BF2D-A6DC7B178F5A}"/>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A0D8-4FF8-BF2D-A6DC7B178F5A}"/>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A0D8-4FF8-BF2D-A6DC7B178F5A}"/>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A0D8-4FF8-BF2D-A6DC7B178F5A}"/>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A0D8-4FF8-BF2D-A6DC7B178F5A}"/>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A0D8-4FF8-BF2D-A6DC7B178F5A}"/>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A0D8-4FF8-BF2D-A6DC7B178F5A}"/>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A0D8-4FF8-BF2D-A6DC7B178F5A}"/>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A0D8-4FF8-BF2D-A6DC7B178F5A}"/>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A0D8-4FF8-BF2D-A6DC7B178F5A}"/>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A0D8-4FF8-BF2D-A6DC7B178F5A}"/>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A0D8-4FF8-BF2D-A6DC7B178F5A}"/>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A0D8-4FF8-BF2D-A6DC7B178F5A}"/>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A0D8-4FF8-BF2D-A6DC7B178F5A}"/>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A0D8-4FF8-BF2D-A6DC7B178F5A}"/>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A0D8-4FF8-BF2D-A6DC7B178F5A}"/>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A0D8-4FF8-BF2D-A6DC7B178F5A}"/>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A0D8-4FF8-BF2D-A6DC7B178F5A}"/>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A0D8-4FF8-BF2D-A6DC7B178F5A}"/>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A0D8-4FF8-BF2D-A6DC7B178F5A}"/>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A0D8-4FF8-BF2D-A6DC7B178F5A}"/>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A0D8-4FF8-BF2D-A6DC7B178F5A}"/>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A0D8-4FF8-BF2D-A6DC7B178F5A}"/>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A0D8-4FF8-BF2D-A6DC7B178F5A}"/>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A0D8-4FF8-BF2D-A6DC7B178F5A}"/>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A0D8-4FF8-BF2D-A6DC7B178F5A}"/>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A0D8-4FF8-BF2D-A6DC7B178F5A}"/>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A0D8-4FF8-BF2D-A6DC7B178F5A}"/>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A0D8-4FF8-BF2D-A6DC7B178F5A}"/>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A0D8-4FF8-BF2D-A6DC7B178F5A}"/>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A0D8-4FF8-BF2D-A6DC7B178F5A}"/>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A0D8-4FF8-BF2D-A6DC7B178F5A}"/>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A0D8-4FF8-BF2D-A6DC7B178F5A}"/>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A0D8-4FF8-BF2D-A6DC7B178F5A}"/>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A0D8-4FF8-BF2D-A6DC7B178F5A}"/>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A0D8-4FF8-BF2D-A6DC7B178F5A}"/>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A0D8-4FF8-BF2D-A6DC7B178F5A}"/>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A0D8-4FF8-BF2D-A6DC7B178F5A}"/>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A0D8-4FF8-BF2D-A6DC7B178F5A}"/>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A0D8-4FF8-BF2D-A6DC7B178F5A}"/>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A0D8-4FF8-BF2D-A6DC7B178F5A}"/>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A0D8-4FF8-BF2D-A6DC7B178F5A}"/>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A0D8-4FF8-BF2D-A6DC7B178F5A}"/>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B572-4DF2-A18B-EB5D630E70B4}"/>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B572-4DF2-A18B-EB5D630E70B4}"/>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B572-4DF2-A18B-EB5D630E70B4}"/>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B572-4DF2-A18B-EB5D630E70B4}"/>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B572-4DF2-A18B-EB5D630E70B4}"/>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B572-4DF2-A18B-EB5D630E70B4}"/>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B572-4DF2-A18B-EB5D630E70B4}"/>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B572-4DF2-A18B-EB5D630E70B4}"/>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B572-4DF2-A18B-EB5D630E70B4}"/>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B572-4DF2-A18B-EB5D630E70B4}"/>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B572-4DF2-A18B-EB5D630E70B4}"/>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B572-4DF2-A18B-EB5D630E70B4}"/>
                </c:ext>
              </c:extLst>
            </c:dLbl>
            <c:dLbl>
              <c:idx val="6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B572-4DF2-A18B-EB5D630E70B4}"/>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B572-4DF2-A18B-EB5D630E70B4}"/>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B572-4DF2-A18B-EB5D630E70B4}"/>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B572-4DF2-A18B-EB5D630E70B4}"/>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B572-4DF2-A18B-EB5D630E70B4}"/>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B572-4DF2-A18B-EB5D630E70B4}"/>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B572-4DF2-A18B-EB5D630E70B4}"/>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B572-4DF2-A18B-EB5D630E70B4}"/>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B572-4DF2-A18B-EB5D630E70B4}"/>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B572-4DF2-A18B-EB5D630E70B4}"/>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B572-4DF2-A18B-EB5D630E70B4}"/>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B572-4DF2-A18B-EB5D630E70B4}"/>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B572-4DF2-A18B-EB5D630E70B4}"/>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B572-4DF2-A18B-EB5D630E70B4}"/>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B572-4DF2-A18B-EB5D630E70B4}"/>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B572-4DF2-A18B-EB5D630E70B4}"/>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B572-4DF2-A18B-EB5D630E70B4}"/>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B572-4DF2-A18B-EB5D630E70B4}"/>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B572-4DF2-A18B-EB5D630E70B4}"/>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B572-4DF2-A18B-EB5D630E70B4}"/>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B572-4DF2-A18B-EB5D630E70B4}"/>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B572-4DF2-A18B-EB5D630E70B4}"/>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B572-4DF2-A18B-EB5D630E70B4}"/>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B572-4DF2-A18B-EB5D630E70B4}"/>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9</c:f>
              <c:strCache>
                <c:ptCount val="78"/>
                <c:pt idx="0">
                  <c:v>Galaxy Jewels 1.4kg</c:v>
                </c:pt>
                <c:pt idx="1">
                  <c:v>Ferrero Rocher 300g</c:v>
                </c:pt>
                <c:pt idx="2">
                  <c:v>Galaxy Smooth Milk Chocolate 36g x 24</c:v>
                </c:pt>
                <c:pt idx="3">
                  <c:v>Galaxy Jewels 900g</c:v>
                </c:pt>
                <c:pt idx="4">
                  <c:v>Galaxy Jewels 650g</c:v>
                </c:pt>
                <c:pt idx="5">
                  <c:v>Cadbury Dairy Milk Minis Selection 500g</c:v>
                </c:pt>
                <c:pt idx="6">
                  <c:v>Kit Kat 17.7g x 18</c:v>
                </c:pt>
                <c:pt idx="7">
                  <c:v>Kinder Bueno Milk&amp;Hazelnut 43g</c:v>
                </c:pt>
                <c:pt idx="8">
                  <c:v>Tiffany Break Supa 38gx12</c:v>
                </c:pt>
                <c:pt idx="9">
                  <c:v>Snickers 50gx6</c:v>
                </c:pt>
                <c:pt idx="10">
                  <c:v>Tiffany Break 24x15.5g</c:v>
                </c:pt>
                <c:pt idx="11">
                  <c:v>Tiffany Break Mini Fun 384g</c:v>
                </c:pt>
                <c:pt idx="12">
                  <c:v>Kinder Bueno Milk&amp;Hazelnut 43gx10</c:v>
                </c:pt>
                <c:pt idx="13">
                  <c:v>Mackintosh Quality Street Chocolate 600g</c:v>
                </c:pt>
                <c:pt idx="14">
                  <c:v>Snickers Bar 50g</c:v>
                </c:pt>
                <c:pt idx="15">
                  <c:v>Maltesers Chocolate 175g</c:v>
                </c:pt>
                <c:pt idx="16">
                  <c:v>Tiffany Break 31gx12</c:v>
                </c:pt>
                <c:pt idx="17">
                  <c:v>Tiffany Break Delight 25gx12</c:v>
                </c:pt>
                <c:pt idx="18">
                  <c:v>Snickers Minis Bag 252g</c:v>
                </c:pt>
                <c:pt idx="19">
                  <c:v>Cadbury Miniatures Box 400g</c:v>
                </c:pt>
                <c:pt idx="20">
                  <c:v>Bounty Bar 57g</c:v>
                </c:pt>
                <c:pt idx="21">
                  <c:v>Galaxy Smooth Milk Minis 237.5g</c:v>
                </c:pt>
                <c:pt idx="22">
                  <c:v>Bounty Bar 57g x 5</c:v>
                </c:pt>
                <c:pt idx="23">
                  <c:v>Ferrero Rocher 200g</c:v>
                </c:pt>
                <c:pt idx="24">
                  <c:v>Kinder Maxi Chocolate 21gx11 (10+1)</c:v>
                </c:pt>
                <c:pt idx="25">
                  <c:v>Ferrero Raffaello 150g box </c:v>
                </c:pt>
                <c:pt idx="26">
                  <c:v>Galaxy Hazelnut Minis 237.5g</c:v>
                </c:pt>
                <c:pt idx="27">
                  <c:v>Twix 50gx5</c:v>
                </c:pt>
                <c:pt idx="28">
                  <c:v>Twix Bar 50g</c:v>
                </c:pt>
                <c:pt idx="29">
                  <c:v>Maltesers Chocolate 37g</c:v>
                </c:pt>
                <c:pt idx="30">
                  <c:v>Snickers Miniatures 150g</c:v>
                </c:pt>
                <c:pt idx="31">
                  <c:v>Cadbury Flake Minis Bag 159.5g</c:v>
                </c:pt>
                <c:pt idx="32">
                  <c:v>M&amp;M's Peanut 165g</c:v>
                </c:pt>
                <c:pt idx="33">
                  <c:v>Twix Miniatures 150g</c:v>
                </c:pt>
                <c:pt idx="34">
                  <c:v>Cadbury Timeout Minis Wafer 247.2g</c:v>
                </c:pt>
                <c:pt idx="35">
                  <c:v>Toblerone Milk Chocolate 200g</c:v>
                </c:pt>
                <c:pt idx="36">
                  <c:v>Galaxy Smooth Milk Minis 162.5g</c:v>
                </c:pt>
                <c:pt idx="37">
                  <c:v>Mars 45g x 6</c:v>
                </c:pt>
                <c:pt idx="38">
                  <c:v>Bounty Miniatures 150g</c:v>
                </c:pt>
                <c:pt idx="39">
                  <c:v>Kinder Chocolate Bar 8x12.5g</c:v>
                </c:pt>
                <c:pt idx="40">
                  <c:v>Galaxy Smooth Dark Chocolate 40g</c:v>
                </c:pt>
                <c:pt idx="41">
                  <c:v>Mars Bar 51g </c:v>
                </c:pt>
                <c:pt idx="42">
                  <c:v>Hershey's Kisses Special Selection Assorted 325g</c:v>
                </c:pt>
                <c:pt idx="43">
                  <c:v>Galaxy Hazelnut Chocolate 36g</c:v>
                </c:pt>
                <c:pt idx="44">
                  <c:v>Galaxy Smooth Milk Chocolate 36g</c:v>
                </c:pt>
                <c:pt idx="45">
                  <c:v>Galaxy Caramel Bar 40g</c:v>
                </c:pt>
                <c:pt idx="46">
                  <c:v>Kinder Chocolate Bar 50g</c:v>
                </c:pt>
                <c:pt idx="47">
                  <c:v>Kinder Bueno White 39g</c:v>
                </c:pt>
                <c:pt idx="48">
                  <c:v>Hershey's Kisses Classic Selection Assorted 325g</c:v>
                </c:pt>
                <c:pt idx="49">
                  <c:v>Galaxy Crispy Milk Chocolate 36g</c:v>
                </c:pt>
                <c:pt idx="50">
                  <c:v> Reeses Peanut Butter Cup Mini 340g </c:v>
                </c:pt>
                <c:pt idx="51">
                  <c:v>Kit Kat 17.7g</c:v>
                </c:pt>
                <c:pt idx="52">
                  <c:v> Reeses Peanut Butter Cup 42g x 6</c:v>
                </c:pt>
                <c:pt idx="53">
                  <c:v>Reeses Peanut Butter Cups 46g</c:v>
                </c:pt>
                <c:pt idx="54">
                  <c:v>Reeses Peanut Butter Cup Mini 215g</c:v>
                </c:pt>
                <c:pt idx="55">
                  <c:v>M&amp;M's Milk Chocolate 30.6g</c:v>
                </c:pt>
                <c:pt idx="56">
                  <c:v>Godiva Double Chocolate Bar 35g</c:v>
                </c:pt>
                <c:pt idx="57">
                  <c:v>Hershey's Cookies 'n Creme 40Gx 4</c:v>
                </c:pt>
                <c:pt idx="58">
                  <c:v>Galaxy Smooth Milk Chocolate 80g</c:v>
                </c:pt>
                <c:pt idx="59">
                  <c:v>Galaxy Ripple Bar 33g</c:v>
                </c:pt>
                <c:pt idx="60">
                  <c:v>Hershey's Chocobites Cookies 'n Creme 90g</c:v>
                </c:pt>
                <c:pt idx="61">
                  <c:v>Hershey's Kisses Special Selection Assorted 100g</c:v>
                </c:pt>
                <c:pt idx="62">
                  <c:v>Hershey's Chocobites Salted Caramel 81g</c:v>
                </c:pt>
                <c:pt idx="63">
                  <c:v>Hershey's Cookies N' Chocolate 40g</c:v>
                </c:pt>
                <c:pt idx="64">
                  <c:v>Reeses Block 90g</c:v>
                </c:pt>
                <c:pt idx="65">
                  <c:v>Reeses Nut Bar 47g</c:v>
                </c:pt>
                <c:pt idx="66">
                  <c:v>Hershey's Kisses Classic Selection Assorted 100g</c:v>
                </c:pt>
                <c:pt idx="67">
                  <c:v>Hershey's Cookies N' Crème 12.76g</c:v>
                </c:pt>
                <c:pt idx="68">
                  <c:v> Reeses Wafer Sticks 42g</c:v>
                </c:pt>
                <c:pt idx="69">
                  <c:v>Hershey's Choco Tubes Cookies N' Creme 18g</c:v>
                </c:pt>
                <c:pt idx="70">
                  <c:v>Reeses Pieces 180g</c:v>
                </c:pt>
                <c:pt idx="71">
                  <c:v>Reeses Mini King Size 71g</c:v>
                </c:pt>
                <c:pt idx="72">
                  <c:v>Hershey's Cookies 'n Creme Creations Salted Caramel 38g</c:v>
                </c:pt>
                <c:pt idx="73">
                  <c:v>Hershey's Cookies 'n Creme Block 90g</c:v>
                </c:pt>
                <c:pt idx="74">
                  <c:v> Reeses Peanut Butter Cup Mini 500G</c:v>
                </c:pt>
                <c:pt idx="75">
                  <c:v>Hersheys Kisses Classic Selection Assorted 600G</c:v>
                </c:pt>
                <c:pt idx="76">
                  <c:v>Hershey's Variety Pack 40Gx3</c:v>
                </c:pt>
                <c:pt idx="77">
                  <c:v>Reeses Fast break 51g</c:v>
                </c:pt>
              </c:strCache>
            </c:strRef>
          </c:cat>
          <c:val>
            <c:numRef>
              <c:f>Sheet1!$B$2:$B$79</c:f>
              <c:numCache>
                <c:formatCode>General</c:formatCode>
                <c:ptCount val="78"/>
                <c:pt idx="0">
                  <c:v>8.7043629382212662E-2</c:v>
                </c:pt>
                <c:pt idx="1">
                  <c:v>5.7448254219214227E-2</c:v>
                </c:pt>
                <c:pt idx="2">
                  <c:v>5.2318988778503661E-2</c:v>
                </c:pt>
                <c:pt idx="3">
                  <c:v>5.2256472326913307E-2</c:v>
                </c:pt>
                <c:pt idx="4">
                  <c:v>4.8584225656166963E-2</c:v>
                </c:pt>
                <c:pt idx="5">
                  <c:v>3.9680743757639463E-2</c:v>
                </c:pt>
                <c:pt idx="6">
                  <c:v>2.9190658329038801E-2</c:v>
                </c:pt>
                <c:pt idx="7">
                  <c:v>2.7681917689682881E-2</c:v>
                </c:pt>
                <c:pt idx="8">
                  <c:v>2.513899586928656E-2</c:v>
                </c:pt>
                <c:pt idx="9">
                  <c:v>2.4890536077445059E-2</c:v>
                </c:pt>
                <c:pt idx="10">
                  <c:v>2.4344382000445201E-2</c:v>
                </c:pt>
                <c:pt idx="11">
                  <c:v>2.4239521796033451E-2</c:v>
                </c:pt>
                <c:pt idx="12">
                  <c:v>2.25895581009995E-2</c:v>
                </c:pt>
                <c:pt idx="13">
                  <c:v>2.2261008252674359E-2</c:v>
                </c:pt>
                <c:pt idx="14">
                  <c:v>2.1303629133662901E-2</c:v>
                </c:pt>
                <c:pt idx="15">
                  <c:v>2.0930028427272349E-2</c:v>
                </c:pt>
                <c:pt idx="16">
                  <c:v>2.0722378953069099E-2</c:v>
                </c:pt>
                <c:pt idx="17">
                  <c:v>1.79402528779639E-2</c:v>
                </c:pt>
                <c:pt idx="18">
                  <c:v>1.6768501477137959E-2</c:v>
                </c:pt>
                <c:pt idx="19">
                  <c:v>1.5907968576700571E-2</c:v>
                </c:pt>
                <c:pt idx="20">
                  <c:v>1.5132426772325959E-2</c:v>
                </c:pt>
                <c:pt idx="21">
                  <c:v>1.457716780008899E-2</c:v>
                </c:pt>
                <c:pt idx="22">
                  <c:v>1.428979902205051E-2</c:v>
                </c:pt>
                <c:pt idx="23">
                  <c:v>1.4260023753352421E-2</c:v>
                </c:pt>
                <c:pt idx="24">
                  <c:v>1.4242653495047679E-2</c:v>
                </c:pt>
                <c:pt idx="25">
                  <c:v>1.4009948484647721E-2</c:v>
                </c:pt>
                <c:pt idx="26">
                  <c:v>1.327189776630075E-2</c:v>
                </c:pt>
                <c:pt idx="27">
                  <c:v>1.277080676064834E-2</c:v>
                </c:pt>
                <c:pt idx="28">
                  <c:v>1.154686376230785E-2</c:v>
                </c:pt>
                <c:pt idx="29">
                  <c:v>1.1356802272850099E-2</c:v>
                </c:pt>
                <c:pt idx="30">
                  <c:v>1.083713462610989E-2</c:v>
                </c:pt>
                <c:pt idx="31">
                  <c:v>1.0457247446923411E-2</c:v>
                </c:pt>
                <c:pt idx="32">
                  <c:v>1.0406169475892761E-2</c:v>
                </c:pt>
                <c:pt idx="33">
                  <c:v>1.019402791157778E-2</c:v>
                </c:pt>
                <c:pt idx="34">
                  <c:v>9.9678416198208646E-3</c:v>
                </c:pt>
                <c:pt idx="35">
                  <c:v>9.6601873747323187E-3</c:v>
                </c:pt>
                <c:pt idx="36">
                  <c:v>9.3903672027461412E-3</c:v>
                </c:pt>
                <c:pt idx="37">
                  <c:v>8.0659148911814693E-3</c:v>
                </c:pt>
                <c:pt idx="38">
                  <c:v>7.5338492821987197E-3</c:v>
                </c:pt>
                <c:pt idx="39">
                  <c:v>7.4340972771401804E-3</c:v>
                </c:pt>
                <c:pt idx="40">
                  <c:v>7.2228964784393666E-3</c:v>
                </c:pt>
                <c:pt idx="41">
                  <c:v>7.1647097013926584E-3</c:v>
                </c:pt>
                <c:pt idx="42">
                  <c:v>6.7417978009267987E-3</c:v>
                </c:pt>
                <c:pt idx="43">
                  <c:v>6.6461212904450192E-3</c:v>
                </c:pt>
                <c:pt idx="44">
                  <c:v>6.5873687630741886E-3</c:v>
                </c:pt>
                <c:pt idx="45">
                  <c:v>6.1105982334485687E-3</c:v>
                </c:pt>
                <c:pt idx="46">
                  <c:v>5.442700859727416E-3</c:v>
                </c:pt>
                <c:pt idx="47">
                  <c:v>5.4377176631436683E-3</c:v>
                </c:pt>
                <c:pt idx="48">
                  <c:v>5.0533333079540556E-3</c:v>
                </c:pt>
                <c:pt idx="49">
                  <c:v>4.8781338061636894E-3</c:v>
                </c:pt>
                <c:pt idx="50">
                  <c:v>4.8118320644420761E-3</c:v>
                </c:pt>
                <c:pt idx="51">
                  <c:v>4.754758877646573E-3</c:v>
                </c:pt>
                <c:pt idx="52">
                  <c:v>4.6018435860742616E-3</c:v>
                </c:pt>
                <c:pt idx="53">
                  <c:v>4.5036988919860462E-3</c:v>
                </c:pt>
                <c:pt idx="54">
                  <c:v>4.3867982266635082E-3</c:v>
                </c:pt>
                <c:pt idx="55">
                  <c:v>4.0218340674676974E-3</c:v>
                </c:pt>
                <c:pt idx="56">
                  <c:v>3.9201710183767091E-3</c:v>
                </c:pt>
                <c:pt idx="57">
                  <c:v>3.7061900184166409E-3</c:v>
                </c:pt>
                <c:pt idx="58">
                  <c:v>3.4958916104209938E-3</c:v>
                </c:pt>
                <c:pt idx="59">
                  <c:v>3.3190896613840659E-3</c:v>
                </c:pt>
                <c:pt idx="60">
                  <c:v>2.6956154020616259E-3</c:v>
                </c:pt>
                <c:pt idx="61">
                  <c:v>2.53527750664386E-3</c:v>
                </c:pt>
                <c:pt idx="62">
                  <c:v>2.4278900283566068E-3</c:v>
                </c:pt>
                <c:pt idx="63">
                  <c:v>2.425599799364974E-3</c:v>
                </c:pt>
                <c:pt idx="64">
                  <c:v>2.1535528869782322E-3</c:v>
                </c:pt>
                <c:pt idx="65">
                  <c:v>1.655361952609545E-3</c:v>
                </c:pt>
                <c:pt idx="66">
                  <c:v>1.5256000407128469E-3</c:v>
                </c:pt>
                <c:pt idx="67">
                  <c:v>7.824108492337985E-4</c:v>
                </c:pt>
                <c:pt idx="68">
                  <c:v>2.7146164527440977E-4</c:v>
                </c:pt>
                <c:pt idx="69">
                  <c:v>7.2865281163403636E-5</c:v>
                </c:pt>
                <c:pt idx="70">
                  <c:v>0</c:v>
                </c:pt>
                <c:pt idx="71">
                  <c:v>0</c:v>
                </c:pt>
                <c:pt idx="72">
                  <c:v>0</c:v>
                </c:pt>
                <c:pt idx="73">
                  <c:v>0</c:v>
                </c:pt>
                <c:pt idx="74">
                  <c:v>0</c:v>
                </c:pt>
                <c:pt idx="75">
                  <c:v>0</c:v>
                </c:pt>
                <c:pt idx="76">
                  <c:v>0</c:v>
                </c:pt>
                <c:pt idx="77">
                  <c:v>0</c:v>
                </c:pt>
              </c:numCache>
            </c:numRef>
          </c:val>
          <c:extLst>
            <c:ext xmlns:c16="http://schemas.microsoft.com/office/drawing/2014/chart" uri="{C3380CC4-5D6E-409C-BE32-E72D297353CC}">
              <c16:uniqueId val="{0000003F-A0D8-4FF8-BF2D-A6DC7B178F5A}"/>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ershey's Cookies 'n Creme Creations Salted Caramel 38g</c:v>
                </c:pt>
              </c:strCache>
            </c:strRef>
          </c:tx>
          <c:spPr>
            <a:solidFill>
              <a:schemeClr val="bg2"/>
            </a:solidFill>
            <a:ln>
              <a:noFill/>
            </a:ln>
            <a:effectLst/>
          </c:spPr>
          <c:invertIfNegative val="0"/>
          <c:dPt>
            <c:idx val="0"/>
            <c:invertIfNegative val="0"/>
            <c:bubble3D val="0"/>
            <c:spPr>
              <a:solidFill>
                <a:srgbClr val="E6E5E5"/>
              </a:solidFill>
              <a:ln>
                <a:noFill/>
              </a:ln>
              <a:effectLst/>
            </c:spPr>
            <c:extLst>
              <c:ext xmlns:c16="http://schemas.microsoft.com/office/drawing/2014/chart" uri="{C3380CC4-5D6E-409C-BE32-E72D297353CC}">
                <c16:uniqueId val="{00000001-902D-4251-AC41-C6D4CBCA5CD6}"/>
              </c:ext>
            </c:extLst>
          </c:dPt>
          <c:dPt>
            <c:idx val="1"/>
            <c:invertIfNegative val="1"/>
            <c:bubble3D val="0"/>
            <c:spPr>
              <a:solidFill>
                <a:srgbClr val="E6E5E5"/>
              </a:solidFill>
            </c:spPr>
            <c:extLst>
              <c:ext xmlns:c16="http://schemas.microsoft.com/office/drawing/2014/chart" uri="{C3380CC4-5D6E-409C-BE32-E72D297353CC}">
                <c16:uniqueId val="{00000003-902D-4251-AC41-C6D4CBCA5CD6}"/>
              </c:ext>
            </c:extLst>
          </c:dPt>
          <c:dPt>
            <c:idx val="2"/>
            <c:invertIfNegative val="1"/>
            <c:bubble3D val="0"/>
            <c:spPr>
              <a:solidFill>
                <a:srgbClr val="E6E5E5"/>
              </a:solidFill>
            </c:spPr>
            <c:extLst>
              <c:ext xmlns:c16="http://schemas.microsoft.com/office/drawing/2014/chart" uri="{C3380CC4-5D6E-409C-BE32-E72D297353CC}">
                <c16:uniqueId val="{00000005-902D-4251-AC41-C6D4CBCA5CD6}"/>
              </c:ext>
            </c:extLst>
          </c:dPt>
          <c:dPt>
            <c:idx val="3"/>
            <c:invertIfNegative val="0"/>
            <c:bubble3D val="0"/>
            <c:spPr>
              <a:solidFill>
                <a:srgbClr val="E6E5E5"/>
              </a:solidFill>
              <a:ln>
                <a:noFill/>
              </a:ln>
              <a:effectLst/>
            </c:spPr>
            <c:extLst>
              <c:ext xmlns:c16="http://schemas.microsoft.com/office/drawing/2014/chart" uri="{C3380CC4-5D6E-409C-BE32-E72D297353CC}">
                <c16:uniqueId val="{00000007-902D-4251-AC41-C6D4CBCA5CD6}"/>
              </c:ext>
            </c:extLst>
          </c:dPt>
          <c:dPt>
            <c:idx val="4"/>
            <c:invertIfNegative val="1"/>
            <c:bubble3D val="0"/>
            <c:spPr>
              <a:solidFill>
                <a:srgbClr val="E6E5E5"/>
              </a:solidFill>
            </c:spPr>
            <c:extLst>
              <c:ext xmlns:c16="http://schemas.microsoft.com/office/drawing/2014/chart" uri="{C3380CC4-5D6E-409C-BE32-E72D297353CC}">
                <c16:uniqueId val="{00000009-902D-4251-AC41-C6D4CBCA5CD6}"/>
              </c:ext>
            </c:extLst>
          </c:dPt>
          <c:dPt>
            <c:idx val="5"/>
            <c:invertIfNegative val="1"/>
            <c:bubble3D val="0"/>
            <c:spPr>
              <a:solidFill>
                <a:srgbClr val="E6E5E5"/>
              </a:solidFill>
            </c:spPr>
            <c:extLst>
              <c:ext xmlns:c16="http://schemas.microsoft.com/office/drawing/2014/chart" uri="{C3380CC4-5D6E-409C-BE32-E72D297353CC}">
                <c16:uniqueId val="{0000000B-902D-4251-AC41-C6D4CBCA5CD6}"/>
              </c:ext>
            </c:extLst>
          </c:dPt>
          <c:dPt>
            <c:idx val="6"/>
            <c:invertIfNegative val="1"/>
            <c:bubble3D val="0"/>
            <c:spPr>
              <a:solidFill>
                <a:srgbClr val="E6E5E5"/>
              </a:solidFill>
            </c:spPr>
            <c:extLst>
              <c:ext xmlns:c16="http://schemas.microsoft.com/office/drawing/2014/chart" uri="{C3380CC4-5D6E-409C-BE32-E72D297353CC}">
                <c16:uniqueId val="{0000000D-902D-4251-AC41-C6D4CBCA5CD6}"/>
              </c:ext>
            </c:extLst>
          </c:dPt>
          <c:dPt>
            <c:idx val="7"/>
            <c:invertIfNegative val="1"/>
            <c:bubble3D val="0"/>
            <c:spPr>
              <a:solidFill>
                <a:srgbClr val="E6E5E5"/>
              </a:solidFill>
            </c:spPr>
            <c:extLst>
              <c:ext xmlns:c16="http://schemas.microsoft.com/office/drawing/2014/chart" uri="{C3380CC4-5D6E-409C-BE32-E72D297353CC}">
                <c16:uniqueId val="{0000000F-902D-4251-AC41-C6D4CBCA5CD6}"/>
              </c:ext>
            </c:extLst>
          </c:dPt>
          <c:dPt>
            <c:idx val="8"/>
            <c:invertIfNegative val="1"/>
            <c:bubble3D val="0"/>
            <c:spPr>
              <a:solidFill>
                <a:srgbClr val="E6E5E5"/>
              </a:solidFill>
            </c:spPr>
            <c:extLst>
              <c:ext xmlns:c16="http://schemas.microsoft.com/office/drawing/2014/chart" uri="{C3380CC4-5D6E-409C-BE32-E72D297353CC}">
                <c16:uniqueId val="{00000011-902D-4251-AC41-C6D4CBCA5CD6}"/>
              </c:ext>
            </c:extLst>
          </c:dPt>
          <c:dPt>
            <c:idx val="9"/>
            <c:invertIfNegative val="1"/>
            <c:bubble3D val="0"/>
            <c:spPr>
              <a:solidFill>
                <a:srgbClr val="E6E5E5"/>
              </a:solidFill>
            </c:spPr>
            <c:extLst>
              <c:ext xmlns:c16="http://schemas.microsoft.com/office/drawing/2014/chart" uri="{C3380CC4-5D6E-409C-BE32-E72D297353CC}">
                <c16:uniqueId val="{00000013-902D-4251-AC41-C6D4CBCA5CD6}"/>
              </c:ext>
            </c:extLst>
          </c:dPt>
          <c:dPt>
            <c:idx val="10"/>
            <c:invertIfNegative val="1"/>
            <c:bubble3D val="0"/>
            <c:spPr>
              <a:solidFill>
                <a:srgbClr val="E6E5E5"/>
              </a:solidFill>
            </c:spPr>
            <c:extLst>
              <c:ext xmlns:c16="http://schemas.microsoft.com/office/drawing/2014/chart" uri="{C3380CC4-5D6E-409C-BE32-E72D297353CC}">
                <c16:uniqueId val="{00000015-902D-4251-AC41-C6D4CBCA5CD6}"/>
              </c:ext>
            </c:extLst>
          </c:dPt>
          <c:dPt>
            <c:idx val="11"/>
            <c:invertIfNegative val="1"/>
            <c:bubble3D val="0"/>
            <c:spPr>
              <a:solidFill>
                <a:srgbClr val="E6E5E5"/>
              </a:solidFill>
            </c:spPr>
            <c:extLst>
              <c:ext xmlns:c16="http://schemas.microsoft.com/office/drawing/2014/chart" uri="{C3380CC4-5D6E-409C-BE32-E72D297353CC}">
                <c16:uniqueId val="{00000017-902D-4251-AC41-C6D4CBCA5CD6}"/>
              </c:ext>
            </c:extLst>
          </c:dPt>
          <c:dPt>
            <c:idx val="12"/>
            <c:invertIfNegative val="1"/>
            <c:bubble3D val="0"/>
            <c:spPr>
              <a:solidFill>
                <a:srgbClr val="E6E5E5"/>
              </a:solidFill>
            </c:spPr>
            <c:extLst>
              <c:ext xmlns:c16="http://schemas.microsoft.com/office/drawing/2014/chart" uri="{C3380CC4-5D6E-409C-BE32-E72D297353CC}">
                <c16:uniqueId val="{00000019-902D-4251-AC41-C6D4CBCA5CD6}"/>
              </c:ext>
            </c:extLst>
          </c:dPt>
          <c:dPt>
            <c:idx val="13"/>
            <c:invertIfNegative val="1"/>
            <c:bubble3D val="0"/>
            <c:spPr>
              <a:solidFill>
                <a:srgbClr val="E6E5E5"/>
              </a:solidFill>
            </c:spPr>
            <c:extLst>
              <c:ext xmlns:c16="http://schemas.microsoft.com/office/drawing/2014/chart" uri="{C3380CC4-5D6E-409C-BE32-E72D297353CC}">
                <c16:uniqueId val="{0000001B-902D-4251-AC41-C6D4CBCA5CD6}"/>
              </c:ext>
            </c:extLst>
          </c:dPt>
          <c:dPt>
            <c:idx val="14"/>
            <c:invertIfNegative val="0"/>
            <c:bubble3D val="0"/>
            <c:spPr>
              <a:solidFill>
                <a:srgbClr val="E6E5E5"/>
              </a:solidFill>
              <a:ln>
                <a:noFill/>
              </a:ln>
              <a:effectLst/>
            </c:spPr>
            <c:extLst>
              <c:ext xmlns:c16="http://schemas.microsoft.com/office/drawing/2014/chart" uri="{C3380CC4-5D6E-409C-BE32-E72D297353CC}">
                <c16:uniqueId val="{0000001D-902D-4251-AC41-C6D4CBCA5CD6}"/>
              </c:ext>
            </c:extLst>
          </c:dPt>
          <c:dPt>
            <c:idx val="15"/>
            <c:invertIfNegative val="1"/>
            <c:bubble3D val="0"/>
            <c:spPr>
              <a:solidFill>
                <a:srgbClr val="E6E5E5"/>
              </a:solidFill>
            </c:spPr>
            <c:extLst>
              <c:ext xmlns:c16="http://schemas.microsoft.com/office/drawing/2014/chart" uri="{C3380CC4-5D6E-409C-BE32-E72D297353CC}">
                <c16:uniqueId val="{0000001F-902D-4251-AC41-C6D4CBCA5CD6}"/>
              </c:ext>
            </c:extLst>
          </c:dPt>
          <c:dPt>
            <c:idx val="16"/>
            <c:invertIfNegative val="1"/>
            <c:bubble3D val="0"/>
            <c:spPr>
              <a:solidFill>
                <a:srgbClr val="E6E5E5"/>
              </a:solidFill>
            </c:spPr>
            <c:extLst>
              <c:ext xmlns:c16="http://schemas.microsoft.com/office/drawing/2014/chart" uri="{C3380CC4-5D6E-409C-BE32-E72D297353CC}">
                <c16:uniqueId val="{00000021-902D-4251-AC41-C6D4CBCA5CD6}"/>
              </c:ext>
            </c:extLst>
          </c:dPt>
          <c:dPt>
            <c:idx val="17"/>
            <c:invertIfNegative val="0"/>
            <c:bubble3D val="0"/>
            <c:spPr>
              <a:solidFill>
                <a:srgbClr val="E6E5E5"/>
              </a:solidFill>
              <a:ln>
                <a:noFill/>
              </a:ln>
              <a:effectLst/>
            </c:spPr>
            <c:extLst>
              <c:ext xmlns:c16="http://schemas.microsoft.com/office/drawing/2014/chart" uri="{C3380CC4-5D6E-409C-BE32-E72D297353CC}">
                <c16:uniqueId val="{00000023-902D-4251-AC41-C6D4CBCA5CD6}"/>
              </c:ext>
            </c:extLst>
          </c:dPt>
          <c:dPt>
            <c:idx val="18"/>
            <c:invertIfNegative val="1"/>
            <c:bubble3D val="0"/>
            <c:spPr>
              <a:solidFill>
                <a:srgbClr val="E6E5E5"/>
              </a:solidFill>
            </c:spPr>
            <c:extLst>
              <c:ext xmlns:c16="http://schemas.microsoft.com/office/drawing/2014/chart" uri="{C3380CC4-5D6E-409C-BE32-E72D297353CC}">
                <c16:uniqueId val="{00000025-902D-4251-AC41-C6D4CBCA5CD6}"/>
              </c:ext>
            </c:extLst>
          </c:dPt>
          <c:dPt>
            <c:idx val="19"/>
            <c:invertIfNegative val="1"/>
            <c:bubble3D val="0"/>
            <c:spPr>
              <a:solidFill>
                <a:srgbClr val="E6E5E5"/>
              </a:solidFill>
            </c:spPr>
            <c:extLst>
              <c:ext xmlns:c16="http://schemas.microsoft.com/office/drawing/2014/chart" uri="{C3380CC4-5D6E-409C-BE32-E72D297353CC}">
                <c16:uniqueId val="{00000027-902D-4251-AC41-C6D4CBCA5CD6}"/>
              </c:ext>
            </c:extLst>
          </c:dPt>
          <c:dPt>
            <c:idx val="20"/>
            <c:invertIfNegative val="1"/>
            <c:bubble3D val="0"/>
            <c:spPr>
              <a:solidFill>
                <a:srgbClr val="E6E5E5"/>
              </a:solidFill>
            </c:spPr>
            <c:extLst>
              <c:ext xmlns:c16="http://schemas.microsoft.com/office/drawing/2014/chart" uri="{C3380CC4-5D6E-409C-BE32-E72D297353CC}">
                <c16:uniqueId val="{00000029-902D-4251-AC41-C6D4CBCA5CD6}"/>
              </c:ext>
            </c:extLst>
          </c:dPt>
          <c:dPt>
            <c:idx val="21"/>
            <c:invertIfNegative val="1"/>
            <c:bubble3D val="0"/>
            <c:spPr>
              <a:solidFill>
                <a:srgbClr val="E6E5E5"/>
              </a:solidFill>
            </c:spPr>
            <c:extLst>
              <c:ext xmlns:c16="http://schemas.microsoft.com/office/drawing/2014/chart" uri="{C3380CC4-5D6E-409C-BE32-E72D297353CC}">
                <c16:uniqueId val="{0000002B-902D-4251-AC41-C6D4CBCA5CD6}"/>
              </c:ext>
            </c:extLst>
          </c:dPt>
          <c:dPt>
            <c:idx val="22"/>
            <c:invertIfNegative val="1"/>
            <c:bubble3D val="0"/>
            <c:spPr>
              <a:solidFill>
                <a:srgbClr val="E6E5E5"/>
              </a:solidFill>
            </c:spPr>
            <c:extLst>
              <c:ext xmlns:c16="http://schemas.microsoft.com/office/drawing/2014/chart" uri="{C3380CC4-5D6E-409C-BE32-E72D297353CC}">
                <c16:uniqueId val="{0000002D-902D-4251-AC41-C6D4CBCA5CD6}"/>
              </c:ext>
            </c:extLst>
          </c:dPt>
          <c:dPt>
            <c:idx val="23"/>
            <c:invertIfNegative val="1"/>
            <c:bubble3D val="0"/>
            <c:spPr>
              <a:solidFill>
                <a:srgbClr val="E6E5E5"/>
              </a:solidFill>
            </c:spPr>
            <c:extLst>
              <c:ext xmlns:c16="http://schemas.microsoft.com/office/drawing/2014/chart" uri="{C3380CC4-5D6E-409C-BE32-E72D297353CC}">
                <c16:uniqueId val="{0000002F-902D-4251-AC41-C6D4CBCA5CD6}"/>
              </c:ext>
            </c:extLst>
          </c:dPt>
          <c:dPt>
            <c:idx val="24"/>
            <c:invertIfNegative val="1"/>
            <c:bubble3D val="0"/>
            <c:spPr>
              <a:solidFill>
                <a:srgbClr val="E6E5E5"/>
              </a:solidFill>
            </c:spPr>
            <c:extLst>
              <c:ext xmlns:c16="http://schemas.microsoft.com/office/drawing/2014/chart" uri="{C3380CC4-5D6E-409C-BE32-E72D297353CC}">
                <c16:uniqueId val="{00000031-902D-4251-AC41-C6D4CBCA5CD6}"/>
              </c:ext>
            </c:extLst>
          </c:dPt>
          <c:dPt>
            <c:idx val="25"/>
            <c:invertIfNegative val="1"/>
            <c:bubble3D val="0"/>
            <c:spPr>
              <a:solidFill>
                <a:srgbClr val="E6E5E5"/>
              </a:solidFill>
            </c:spPr>
            <c:extLst>
              <c:ext xmlns:c16="http://schemas.microsoft.com/office/drawing/2014/chart" uri="{C3380CC4-5D6E-409C-BE32-E72D297353CC}">
                <c16:uniqueId val="{00000033-902D-4251-AC41-C6D4CBCA5CD6}"/>
              </c:ext>
            </c:extLst>
          </c:dPt>
          <c:dPt>
            <c:idx val="26"/>
            <c:invertIfNegative val="1"/>
            <c:bubble3D val="0"/>
            <c:spPr>
              <a:solidFill>
                <a:srgbClr val="E6E5E5"/>
              </a:solidFill>
            </c:spPr>
            <c:extLst>
              <c:ext xmlns:c16="http://schemas.microsoft.com/office/drawing/2014/chart" uri="{C3380CC4-5D6E-409C-BE32-E72D297353CC}">
                <c16:uniqueId val="{00000035-902D-4251-AC41-C6D4CBCA5CD6}"/>
              </c:ext>
            </c:extLst>
          </c:dPt>
          <c:dPt>
            <c:idx val="27"/>
            <c:invertIfNegative val="1"/>
            <c:bubble3D val="0"/>
            <c:spPr>
              <a:solidFill>
                <a:srgbClr val="E6E5E5"/>
              </a:solidFill>
            </c:spPr>
            <c:extLst>
              <c:ext xmlns:c16="http://schemas.microsoft.com/office/drawing/2014/chart" uri="{C3380CC4-5D6E-409C-BE32-E72D297353CC}">
                <c16:uniqueId val="{00000037-902D-4251-AC41-C6D4CBCA5CD6}"/>
              </c:ext>
            </c:extLst>
          </c:dPt>
          <c:dPt>
            <c:idx val="28"/>
            <c:invertIfNegative val="1"/>
            <c:bubble3D val="0"/>
            <c:spPr>
              <a:solidFill>
                <a:srgbClr val="E6E5E5"/>
              </a:solidFill>
            </c:spPr>
            <c:extLst>
              <c:ext xmlns:c16="http://schemas.microsoft.com/office/drawing/2014/chart" uri="{C3380CC4-5D6E-409C-BE32-E72D297353CC}">
                <c16:uniqueId val="{00000039-902D-4251-AC41-C6D4CBCA5CD6}"/>
              </c:ext>
            </c:extLst>
          </c:dPt>
          <c:dPt>
            <c:idx val="29"/>
            <c:invertIfNegative val="1"/>
            <c:bubble3D val="0"/>
            <c:spPr>
              <a:solidFill>
                <a:srgbClr val="E6E5E5"/>
              </a:solidFill>
            </c:spPr>
            <c:extLst>
              <c:ext xmlns:c16="http://schemas.microsoft.com/office/drawing/2014/chart" uri="{C3380CC4-5D6E-409C-BE32-E72D297353CC}">
                <c16:uniqueId val="{0000003B-902D-4251-AC41-C6D4CBCA5CD6}"/>
              </c:ext>
            </c:extLst>
          </c:dPt>
          <c:dPt>
            <c:idx val="30"/>
            <c:invertIfNegative val="1"/>
            <c:bubble3D val="0"/>
            <c:spPr>
              <a:solidFill>
                <a:srgbClr val="E6E5E5"/>
              </a:solidFill>
            </c:spPr>
            <c:extLst>
              <c:ext xmlns:c16="http://schemas.microsoft.com/office/drawing/2014/chart" uri="{C3380CC4-5D6E-409C-BE32-E72D297353CC}">
                <c16:uniqueId val="{0000003D-902D-4251-AC41-C6D4CBCA5CD6}"/>
              </c:ext>
            </c:extLst>
          </c:dPt>
          <c:dPt>
            <c:idx val="31"/>
            <c:invertIfNegative val="1"/>
            <c:bubble3D val="0"/>
            <c:spPr>
              <a:solidFill>
                <a:srgbClr val="E6E5E5"/>
              </a:solidFill>
            </c:spPr>
            <c:extLst>
              <c:ext xmlns:c16="http://schemas.microsoft.com/office/drawing/2014/chart" uri="{C3380CC4-5D6E-409C-BE32-E72D297353CC}">
                <c16:uniqueId val="{0000003F-902D-4251-AC41-C6D4CBCA5CD6}"/>
              </c:ext>
            </c:extLst>
          </c:dPt>
          <c:dPt>
            <c:idx val="32"/>
            <c:invertIfNegative val="0"/>
            <c:bubble3D val="0"/>
            <c:spPr>
              <a:solidFill>
                <a:srgbClr val="E6E5E5"/>
              </a:solidFill>
              <a:ln>
                <a:noFill/>
              </a:ln>
              <a:effectLst/>
            </c:spPr>
            <c:extLst>
              <c:ext xmlns:c16="http://schemas.microsoft.com/office/drawing/2014/chart" uri="{C3380CC4-5D6E-409C-BE32-E72D297353CC}">
                <c16:uniqueId val="{00000041-902D-4251-AC41-C6D4CBCA5CD6}"/>
              </c:ext>
            </c:extLst>
          </c:dPt>
          <c:dPt>
            <c:idx val="33"/>
            <c:invertIfNegative val="1"/>
            <c:bubble3D val="0"/>
            <c:spPr>
              <a:solidFill>
                <a:srgbClr val="E6E5E5"/>
              </a:solidFill>
            </c:spPr>
            <c:extLst>
              <c:ext xmlns:c16="http://schemas.microsoft.com/office/drawing/2014/chart" uri="{C3380CC4-5D6E-409C-BE32-E72D297353CC}">
                <c16:uniqueId val="{00000043-902D-4251-AC41-C6D4CBCA5CD6}"/>
              </c:ext>
            </c:extLst>
          </c:dPt>
          <c:dPt>
            <c:idx val="34"/>
            <c:invertIfNegative val="1"/>
            <c:bubble3D val="0"/>
            <c:spPr>
              <a:solidFill>
                <a:srgbClr val="E6E5E5"/>
              </a:solidFill>
            </c:spPr>
            <c:extLst>
              <c:ext xmlns:c16="http://schemas.microsoft.com/office/drawing/2014/chart" uri="{C3380CC4-5D6E-409C-BE32-E72D297353CC}">
                <c16:uniqueId val="{00000045-902D-4251-AC41-C6D4CBCA5CD6}"/>
              </c:ext>
            </c:extLst>
          </c:dPt>
          <c:dPt>
            <c:idx val="35"/>
            <c:invertIfNegative val="1"/>
            <c:bubble3D val="0"/>
            <c:spPr>
              <a:solidFill>
                <a:srgbClr val="E6E5E5"/>
              </a:solidFill>
            </c:spPr>
            <c:extLst>
              <c:ext xmlns:c16="http://schemas.microsoft.com/office/drawing/2014/chart" uri="{C3380CC4-5D6E-409C-BE32-E72D297353CC}">
                <c16:uniqueId val="{00000047-902D-4251-AC41-C6D4CBCA5CD6}"/>
              </c:ext>
            </c:extLst>
          </c:dPt>
          <c:dPt>
            <c:idx val="36"/>
            <c:invertIfNegative val="1"/>
            <c:bubble3D val="0"/>
            <c:spPr>
              <a:solidFill>
                <a:srgbClr val="E6E5E5"/>
              </a:solidFill>
            </c:spPr>
            <c:extLst>
              <c:ext xmlns:c16="http://schemas.microsoft.com/office/drawing/2014/chart" uri="{C3380CC4-5D6E-409C-BE32-E72D297353CC}">
                <c16:uniqueId val="{00000049-902D-4251-AC41-C6D4CBCA5CD6}"/>
              </c:ext>
            </c:extLst>
          </c:dPt>
          <c:dPt>
            <c:idx val="37"/>
            <c:invertIfNegative val="1"/>
            <c:bubble3D val="0"/>
            <c:spPr>
              <a:solidFill>
                <a:srgbClr val="E6E5E5"/>
              </a:solidFill>
            </c:spPr>
            <c:extLst>
              <c:ext xmlns:c16="http://schemas.microsoft.com/office/drawing/2014/chart" uri="{C3380CC4-5D6E-409C-BE32-E72D297353CC}">
                <c16:uniqueId val="{0000004B-902D-4251-AC41-C6D4CBCA5CD6}"/>
              </c:ext>
            </c:extLst>
          </c:dPt>
          <c:dPt>
            <c:idx val="38"/>
            <c:invertIfNegative val="1"/>
            <c:bubble3D val="0"/>
            <c:spPr>
              <a:solidFill>
                <a:srgbClr val="E6E5E5"/>
              </a:solidFill>
            </c:spPr>
            <c:extLst>
              <c:ext xmlns:c16="http://schemas.microsoft.com/office/drawing/2014/chart" uri="{C3380CC4-5D6E-409C-BE32-E72D297353CC}">
                <c16:uniqueId val="{0000004D-902D-4251-AC41-C6D4CBCA5CD6}"/>
              </c:ext>
            </c:extLst>
          </c:dPt>
          <c:dPt>
            <c:idx val="39"/>
            <c:invertIfNegative val="1"/>
            <c:bubble3D val="0"/>
            <c:spPr>
              <a:solidFill>
                <a:srgbClr val="E6E5E5"/>
              </a:solidFill>
            </c:spPr>
            <c:extLst>
              <c:ext xmlns:c16="http://schemas.microsoft.com/office/drawing/2014/chart" uri="{C3380CC4-5D6E-409C-BE32-E72D297353CC}">
                <c16:uniqueId val="{0000004F-902D-4251-AC41-C6D4CBCA5CD6}"/>
              </c:ext>
            </c:extLst>
          </c:dPt>
          <c:dPt>
            <c:idx val="40"/>
            <c:invertIfNegative val="1"/>
            <c:bubble3D val="0"/>
            <c:spPr>
              <a:solidFill>
                <a:srgbClr val="E6E5E5"/>
              </a:solidFill>
            </c:spPr>
            <c:extLst>
              <c:ext xmlns:c16="http://schemas.microsoft.com/office/drawing/2014/chart" uri="{C3380CC4-5D6E-409C-BE32-E72D297353CC}">
                <c16:uniqueId val="{00000051-902D-4251-AC41-C6D4CBCA5CD6}"/>
              </c:ext>
            </c:extLst>
          </c:dPt>
          <c:dPt>
            <c:idx val="41"/>
            <c:invertIfNegative val="1"/>
            <c:bubble3D val="0"/>
            <c:spPr>
              <a:solidFill>
                <a:srgbClr val="E6E5E5"/>
              </a:solidFill>
            </c:spPr>
            <c:extLst>
              <c:ext xmlns:c16="http://schemas.microsoft.com/office/drawing/2014/chart" uri="{C3380CC4-5D6E-409C-BE32-E72D297353CC}">
                <c16:uniqueId val="{00000053-902D-4251-AC41-C6D4CBCA5CD6}"/>
              </c:ext>
            </c:extLst>
          </c:dPt>
          <c:dPt>
            <c:idx val="42"/>
            <c:invertIfNegative val="1"/>
            <c:bubble3D val="0"/>
            <c:spPr>
              <a:solidFill>
                <a:srgbClr val="E6E5E5"/>
              </a:solidFill>
            </c:spPr>
            <c:extLst>
              <c:ext xmlns:c16="http://schemas.microsoft.com/office/drawing/2014/chart" uri="{C3380CC4-5D6E-409C-BE32-E72D297353CC}">
                <c16:uniqueId val="{00000055-902D-4251-AC41-C6D4CBCA5CD6}"/>
              </c:ext>
            </c:extLst>
          </c:dPt>
          <c:dPt>
            <c:idx val="43"/>
            <c:invertIfNegative val="1"/>
            <c:bubble3D val="0"/>
            <c:spPr>
              <a:solidFill>
                <a:srgbClr val="E6E5E5"/>
              </a:solidFill>
            </c:spPr>
            <c:extLst>
              <c:ext xmlns:c16="http://schemas.microsoft.com/office/drawing/2014/chart" uri="{C3380CC4-5D6E-409C-BE32-E72D297353CC}">
                <c16:uniqueId val="{00000057-902D-4251-AC41-C6D4CBCA5CD6}"/>
              </c:ext>
            </c:extLst>
          </c:dPt>
          <c:dPt>
            <c:idx val="44"/>
            <c:invertIfNegative val="0"/>
            <c:bubble3D val="0"/>
            <c:spPr>
              <a:solidFill>
                <a:srgbClr val="E6E5E5"/>
              </a:solidFill>
              <a:ln>
                <a:noFill/>
              </a:ln>
              <a:effectLst/>
            </c:spPr>
            <c:extLst>
              <c:ext xmlns:c16="http://schemas.microsoft.com/office/drawing/2014/chart" uri="{C3380CC4-5D6E-409C-BE32-E72D297353CC}">
                <c16:uniqueId val="{00000059-902D-4251-AC41-C6D4CBCA5CD6}"/>
              </c:ext>
            </c:extLst>
          </c:dPt>
          <c:dPt>
            <c:idx val="45"/>
            <c:invertIfNegative val="1"/>
            <c:bubble3D val="0"/>
            <c:spPr>
              <a:solidFill>
                <a:srgbClr val="E6E5E5"/>
              </a:solidFill>
            </c:spPr>
            <c:extLst>
              <c:ext xmlns:c16="http://schemas.microsoft.com/office/drawing/2014/chart" uri="{C3380CC4-5D6E-409C-BE32-E72D297353CC}">
                <c16:uniqueId val="{0000005B-902D-4251-AC41-C6D4CBCA5CD6}"/>
              </c:ext>
            </c:extLst>
          </c:dPt>
          <c:dPt>
            <c:idx val="46"/>
            <c:invertIfNegative val="1"/>
            <c:bubble3D val="0"/>
            <c:spPr>
              <a:solidFill>
                <a:srgbClr val="E6E5E5"/>
              </a:solidFill>
            </c:spPr>
            <c:extLst>
              <c:ext xmlns:c16="http://schemas.microsoft.com/office/drawing/2014/chart" uri="{C3380CC4-5D6E-409C-BE32-E72D297353CC}">
                <c16:uniqueId val="{0000005D-902D-4251-AC41-C6D4CBCA5CD6}"/>
              </c:ext>
            </c:extLst>
          </c:dPt>
          <c:dPt>
            <c:idx val="47"/>
            <c:invertIfNegative val="1"/>
            <c:bubble3D val="0"/>
            <c:spPr>
              <a:solidFill>
                <a:srgbClr val="E6E5E5"/>
              </a:solidFill>
            </c:spPr>
            <c:extLst>
              <c:ext xmlns:c16="http://schemas.microsoft.com/office/drawing/2014/chart" uri="{C3380CC4-5D6E-409C-BE32-E72D297353CC}">
                <c16:uniqueId val="{0000005F-902D-4251-AC41-C6D4CBCA5CD6}"/>
              </c:ext>
            </c:extLst>
          </c:dPt>
          <c:dPt>
            <c:idx val="48"/>
            <c:invertIfNegative val="1"/>
            <c:bubble3D val="0"/>
            <c:spPr>
              <a:solidFill>
                <a:srgbClr val="E6E5E5"/>
              </a:solidFill>
            </c:spPr>
            <c:extLst>
              <c:ext xmlns:c16="http://schemas.microsoft.com/office/drawing/2014/chart" uri="{C3380CC4-5D6E-409C-BE32-E72D297353CC}">
                <c16:uniqueId val="{00000061-902D-4251-AC41-C6D4CBCA5CD6}"/>
              </c:ext>
            </c:extLst>
          </c:dPt>
          <c:dPt>
            <c:idx val="49"/>
            <c:invertIfNegative val="0"/>
            <c:bubble3D val="0"/>
            <c:spPr>
              <a:solidFill>
                <a:srgbClr val="E6E5E5"/>
              </a:solidFill>
              <a:ln>
                <a:noFill/>
              </a:ln>
              <a:effectLst/>
            </c:spPr>
            <c:extLst>
              <c:ext xmlns:c16="http://schemas.microsoft.com/office/drawing/2014/chart" uri="{C3380CC4-5D6E-409C-BE32-E72D297353CC}">
                <c16:uniqueId val="{00000063-902D-4251-AC41-C6D4CBCA5CD6}"/>
              </c:ext>
            </c:extLst>
          </c:dPt>
          <c:dPt>
            <c:idx val="50"/>
            <c:invertIfNegative val="0"/>
            <c:bubble3D val="0"/>
            <c:spPr>
              <a:solidFill>
                <a:srgbClr val="E6E5E5"/>
              </a:solidFill>
              <a:ln>
                <a:noFill/>
              </a:ln>
              <a:effectLst/>
            </c:spPr>
            <c:extLst>
              <c:ext xmlns:c16="http://schemas.microsoft.com/office/drawing/2014/chart" uri="{C3380CC4-5D6E-409C-BE32-E72D297353CC}">
                <c16:uniqueId val="{00000065-902D-4251-AC41-C6D4CBCA5CD6}"/>
              </c:ext>
            </c:extLst>
          </c:dPt>
          <c:dPt>
            <c:idx val="51"/>
            <c:invertIfNegative val="1"/>
            <c:bubble3D val="0"/>
            <c:spPr>
              <a:solidFill>
                <a:srgbClr val="E6E5E5"/>
              </a:solidFill>
            </c:spPr>
            <c:extLst>
              <c:ext xmlns:c16="http://schemas.microsoft.com/office/drawing/2014/chart" uri="{C3380CC4-5D6E-409C-BE32-E72D297353CC}">
                <c16:uniqueId val="{00000067-902D-4251-AC41-C6D4CBCA5CD6}"/>
              </c:ext>
            </c:extLst>
          </c:dPt>
          <c:dPt>
            <c:idx val="52"/>
            <c:invertIfNegative val="1"/>
            <c:bubble3D val="0"/>
            <c:spPr>
              <a:solidFill>
                <a:srgbClr val="E6E5E5"/>
              </a:solidFill>
            </c:spPr>
            <c:extLst>
              <c:ext xmlns:c16="http://schemas.microsoft.com/office/drawing/2014/chart" uri="{C3380CC4-5D6E-409C-BE32-E72D297353CC}">
                <c16:uniqueId val="{00000069-902D-4251-AC41-C6D4CBCA5CD6}"/>
              </c:ext>
            </c:extLst>
          </c:dPt>
          <c:dPt>
            <c:idx val="53"/>
            <c:invertIfNegative val="1"/>
            <c:bubble3D val="0"/>
            <c:spPr>
              <a:solidFill>
                <a:srgbClr val="E6E5E5"/>
              </a:solidFill>
            </c:spPr>
            <c:extLst>
              <c:ext xmlns:c16="http://schemas.microsoft.com/office/drawing/2014/chart" uri="{C3380CC4-5D6E-409C-BE32-E72D297353CC}">
                <c16:uniqueId val="{0000006B-B2E8-4080-83D6-EECA18439E6A}"/>
              </c:ext>
            </c:extLst>
          </c:dPt>
          <c:dPt>
            <c:idx val="54"/>
            <c:invertIfNegative val="1"/>
            <c:bubble3D val="0"/>
            <c:spPr>
              <a:solidFill>
                <a:srgbClr val="E6E5E5"/>
              </a:solidFill>
            </c:spPr>
            <c:extLst>
              <c:ext xmlns:c16="http://schemas.microsoft.com/office/drawing/2014/chart" uri="{C3380CC4-5D6E-409C-BE32-E72D297353CC}">
                <c16:uniqueId val="{0000006D-B2E8-4080-83D6-EECA18439E6A}"/>
              </c:ext>
            </c:extLst>
          </c:dPt>
          <c:dPt>
            <c:idx val="55"/>
            <c:invertIfNegative val="1"/>
            <c:bubble3D val="0"/>
            <c:spPr>
              <a:solidFill>
                <a:srgbClr val="E6E5E5"/>
              </a:solidFill>
            </c:spPr>
            <c:extLst>
              <c:ext xmlns:c16="http://schemas.microsoft.com/office/drawing/2014/chart" uri="{C3380CC4-5D6E-409C-BE32-E72D297353CC}">
                <c16:uniqueId val="{0000006F-B2E8-4080-83D6-EECA18439E6A}"/>
              </c:ext>
            </c:extLst>
          </c:dPt>
          <c:dPt>
            <c:idx val="56"/>
            <c:invertIfNegative val="1"/>
            <c:bubble3D val="0"/>
            <c:spPr>
              <a:solidFill>
                <a:srgbClr val="E6E5E5"/>
              </a:solidFill>
            </c:spPr>
            <c:extLst>
              <c:ext xmlns:c16="http://schemas.microsoft.com/office/drawing/2014/chart" uri="{C3380CC4-5D6E-409C-BE32-E72D297353CC}">
                <c16:uniqueId val="{00000071-B2E8-4080-83D6-EECA18439E6A}"/>
              </c:ext>
            </c:extLst>
          </c:dPt>
          <c:dPt>
            <c:idx val="57"/>
            <c:invertIfNegative val="1"/>
            <c:bubble3D val="0"/>
            <c:spPr>
              <a:solidFill>
                <a:srgbClr val="E6E5E5"/>
              </a:solidFill>
            </c:spPr>
            <c:extLst>
              <c:ext xmlns:c16="http://schemas.microsoft.com/office/drawing/2014/chart" uri="{C3380CC4-5D6E-409C-BE32-E72D297353CC}">
                <c16:uniqueId val="{00000073-B2E8-4080-83D6-EECA18439E6A}"/>
              </c:ext>
            </c:extLst>
          </c:dPt>
          <c:dPt>
            <c:idx val="58"/>
            <c:invertIfNegative val="1"/>
            <c:bubble3D val="0"/>
            <c:spPr>
              <a:solidFill>
                <a:srgbClr val="E6E5E5"/>
              </a:solidFill>
            </c:spPr>
            <c:extLst>
              <c:ext xmlns:c16="http://schemas.microsoft.com/office/drawing/2014/chart" uri="{C3380CC4-5D6E-409C-BE32-E72D297353CC}">
                <c16:uniqueId val="{00000075-B2E8-4080-83D6-EECA18439E6A}"/>
              </c:ext>
            </c:extLst>
          </c:dPt>
          <c:dPt>
            <c:idx val="59"/>
            <c:invertIfNegative val="1"/>
            <c:bubble3D val="0"/>
            <c:spPr>
              <a:solidFill>
                <a:srgbClr val="E6E5E5"/>
              </a:solidFill>
            </c:spPr>
            <c:extLst>
              <c:ext xmlns:c16="http://schemas.microsoft.com/office/drawing/2014/chart" uri="{C3380CC4-5D6E-409C-BE32-E72D297353CC}">
                <c16:uniqueId val="{00000077-B2E8-4080-83D6-EECA18439E6A}"/>
              </c:ext>
            </c:extLst>
          </c:dPt>
          <c:dPt>
            <c:idx val="60"/>
            <c:invertIfNegative val="1"/>
            <c:bubble3D val="0"/>
            <c:spPr>
              <a:solidFill>
                <a:srgbClr val="E6E5E5"/>
              </a:solidFill>
            </c:spPr>
            <c:extLst>
              <c:ext xmlns:c16="http://schemas.microsoft.com/office/drawing/2014/chart" uri="{C3380CC4-5D6E-409C-BE32-E72D297353CC}">
                <c16:uniqueId val="{00000079-B2E8-4080-83D6-EECA18439E6A}"/>
              </c:ext>
            </c:extLst>
          </c:dPt>
          <c:dPt>
            <c:idx val="61"/>
            <c:invertIfNegative val="1"/>
            <c:bubble3D val="0"/>
            <c:spPr>
              <a:solidFill>
                <a:srgbClr val="E6E5E5"/>
              </a:solidFill>
            </c:spPr>
            <c:extLst>
              <c:ext xmlns:c16="http://schemas.microsoft.com/office/drawing/2014/chart" uri="{C3380CC4-5D6E-409C-BE32-E72D297353CC}">
                <c16:uniqueId val="{0000007B-B2E8-4080-83D6-EECA18439E6A}"/>
              </c:ext>
            </c:extLst>
          </c:dPt>
          <c:dPt>
            <c:idx val="62"/>
            <c:invertIfNegative val="1"/>
            <c:bubble3D val="0"/>
            <c:spPr>
              <a:solidFill>
                <a:srgbClr val="E6E5E5"/>
              </a:solidFill>
            </c:spPr>
            <c:extLst>
              <c:ext xmlns:c16="http://schemas.microsoft.com/office/drawing/2014/chart" uri="{C3380CC4-5D6E-409C-BE32-E72D297353CC}">
                <c16:uniqueId val="{0000007D-B2E8-4080-83D6-EECA18439E6A}"/>
              </c:ext>
            </c:extLst>
          </c:dPt>
          <c:dPt>
            <c:idx val="63"/>
            <c:invertIfNegative val="1"/>
            <c:bubble3D val="0"/>
            <c:spPr>
              <a:solidFill>
                <a:srgbClr val="E6E5E5"/>
              </a:solidFill>
            </c:spPr>
            <c:extLst>
              <c:ext xmlns:c16="http://schemas.microsoft.com/office/drawing/2014/chart" uri="{C3380CC4-5D6E-409C-BE32-E72D297353CC}">
                <c16:uniqueId val="{0000007F-B2E8-4080-83D6-EECA18439E6A}"/>
              </c:ext>
            </c:extLst>
          </c:dPt>
          <c:dPt>
            <c:idx val="64"/>
            <c:invertIfNegative val="1"/>
            <c:bubble3D val="0"/>
            <c:spPr>
              <a:solidFill>
                <a:srgbClr val="E6E5E5"/>
              </a:solidFill>
            </c:spPr>
            <c:extLst>
              <c:ext xmlns:c16="http://schemas.microsoft.com/office/drawing/2014/chart" uri="{C3380CC4-5D6E-409C-BE32-E72D297353CC}">
                <c16:uniqueId val="{00000081-B2E8-4080-83D6-EECA18439E6A}"/>
              </c:ext>
            </c:extLst>
          </c:dPt>
          <c:dPt>
            <c:idx val="65"/>
            <c:invertIfNegative val="1"/>
            <c:bubble3D val="0"/>
            <c:spPr>
              <a:solidFill>
                <a:srgbClr val="E6E5E5"/>
              </a:solidFill>
            </c:spPr>
            <c:extLst>
              <c:ext xmlns:c16="http://schemas.microsoft.com/office/drawing/2014/chart" uri="{C3380CC4-5D6E-409C-BE32-E72D297353CC}">
                <c16:uniqueId val="{00000083-B2E8-4080-83D6-EECA18439E6A}"/>
              </c:ext>
            </c:extLst>
          </c:dPt>
          <c:dPt>
            <c:idx val="66"/>
            <c:invertIfNegative val="1"/>
            <c:bubble3D val="0"/>
            <c:spPr>
              <a:solidFill>
                <a:srgbClr val="E6E5E5"/>
              </a:solidFill>
            </c:spPr>
            <c:extLst>
              <c:ext xmlns:c16="http://schemas.microsoft.com/office/drawing/2014/chart" uri="{C3380CC4-5D6E-409C-BE32-E72D297353CC}">
                <c16:uniqueId val="{00000085-B2E8-4080-83D6-EECA18439E6A}"/>
              </c:ext>
            </c:extLst>
          </c:dPt>
          <c:dPt>
            <c:idx val="67"/>
            <c:invertIfNegative val="1"/>
            <c:bubble3D val="0"/>
            <c:spPr>
              <a:solidFill>
                <a:srgbClr val="E6E5E5"/>
              </a:solidFill>
            </c:spPr>
            <c:extLst>
              <c:ext xmlns:c16="http://schemas.microsoft.com/office/drawing/2014/chart" uri="{C3380CC4-5D6E-409C-BE32-E72D297353CC}">
                <c16:uniqueId val="{00000087-B2E8-4080-83D6-EECA18439E6A}"/>
              </c:ext>
            </c:extLst>
          </c:dPt>
          <c:dPt>
            <c:idx val="68"/>
            <c:invertIfNegative val="1"/>
            <c:bubble3D val="0"/>
            <c:spPr>
              <a:solidFill>
                <a:srgbClr val="E6E5E5"/>
              </a:solidFill>
            </c:spPr>
            <c:extLst>
              <c:ext xmlns:c16="http://schemas.microsoft.com/office/drawing/2014/chart" uri="{C3380CC4-5D6E-409C-BE32-E72D297353CC}">
                <c16:uniqueId val="{00000089-B2E8-4080-83D6-EECA18439E6A}"/>
              </c:ext>
            </c:extLst>
          </c:dPt>
          <c:dPt>
            <c:idx val="69"/>
            <c:invertIfNegative val="1"/>
            <c:bubble3D val="0"/>
            <c:spPr>
              <a:solidFill>
                <a:srgbClr val="E6E5E5"/>
              </a:solidFill>
            </c:spPr>
            <c:extLst>
              <c:ext xmlns:c16="http://schemas.microsoft.com/office/drawing/2014/chart" uri="{C3380CC4-5D6E-409C-BE32-E72D297353CC}">
                <c16:uniqueId val="{0000008B-B2E8-4080-83D6-EECA18439E6A}"/>
              </c:ext>
            </c:extLst>
          </c:dPt>
          <c:dPt>
            <c:idx val="70"/>
            <c:invertIfNegative val="1"/>
            <c:bubble3D val="0"/>
            <c:spPr>
              <a:solidFill>
                <a:srgbClr val="E6E5E5"/>
              </a:solidFill>
            </c:spPr>
            <c:extLst>
              <c:ext xmlns:c16="http://schemas.microsoft.com/office/drawing/2014/chart" uri="{C3380CC4-5D6E-409C-BE32-E72D297353CC}">
                <c16:uniqueId val="{0000008D-B2E8-4080-83D6-EECA18439E6A}"/>
              </c:ext>
            </c:extLst>
          </c:dPt>
          <c:dPt>
            <c:idx val="71"/>
            <c:invertIfNegative val="1"/>
            <c:bubble3D val="0"/>
            <c:spPr>
              <a:solidFill>
                <a:srgbClr val="E6E5E5"/>
              </a:solidFill>
            </c:spPr>
            <c:extLst>
              <c:ext xmlns:c16="http://schemas.microsoft.com/office/drawing/2014/chart" uri="{C3380CC4-5D6E-409C-BE32-E72D297353CC}">
                <c16:uniqueId val="{0000008F-B2E8-4080-83D6-EECA18439E6A}"/>
              </c:ext>
            </c:extLst>
          </c:dPt>
          <c:dPt>
            <c:idx val="72"/>
            <c:invertIfNegative val="1"/>
            <c:bubble3D val="0"/>
            <c:spPr>
              <a:solidFill>
                <a:srgbClr val="E6E5E5"/>
              </a:solidFill>
            </c:spPr>
            <c:extLst>
              <c:ext xmlns:c16="http://schemas.microsoft.com/office/drawing/2014/chart" uri="{C3380CC4-5D6E-409C-BE32-E72D297353CC}">
                <c16:uniqueId val="{00000091-B2E8-4080-83D6-EECA18439E6A}"/>
              </c:ext>
            </c:extLst>
          </c:dPt>
          <c:dPt>
            <c:idx val="73"/>
            <c:invertIfNegative val="1"/>
            <c:bubble3D val="0"/>
            <c:spPr>
              <a:solidFill>
                <a:srgbClr val="E6E5E5"/>
              </a:solidFill>
            </c:spPr>
            <c:extLst>
              <c:ext xmlns:c16="http://schemas.microsoft.com/office/drawing/2014/chart" uri="{C3380CC4-5D6E-409C-BE32-E72D297353CC}">
                <c16:uniqueId val="{00000093-B2E8-4080-83D6-EECA18439E6A}"/>
              </c:ext>
            </c:extLst>
          </c:dPt>
          <c:dPt>
            <c:idx val="74"/>
            <c:invertIfNegative val="1"/>
            <c:bubble3D val="0"/>
            <c:spPr>
              <a:solidFill>
                <a:srgbClr val="E6E5E5"/>
              </a:solidFill>
            </c:spPr>
            <c:extLst>
              <c:ext xmlns:c16="http://schemas.microsoft.com/office/drawing/2014/chart" uri="{C3380CC4-5D6E-409C-BE32-E72D297353CC}">
                <c16:uniqueId val="{00000095-B2E8-4080-83D6-EECA18439E6A}"/>
              </c:ext>
            </c:extLst>
          </c:dPt>
          <c:dPt>
            <c:idx val="75"/>
            <c:invertIfNegative val="1"/>
            <c:bubble3D val="0"/>
            <c:spPr>
              <a:solidFill>
                <a:srgbClr val="E6E5E5"/>
              </a:solidFill>
            </c:spPr>
            <c:extLst>
              <c:ext xmlns:c16="http://schemas.microsoft.com/office/drawing/2014/chart" uri="{C3380CC4-5D6E-409C-BE32-E72D297353CC}">
                <c16:uniqueId val="{00000097-B2E8-4080-83D6-EECA18439E6A}"/>
              </c:ext>
            </c:extLst>
          </c:dPt>
          <c:dPt>
            <c:idx val="76"/>
            <c:invertIfNegative val="1"/>
            <c:bubble3D val="0"/>
            <c:spPr>
              <a:solidFill>
                <a:srgbClr val="E6E5E5"/>
              </a:solidFill>
            </c:spPr>
            <c:extLst>
              <c:ext xmlns:c16="http://schemas.microsoft.com/office/drawing/2014/chart" uri="{C3380CC4-5D6E-409C-BE32-E72D297353CC}">
                <c16:uniqueId val="{00000099-B2E8-4080-83D6-EECA18439E6A}"/>
              </c:ext>
            </c:extLst>
          </c:dPt>
          <c:dPt>
            <c:idx val="77"/>
            <c:invertIfNegative val="1"/>
            <c:bubble3D val="0"/>
            <c:spPr>
              <a:solidFill>
                <a:srgbClr val="E6E5E5"/>
              </a:solidFill>
            </c:spPr>
            <c:extLst>
              <c:ext xmlns:c16="http://schemas.microsoft.com/office/drawing/2014/chart" uri="{C3380CC4-5D6E-409C-BE32-E72D297353CC}">
                <c16:uniqueId val="{0000009B-B2E8-4080-83D6-EECA18439E6A}"/>
              </c:ext>
            </c:extLst>
          </c:dPt>
          <c:dPt>
            <c:idx val="78"/>
            <c:invertIfNegative val="1"/>
            <c:bubble3D val="0"/>
            <c:spPr>
              <a:solidFill>
                <a:srgbClr val="E6E5E5"/>
              </a:solidFill>
            </c:spPr>
            <c:extLst>
              <c:ext xmlns:c16="http://schemas.microsoft.com/office/drawing/2014/chart" uri="{C3380CC4-5D6E-409C-BE32-E72D297353CC}">
                <c16:uniqueId val="{0000009D-B2E8-4080-83D6-EECA18439E6A}"/>
              </c:ext>
            </c:extLst>
          </c:dPt>
          <c:dPt>
            <c:idx val="79"/>
            <c:invertIfNegative val="1"/>
            <c:bubble3D val="0"/>
            <c:spPr>
              <a:solidFill>
                <a:srgbClr val="E6E5E5"/>
              </a:solidFill>
            </c:spPr>
            <c:extLst>
              <c:ext xmlns:c16="http://schemas.microsoft.com/office/drawing/2014/chart" uri="{C3380CC4-5D6E-409C-BE32-E72D297353CC}">
                <c16:uniqueId val="{0000009F-B2E8-4080-83D6-EECA18439E6A}"/>
              </c:ext>
            </c:extLst>
          </c:dPt>
          <c:dPt>
            <c:idx val="80"/>
            <c:invertIfNegative val="1"/>
            <c:bubble3D val="0"/>
            <c:spPr>
              <a:solidFill>
                <a:srgbClr val="E6E5E5"/>
              </a:solidFill>
            </c:spPr>
            <c:extLst>
              <c:ext xmlns:c16="http://schemas.microsoft.com/office/drawing/2014/chart" uri="{C3380CC4-5D6E-409C-BE32-E72D297353CC}">
                <c16:uniqueId val="{000000A1-B2E8-4080-83D6-EECA18439E6A}"/>
              </c:ext>
            </c:extLst>
          </c:dPt>
          <c:dPt>
            <c:idx val="81"/>
            <c:invertIfNegative val="1"/>
            <c:bubble3D val="0"/>
            <c:spPr>
              <a:solidFill>
                <a:srgbClr val="E6E5E5"/>
              </a:solidFill>
            </c:spPr>
            <c:extLst>
              <c:ext xmlns:c16="http://schemas.microsoft.com/office/drawing/2014/chart" uri="{C3380CC4-5D6E-409C-BE32-E72D297353CC}">
                <c16:uniqueId val="{000000A3-B2E8-4080-83D6-EECA18439E6A}"/>
              </c:ext>
            </c:extLst>
          </c:dPt>
          <c:dPt>
            <c:idx val="82"/>
            <c:invertIfNegative val="1"/>
            <c:bubble3D val="0"/>
            <c:spPr>
              <a:solidFill>
                <a:srgbClr val="E6E5E5"/>
              </a:solidFill>
            </c:spPr>
            <c:extLst>
              <c:ext xmlns:c16="http://schemas.microsoft.com/office/drawing/2014/chart" uri="{C3380CC4-5D6E-409C-BE32-E72D297353CC}">
                <c16:uniqueId val="{000000A5-B2E8-4080-83D6-EECA18439E6A}"/>
              </c:ext>
            </c:extLst>
          </c:dPt>
          <c:dPt>
            <c:idx val="83"/>
            <c:invertIfNegative val="1"/>
            <c:bubble3D val="0"/>
            <c:spPr>
              <a:solidFill>
                <a:srgbClr val="E6E5E5"/>
              </a:solidFill>
            </c:spPr>
            <c:extLst>
              <c:ext xmlns:c16="http://schemas.microsoft.com/office/drawing/2014/chart" uri="{C3380CC4-5D6E-409C-BE32-E72D297353CC}">
                <c16:uniqueId val="{000000A7-B2E8-4080-83D6-EECA18439E6A}"/>
              </c:ext>
            </c:extLst>
          </c:dPt>
          <c:dPt>
            <c:idx val="84"/>
            <c:invertIfNegative val="1"/>
            <c:bubble3D val="0"/>
            <c:spPr>
              <a:solidFill>
                <a:srgbClr val="E6E5E5"/>
              </a:solidFill>
            </c:spPr>
            <c:extLst>
              <c:ext xmlns:c16="http://schemas.microsoft.com/office/drawing/2014/chart" uri="{C3380CC4-5D6E-409C-BE32-E72D297353CC}">
                <c16:uniqueId val="{000000A9-B2E8-4080-83D6-EECA18439E6A}"/>
              </c:ext>
            </c:extLst>
          </c:dPt>
          <c:dPt>
            <c:idx val="85"/>
            <c:invertIfNegative val="1"/>
            <c:bubble3D val="0"/>
            <c:spPr>
              <a:solidFill>
                <a:srgbClr val="E6E5E5"/>
              </a:solidFill>
            </c:spPr>
            <c:extLst>
              <c:ext xmlns:c16="http://schemas.microsoft.com/office/drawing/2014/chart" uri="{C3380CC4-5D6E-409C-BE32-E72D297353CC}">
                <c16:uniqueId val="{000000AB-B2E8-4080-83D6-EECA18439E6A}"/>
              </c:ext>
            </c:extLst>
          </c:dPt>
          <c:dPt>
            <c:idx val="86"/>
            <c:invertIfNegative val="1"/>
            <c:bubble3D val="0"/>
            <c:spPr>
              <a:solidFill>
                <a:srgbClr val="E6E5E5"/>
              </a:solidFill>
            </c:spPr>
            <c:extLst>
              <c:ext xmlns:c16="http://schemas.microsoft.com/office/drawing/2014/chart" uri="{C3380CC4-5D6E-409C-BE32-E72D297353CC}">
                <c16:uniqueId val="{000000AD-B2E8-4080-83D6-EECA18439E6A}"/>
              </c:ext>
            </c:extLst>
          </c:dPt>
          <c:dPt>
            <c:idx val="87"/>
            <c:invertIfNegative val="1"/>
            <c:bubble3D val="0"/>
            <c:spPr>
              <a:solidFill>
                <a:srgbClr val="E6E5E5"/>
              </a:solidFill>
            </c:spPr>
            <c:extLst>
              <c:ext xmlns:c16="http://schemas.microsoft.com/office/drawing/2014/chart" uri="{C3380CC4-5D6E-409C-BE32-E72D297353CC}">
                <c16:uniqueId val="{000000AF-B2E8-4080-83D6-EECA18439E6A}"/>
              </c:ext>
            </c:extLst>
          </c:dPt>
          <c:dPt>
            <c:idx val="88"/>
            <c:invertIfNegative val="1"/>
            <c:bubble3D val="0"/>
            <c:spPr>
              <a:solidFill>
                <a:srgbClr val="E6E5E5"/>
              </a:solidFill>
            </c:spPr>
            <c:extLst>
              <c:ext xmlns:c16="http://schemas.microsoft.com/office/drawing/2014/chart" uri="{C3380CC4-5D6E-409C-BE32-E72D297353CC}">
                <c16:uniqueId val="{000000B1-B2E8-4080-83D6-EECA18439E6A}"/>
              </c:ext>
            </c:extLst>
          </c:dPt>
          <c:dPt>
            <c:idx val="89"/>
            <c:invertIfNegative val="1"/>
            <c:bubble3D val="0"/>
            <c:spPr>
              <a:solidFill>
                <a:srgbClr val="E6E5E5"/>
              </a:solidFill>
            </c:spPr>
            <c:extLst>
              <c:ext xmlns:c16="http://schemas.microsoft.com/office/drawing/2014/chart" uri="{C3380CC4-5D6E-409C-BE32-E72D297353CC}">
                <c16:uniqueId val="{000000B3-B2E8-4080-83D6-EECA18439E6A}"/>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902D-4251-AC41-C6D4CBCA5CD6}"/>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902D-4251-AC41-C6D4CBCA5CD6}"/>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902D-4251-AC41-C6D4CBCA5CD6}"/>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902D-4251-AC41-C6D4CBCA5CD6}"/>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902D-4251-AC41-C6D4CBCA5CD6}"/>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902D-4251-AC41-C6D4CBCA5CD6}"/>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902D-4251-AC41-C6D4CBCA5CD6}"/>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902D-4251-AC41-C6D4CBCA5CD6}"/>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902D-4251-AC41-C6D4CBCA5CD6}"/>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02D-4251-AC41-C6D4CBCA5CD6}"/>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02D-4251-AC41-C6D4CBCA5CD6}"/>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902D-4251-AC41-C6D4CBCA5CD6}"/>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902D-4251-AC41-C6D4CBCA5CD6}"/>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902D-4251-AC41-C6D4CBCA5CD6}"/>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902D-4251-AC41-C6D4CBCA5CD6}"/>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902D-4251-AC41-C6D4CBCA5CD6}"/>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902D-4251-AC41-C6D4CBCA5CD6}"/>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902D-4251-AC41-C6D4CBCA5CD6}"/>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902D-4251-AC41-C6D4CBCA5CD6}"/>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902D-4251-AC41-C6D4CBCA5CD6}"/>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902D-4251-AC41-C6D4CBCA5CD6}"/>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902D-4251-AC41-C6D4CBCA5CD6}"/>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902D-4251-AC41-C6D4CBCA5CD6}"/>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902D-4251-AC41-C6D4CBCA5CD6}"/>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902D-4251-AC41-C6D4CBCA5CD6}"/>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902D-4251-AC41-C6D4CBCA5CD6}"/>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902D-4251-AC41-C6D4CBCA5CD6}"/>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902D-4251-AC41-C6D4CBCA5CD6}"/>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902D-4251-AC41-C6D4CBCA5CD6}"/>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902D-4251-AC41-C6D4CBCA5CD6}"/>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902D-4251-AC41-C6D4CBCA5CD6}"/>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902D-4251-AC41-C6D4CBCA5CD6}"/>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902D-4251-AC41-C6D4CBCA5CD6}"/>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902D-4251-AC41-C6D4CBCA5CD6}"/>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902D-4251-AC41-C6D4CBCA5CD6}"/>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902D-4251-AC41-C6D4CBCA5CD6}"/>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902D-4251-AC41-C6D4CBCA5CD6}"/>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902D-4251-AC41-C6D4CBCA5CD6}"/>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902D-4251-AC41-C6D4CBCA5CD6}"/>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902D-4251-AC41-C6D4CBCA5CD6}"/>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902D-4251-AC41-C6D4CBCA5CD6}"/>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902D-4251-AC41-C6D4CBCA5CD6}"/>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902D-4251-AC41-C6D4CBCA5CD6}"/>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902D-4251-AC41-C6D4CBCA5CD6}"/>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902D-4251-AC41-C6D4CBCA5CD6}"/>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902D-4251-AC41-C6D4CBCA5CD6}"/>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902D-4251-AC41-C6D4CBCA5CD6}"/>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902D-4251-AC41-C6D4CBCA5CD6}"/>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902D-4251-AC41-C6D4CBCA5CD6}"/>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902D-4251-AC41-C6D4CBCA5CD6}"/>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902D-4251-AC41-C6D4CBCA5CD6}"/>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902D-4251-AC41-C6D4CBCA5CD6}"/>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902D-4251-AC41-C6D4CBCA5CD6}"/>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B2E8-4080-83D6-EECA18439E6A}"/>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B2E8-4080-83D6-EECA18439E6A}"/>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B2E8-4080-83D6-EECA18439E6A}"/>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B2E8-4080-83D6-EECA18439E6A}"/>
                </c:ext>
              </c:extLst>
            </c:dLbl>
            <c:dLbl>
              <c:idx val="5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B2E8-4080-83D6-EECA18439E6A}"/>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B2E8-4080-83D6-EECA18439E6A}"/>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B2E8-4080-83D6-EECA18439E6A}"/>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B2E8-4080-83D6-EECA18439E6A}"/>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B2E8-4080-83D6-EECA18439E6A}"/>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B2E8-4080-83D6-EECA18439E6A}"/>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B2E8-4080-83D6-EECA18439E6A}"/>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B2E8-4080-83D6-EECA18439E6A}"/>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B2E8-4080-83D6-EECA18439E6A}"/>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B2E8-4080-83D6-EECA18439E6A}"/>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B2E8-4080-83D6-EECA18439E6A}"/>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B2E8-4080-83D6-EECA18439E6A}"/>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B2E8-4080-83D6-EECA18439E6A}"/>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B2E8-4080-83D6-EECA18439E6A}"/>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B2E8-4080-83D6-EECA18439E6A}"/>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B2E8-4080-83D6-EECA18439E6A}"/>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B2E8-4080-83D6-EECA18439E6A}"/>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B2E8-4080-83D6-EECA18439E6A}"/>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B2E8-4080-83D6-EECA18439E6A}"/>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B2E8-4080-83D6-EECA18439E6A}"/>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B2E8-4080-83D6-EECA18439E6A}"/>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B2E8-4080-83D6-EECA18439E6A}"/>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B2E8-4080-83D6-EECA18439E6A}"/>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B2E8-4080-83D6-EECA18439E6A}"/>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B2E8-4080-83D6-EECA18439E6A}"/>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B2E8-4080-83D6-EECA18439E6A}"/>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B2E8-4080-83D6-EECA18439E6A}"/>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B2E8-4080-83D6-EECA18439E6A}"/>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B2E8-4080-83D6-EECA18439E6A}"/>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B2E8-4080-83D6-EECA18439E6A}"/>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B2E8-4080-83D6-EECA18439E6A}"/>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B2E8-4080-83D6-EECA18439E6A}"/>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9</c:f>
              <c:strCache>
                <c:ptCount val="78"/>
                <c:pt idx="0">
                  <c:v>Galaxy Jewels 1.4kg</c:v>
                </c:pt>
                <c:pt idx="1">
                  <c:v>Ferrero Rocher 300g</c:v>
                </c:pt>
                <c:pt idx="2">
                  <c:v>Galaxy Smooth Milk Chocolate 36g x 24</c:v>
                </c:pt>
                <c:pt idx="3">
                  <c:v>Galaxy Jewels 900g</c:v>
                </c:pt>
                <c:pt idx="4">
                  <c:v>Galaxy Jewels 650g</c:v>
                </c:pt>
                <c:pt idx="5">
                  <c:v>Cadbury Dairy Milk Minis Selection 500g</c:v>
                </c:pt>
                <c:pt idx="6">
                  <c:v>Kit Kat 17.7g x 18</c:v>
                </c:pt>
                <c:pt idx="7">
                  <c:v>Kinder Bueno Milk&amp;Hazelnut 43g</c:v>
                </c:pt>
                <c:pt idx="8">
                  <c:v>Tiffany Break Supa 38gx12</c:v>
                </c:pt>
                <c:pt idx="9">
                  <c:v>Snickers 50gx6</c:v>
                </c:pt>
                <c:pt idx="10">
                  <c:v>Tiffany Break 24x15.5g</c:v>
                </c:pt>
                <c:pt idx="11">
                  <c:v>Tiffany Break Mini Fun 384g</c:v>
                </c:pt>
                <c:pt idx="12">
                  <c:v>Kinder Bueno Milk&amp;Hazelnut 43gx10</c:v>
                </c:pt>
                <c:pt idx="13">
                  <c:v>Mackintosh Quality Street Chocolate 600g</c:v>
                </c:pt>
                <c:pt idx="14">
                  <c:v>Snickers Bar 50g</c:v>
                </c:pt>
                <c:pt idx="15">
                  <c:v>Maltesers Chocolate 175g</c:v>
                </c:pt>
                <c:pt idx="16">
                  <c:v>Tiffany Break 31gx12</c:v>
                </c:pt>
                <c:pt idx="17">
                  <c:v>Tiffany Break Delight 25gx12</c:v>
                </c:pt>
                <c:pt idx="18">
                  <c:v>Snickers Minis Bag 252g</c:v>
                </c:pt>
                <c:pt idx="19">
                  <c:v>Cadbury Miniatures Box 400g</c:v>
                </c:pt>
                <c:pt idx="20">
                  <c:v>Bounty Bar 57g</c:v>
                </c:pt>
                <c:pt idx="21">
                  <c:v>Galaxy Smooth Milk Minis 237.5g</c:v>
                </c:pt>
                <c:pt idx="22">
                  <c:v>Bounty Bar 57g x 5</c:v>
                </c:pt>
                <c:pt idx="23">
                  <c:v>Kinder Maxi Chocolate 21gx11 (10+1)</c:v>
                </c:pt>
                <c:pt idx="24">
                  <c:v>Ferrero Rocher 200g</c:v>
                </c:pt>
                <c:pt idx="25">
                  <c:v>Ferrero Raffaello 150g box </c:v>
                </c:pt>
                <c:pt idx="26">
                  <c:v>Galaxy Hazelnut Minis 237.5g</c:v>
                </c:pt>
                <c:pt idx="27">
                  <c:v>Twix 50gx5</c:v>
                </c:pt>
                <c:pt idx="28">
                  <c:v>Twix Bar 50g</c:v>
                </c:pt>
                <c:pt idx="29">
                  <c:v>Maltesers Chocolate 37g</c:v>
                </c:pt>
                <c:pt idx="30">
                  <c:v>Snickers Miniatures 150g</c:v>
                </c:pt>
                <c:pt idx="31">
                  <c:v>Cadbury Flake Minis Bag 159.5g</c:v>
                </c:pt>
                <c:pt idx="32">
                  <c:v>M&amp;M's Peanut 165g</c:v>
                </c:pt>
                <c:pt idx="33">
                  <c:v>Twix Miniatures 150g</c:v>
                </c:pt>
                <c:pt idx="34">
                  <c:v>Cadbury Timeout Minis Wafer 247.2g</c:v>
                </c:pt>
                <c:pt idx="35">
                  <c:v>Toblerone Milk Chocolate 200g</c:v>
                </c:pt>
                <c:pt idx="36">
                  <c:v>Galaxy Smooth Milk Minis 162.5g</c:v>
                </c:pt>
                <c:pt idx="37">
                  <c:v>Mars 45g x 6</c:v>
                </c:pt>
                <c:pt idx="38">
                  <c:v>Bounty Miniatures 150g</c:v>
                </c:pt>
                <c:pt idx="39">
                  <c:v>Kinder Chocolate Bar 8x12.5g</c:v>
                </c:pt>
                <c:pt idx="40">
                  <c:v>Galaxy Smooth Dark Chocolate 40g</c:v>
                </c:pt>
                <c:pt idx="41">
                  <c:v>Mars Bar 51g </c:v>
                </c:pt>
                <c:pt idx="42">
                  <c:v>Hershey's Kisses Special Selection Assorted 325g</c:v>
                </c:pt>
                <c:pt idx="43">
                  <c:v>Galaxy Hazelnut Chocolate 36g</c:v>
                </c:pt>
                <c:pt idx="44">
                  <c:v>Galaxy Smooth Milk Chocolate 36g</c:v>
                </c:pt>
                <c:pt idx="45">
                  <c:v>Galaxy Caramel Bar 40g</c:v>
                </c:pt>
                <c:pt idx="46">
                  <c:v>Kinder Chocolate Bar 50g</c:v>
                </c:pt>
                <c:pt idx="47">
                  <c:v>Kinder Bueno White 39g</c:v>
                </c:pt>
                <c:pt idx="48">
                  <c:v>Hershey's Kisses Classic Selection Assorted 325g</c:v>
                </c:pt>
                <c:pt idx="49">
                  <c:v>Galaxy Crispy Milk Chocolate 36g</c:v>
                </c:pt>
                <c:pt idx="50">
                  <c:v> Reeses Peanut Butter Cup Mini 340g </c:v>
                </c:pt>
                <c:pt idx="51">
                  <c:v>Kit Kat 17.7g</c:v>
                </c:pt>
                <c:pt idx="52">
                  <c:v> Reeses Peanut Butter Cup 42g x 6</c:v>
                </c:pt>
                <c:pt idx="53">
                  <c:v>Reeses Peanut Butter Cups 46g</c:v>
                </c:pt>
                <c:pt idx="54">
                  <c:v>Reeses Peanut Butter Cup Mini 215g</c:v>
                </c:pt>
                <c:pt idx="55">
                  <c:v>M&amp;M's Milk Chocolate 30.6g</c:v>
                </c:pt>
                <c:pt idx="56">
                  <c:v>Godiva Double Chocolate Bar 35g</c:v>
                </c:pt>
                <c:pt idx="57">
                  <c:v>Galaxy Smooth Milk Chocolate 80g</c:v>
                </c:pt>
                <c:pt idx="58">
                  <c:v>Galaxy Ripple Bar 33g</c:v>
                </c:pt>
                <c:pt idx="59">
                  <c:v>Hershey's Chocobites Cookies 'n Creme 90g</c:v>
                </c:pt>
                <c:pt idx="60">
                  <c:v>Hershey's Kisses Special Selection Assorted 100g</c:v>
                </c:pt>
                <c:pt idx="61">
                  <c:v>Hershey's Chocobites Salted Caramel 81g</c:v>
                </c:pt>
                <c:pt idx="62">
                  <c:v>Hershey's Cookies N' Chocolate 40g</c:v>
                </c:pt>
                <c:pt idx="63">
                  <c:v>Reeses Block 90g</c:v>
                </c:pt>
                <c:pt idx="64">
                  <c:v>Reeses Nut Bar 47g</c:v>
                </c:pt>
                <c:pt idx="65">
                  <c:v>Hershey's Kisses Classic Selection Assorted 100g</c:v>
                </c:pt>
                <c:pt idx="66">
                  <c:v>Hershey's Cookies 'n Creme Creations Salted Caramel 38g</c:v>
                </c:pt>
                <c:pt idx="67">
                  <c:v>Hershey's Cookies N' Crème 12.76g</c:v>
                </c:pt>
                <c:pt idx="68">
                  <c:v> Reeses Wafer Sticks 42g</c:v>
                </c:pt>
                <c:pt idx="69">
                  <c:v>Hershey's Choco Tubes Cookies N' Creme 18g</c:v>
                </c:pt>
                <c:pt idx="70">
                  <c:v> Reeses Peanut Butter Cup Mini 500G</c:v>
                </c:pt>
                <c:pt idx="71">
                  <c:v>Reeses Pieces 180g</c:v>
                </c:pt>
                <c:pt idx="72">
                  <c:v>Reeses Mini King Size 71g</c:v>
                </c:pt>
                <c:pt idx="73">
                  <c:v>Hershey's Cookies 'n Creme Block 90g</c:v>
                </c:pt>
                <c:pt idx="74">
                  <c:v>Hersheys Kisses Classic Selection Assorted 600G</c:v>
                </c:pt>
                <c:pt idx="75">
                  <c:v>Hershey's Cookies 'n Creme 40Gx 4</c:v>
                </c:pt>
                <c:pt idx="76">
                  <c:v>Hershey's Variety Pack 40Gx3</c:v>
                </c:pt>
                <c:pt idx="77">
                  <c:v>Reeses Fast break 51g</c:v>
                </c:pt>
              </c:strCache>
            </c:strRef>
          </c:cat>
          <c:val>
            <c:numRef>
              <c:f>Sheet1!$B$2:$B$79</c:f>
              <c:numCache>
                <c:formatCode>General</c:formatCode>
                <c:ptCount val="78"/>
                <c:pt idx="0">
                  <c:v>8.7534810601232665E-2</c:v>
                </c:pt>
                <c:pt idx="1">
                  <c:v>5.7559500892221442E-2</c:v>
                </c:pt>
                <c:pt idx="2">
                  <c:v>5.2484576460387768E-2</c:v>
                </c:pt>
                <c:pt idx="3">
                  <c:v>5.2431668272041182E-2</c:v>
                </c:pt>
                <c:pt idx="4">
                  <c:v>4.868892335715206E-2</c:v>
                </c:pt>
                <c:pt idx="5">
                  <c:v>3.9883127665807053E-2</c:v>
                </c:pt>
                <c:pt idx="6">
                  <c:v>2.9310751584451511E-2</c:v>
                </c:pt>
                <c:pt idx="7">
                  <c:v>2.7693958481604788E-2</c:v>
                </c:pt>
                <c:pt idx="8">
                  <c:v>2.520913477236672E-2</c:v>
                </c:pt>
                <c:pt idx="9">
                  <c:v>2.4955217813546149E-2</c:v>
                </c:pt>
                <c:pt idx="10">
                  <c:v>2.4411629377003408E-2</c:v>
                </c:pt>
                <c:pt idx="11">
                  <c:v>2.432162347521807E-2</c:v>
                </c:pt>
                <c:pt idx="12">
                  <c:v>2.2631346863859841E-2</c:v>
                </c:pt>
                <c:pt idx="13">
                  <c:v>2.2425372973408079E-2</c:v>
                </c:pt>
                <c:pt idx="14">
                  <c:v>2.1309215636296241E-2</c:v>
                </c:pt>
                <c:pt idx="15">
                  <c:v>2.0959753622360241E-2</c:v>
                </c:pt>
                <c:pt idx="16">
                  <c:v>2.0800319571241239E-2</c:v>
                </c:pt>
                <c:pt idx="17">
                  <c:v>1.7970810967835201E-2</c:v>
                </c:pt>
                <c:pt idx="18">
                  <c:v>1.6850758622753849E-2</c:v>
                </c:pt>
                <c:pt idx="19">
                  <c:v>1.596269816570935E-2</c:v>
                </c:pt>
                <c:pt idx="20">
                  <c:v>1.5112238409568249E-2</c:v>
                </c:pt>
                <c:pt idx="21">
                  <c:v>1.461542990237732E-2</c:v>
                </c:pt>
                <c:pt idx="22">
                  <c:v>1.4334284118613001E-2</c:v>
                </c:pt>
                <c:pt idx="23">
                  <c:v>1.430940527615138E-2</c:v>
                </c:pt>
                <c:pt idx="24">
                  <c:v>1.4289080781313281E-2</c:v>
                </c:pt>
                <c:pt idx="25">
                  <c:v>1.403814668354727E-2</c:v>
                </c:pt>
                <c:pt idx="26">
                  <c:v>1.330105136333818E-2</c:v>
                </c:pt>
                <c:pt idx="27">
                  <c:v>1.279435495102535E-2</c:v>
                </c:pt>
                <c:pt idx="28">
                  <c:v>1.1555834851677259E-2</c:v>
                </c:pt>
                <c:pt idx="29">
                  <c:v>1.1353549481144559E-2</c:v>
                </c:pt>
                <c:pt idx="30">
                  <c:v>1.086773292425431E-2</c:v>
                </c:pt>
                <c:pt idx="31">
                  <c:v>1.0487758880938881E-2</c:v>
                </c:pt>
                <c:pt idx="32">
                  <c:v>1.043360818931305E-2</c:v>
                </c:pt>
                <c:pt idx="33">
                  <c:v>1.021010493667055E-2</c:v>
                </c:pt>
                <c:pt idx="34">
                  <c:v>1.0000357436865779E-2</c:v>
                </c:pt>
                <c:pt idx="35">
                  <c:v>9.6856196504729163E-3</c:v>
                </c:pt>
                <c:pt idx="36">
                  <c:v>9.406623878718887E-3</c:v>
                </c:pt>
                <c:pt idx="37">
                  <c:v>8.1035583272461749E-3</c:v>
                </c:pt>
                <c:pt idx="38">
                  <c:v>7.5495692266556828E-3</c:v>
                </c:pt>
                <c:pt idx="39">
                  <c:v>7.4420449325245048E-3</c:v>
                </c:pt>
                <c:pt idx="40">
                  <c:v>7.2277216112720663E-3</c:v>
                </c:pt>
                <c:pt idx="41">
                  <c:v>7.1673392735173798E-3</c:v>
                </c:pt>
                <c:pt idx="42">
                  <c:v>6.7869153080573506E-3</c:v>
                </c:pt>
                <c:pt idx="43">
                  <c:v>6.6451374901548904E-3</c:v>
                </c:pt>
                <c:pt idx="44">
                  <c:v>6.5885098340167552E-3</c:v>
                </c:pt>
                <c:pt idx="45">
                  <c:v>6.1118889102816784E-3</c:v>
                </c:pt>
                <c:pt idx="46">
                  <c:v>5.4493931229054396E-3</c:v>
                </c:pt>
                <c:pt idx="47">
                  <c:v>5.4360110602241834E-3</c:v>
                </c:pt>
                <c:pt idx="48">
                  <c:v>5.072109933842715E-3</c:v>
                </c:pt>
                <c:pt idx="49">
                  <c:v>4.8778405380791113E-3</c:v>
                </c:pt>
                <c:pt idx="50">
                  <c:v>4.8293537084955207E-3</c:v>
                </c:pt>
                <c:pt idx="51">
                  <c:v>4.756436351299226E-3</c:v>
                </c:pt>
                <c:pt idx="52">
                  <c:v>4.6147312769180401E-3</c:v>
                </c:pt>
                <c:pt idx="53">
                  <c:v>4.5051743706602341E-3</c:v>
                </c:pt>
                <c:pt idx="54">
                  <c:v>4.4076916789279564E-3</c:v>
                </c:pt>
                <c:pt idx="55">
                  <c:v>4.0239190321588224E-3</c:v>
                </c:pt>
                <c:pt idx="56">
                  <c:v>3.9206240800433037E-3</c:v>
                </c:pt>
                <c:pt idx="57">
                  <c:v>3.4990833523240289E-3</c:v>
                </c:pt>
                <c:pt idx="58">
                  <c:v>3.3187734201093398E-3</c:v>
                </c:pt>
                <c:pt idx="59">
                  <c:v>2.7137303220649859E-3</c:v>
                </c:pt>
                <c:pt idx="60">
                  <c:v>2.541702375438945E-3</c:v>
                </c:pt>
                <c:pt idx="61">
                  <c:v>2.4340625382641319E-3</c:v>
                </c:pt>
                <c:pt idx="62">
                  <c:v>2.4219716916852839E-3</c:v>
                </c:pt>
                <c:pt idx="63">
                  <c:v>2.1593638402186001E-3</c:v>
                </c:pt>
                <c:pt idx="64">
                  <c:v>1.6564163558322471E-3</c:v>
                </c:pt>
                <c:pt idx="65">
                  <c:v>1.534050800512053E-3</c:v>
                </c:pt>
                <c:pt idx="66">
                  <c:v>8.8861505707664911E-4</c:v>
                </c:pt>
                <c:pt idx="67">
                  <c:v>7.8139805979037706E-4</c:v>
                </c:pt>
                <c:pt idx="68">
                  <c:v>2.7164883385527279E-4</c:v>
                </c:pt>
                <c:pt idx="69">
                  <c:v>7.2832393059720158E-5</c:v>
                </c:pt>
                <c:pt idx="70">
                  <c:v>0</c:v>
                </c:pt>
                <c:pt idx="71">
                  <c:v>0</c:v>
                </c:pt>
                <c:pt idx="72">
                  <c:v>0</c:v>
                </c:pt>
                <c:pt idx="73">
                  <c:v>0</c:v>
                </c:pt>
                <c:pt idx="74">
                  <c:v>0</c:v>
                </c:pt>
                <c:pt idx="75">
                  <c:v>0</c:v>
                </c:pt>
                <c:pt idx="76">
                  <c:v>0</c:v>
                </c:pt>
                <c:pt idx="77">
                  <c:v>0</c:v>
                </c:pt>
              </c:numCache>
            </c:numRef>
          </c:val>
          <c:extLst>
            <c:ext xmlns:c16="http://schemas.microsoft.com/office/drawing/2014/chart" uri="{C3380CC4-5D6E-409C-BE32-E72D297353CC}">
              <c16:uniqueId val="{0000006A-902D-4251-AC41-C6D4CBCA5CD6}"/>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ershey's Cookies 'n Creme Creations Salted Caramel 38g</c:v>
                </c:pt>
              </c:strCache>
            </c:strRef>
          </c:tx>
          <c:spPr>
            <a:solidFill>
              <a:schemeClr val="bg2"/>
            </a:solidFill>
            <a:ln>
              <a:noFill/>
            </a:ln>
            <a:effectLst/>
          </c:spPr>
          <c:invertIfNegative val="0"/>
          <c:dPt>
            <c:idx val="0"/>
            <c:invertIfNegative val="0"/>
            <c:bubble3D val="0"/>
            <c:spPr>
              <a:solidFill>
                <a:srgbClr val="E6E5E5"/>
              </a:solidFill>
              <a:ln>
                <a:noFill/>
              </a:ln>
              <a:effectLst/>
            </c:spPr>
            <c:extLst>
              <c:ext xmlns:c16="http://schemas.microsoft.com/office/drawing/2014/chart" uri="{C3380CC4-5D6E-409C-BE32-E72D297353CC}">
                <c16:uniqueId val="{00000001-999B-42C0-A7D9-A2057CE05A51}"/>
              </c:ext>
            </c:extLst>
          </c:dPt>
          <c:dPt>
            <c:idx val="1"/>
            <c:invertIfNegative val="1"/>
            <c:bubble3D val="0"/>
            <c:spPr>
              <a:solidFill>
                <a:srgbClr val="E6E5E5"/>
              </a:solidFill>
            </c:spPr>
            <c:extLst>
              <c:ext xmlns:c16="http://schemas.microsoft.com/office/drawing/2014/chart" uri="{C3380CC4-5D6E-409C-BE32-E72D297353CC}">
                <c16:uniqueId val="{00000003-999B-42C0-A7D9-A2057CE05A51}"/>
              </c:ext>
            </c:extLst>
          </c:dPt>
          <c:dPt>
            <c:idx val="2"/>
            <c:invertIfNegative val="1"/>
            <c:bubble3D val="0"/>
            <c:spPr>
              <a:solidFill>
                <a:srgbClr val="E6E5E5"/>
              </a:solidFill>
            </c:spPr>
            <c:extLst>
              <c:ext xmlns:c16="http://schemas.microsoft.com/office/drawing/2014/chart" uri="{C3380CC4-5D6E-409C-BE32-E72D297353CC}">
                <c16:uniqueId val="{00000005-999B-42C0-A7D9-A2057CE05A51}"/>
              </c:ext>
            </c:extLst>
          </c:dPt>
          <c:dPt>
            <c:idx val="3"/>
            <c:invertIfNegative val="0"/>
            <c:bubble3D val="0"/>
            <c:spPr>
              <a:solidFill>
                <a:srgbClr val="E6E5E5"/>
              </a:solidFill>
              <a:ln>
                <a:noFill/>
              </a:ln>
              <a:effectLst/>
            </c:spPr>
            <c:extLst>
              <c:ext xmlns:c16="http://schemas.microsoft.com/office/drawing/2014/chart" uri="{C3380CC4-5D6E-409C-BE32-E72D297353CC}">
                <c16:uniqueId val="{00000007-999B-42C0-A7D9-A2057CE05A51}"/>
              </c:ext>
            </c:extLst>
          </c:dPt>
          <c:dPt>
            <c:idx val="4"/>
            <c:invertIfNegative val="1"/>
            <c:bubble3D val="0"/>
            <c:spPr>
              <a:solidFill>
                <a:srgbClr val="E6E5E5"/>
              </a:solidFill>
            </c:spPr>
            <c:extLst>
              <c:ext xmlns:c16="http://schemas.microsoft.com/office/drawing/2014/chart" uri="{C3380CC4-5D6E-409C-BE32-E72D297353CC}">
                <c16:uniqueId val="{00000009-999B-42C0-A7D9-A2057CE05A51}"/>
              </c:ext>
            </c:extLst>
          </c:dPt>
          <c:dPt>
            <c:idx val="5"/>
            <c:invertIfNegative val="1"/>
            <c:bubble3D val="0"/>
            <c:spPr>
              <a:solidFill>
                <a:srgbClr val="E6E5E5"/>
              </a:solidFill>
            </c:spPr>
            <c:extLst>
              <c:ext xmlns:c16="http://schemas.microsoft.com/office/drawing/2014/chart" uri="{C3380CC4-5D6E-409C-BE32-E72D297353CC}">
                <c16:uniqueId val="{0000000B-999B-42C0-A7D9-A2057CE05A51}"/>
              </c:ext>
            </c:extLst>
          </c:dPt>
          <c:dPt>
            <c:idx val="6"/>
            <c:invertIfNegative val="1"/>
            <c:bubble3D val="0"/>
            <c:spPr>
              <a:solidFill>
                <a:srgbClr val="E6E5E5"/>
              </a:solidFill>
            </c:spPr>
            <c:extLst>
              <c:ext xmlns:c16="http://schemas.microsoft.com/office/drawing/2014/chart" uri="{C3380CC4-5D6E-409C-BE32-E72D297353CC}">
                <c16:uniqueId val="{0000000D-999B-42C0-A7D9-A2057CE05A51}"/>
              </c:ext>
            </c:extLst>
          </c:dPt>
          <c:dPt>
            <c:idx val="7"/>
            <c:invertIfNegative val="1"/>
            <c:bubble3D val="0"/>
            <c:spPr>
              <a:solidFill>
                <a:srgbClr val="E6E5E5"/>
              </a:solidFill>
            </c:spPr>
            <c:extLst>
              <c:ext xmlns:c16="http://schemas.microsoft.com/office/drawing/2014/chart" uri="{C3380CC4-5D6E-409C-BE32-E72D297353CC}">
                <c16:uniqueId val="{0000000F-999B-42C0-A7D9-A2057CE05A51}"/>
              </c:ext>
            </c:extLst>
          </c:dPt>
          <c:dPt>
            <c:idx val="8"/>
            <c:invertIfNegative val="1"/>
            <c:bubble3D val="0"/>
            <c:spPr>
              <a:solidFill>
                <a:srgbClr val="E6E5E5"/>
              </a:solidFill>
            </c:spPr>
            <c:extLst>
              <c:ext xmlns:c16="http://schemas.microsoft.com/office/drawing/2014/chart" uri="{C3380CC4-5D6E-409C-BE32-E72D297353CC}">
                <c16:uniqueId val="{00000011-999B-42C0-A7D9-A2057CE05A51}"/>
              </c:ext>
            </c:extLst>
          </c:dPt>
          <c:dPt>
            <c:idx val="9"/>
            <c:invertIfNegative val="1"/>
            <c:bubble3D val="0"/>
            <c:spPr>
              <a:solidFill>
                <a:srgbClr val="E6E5E5"/>
              </a:solidFill>
            </c:spPr>
            <c:extLst>
              <c:ext xmlns:c16="http://schemas.microsoft.com/office/drawing/2014/chart" uri="{C3380CC4-5D6E-409C-BE32-E72D297353CC}">
                <c16:uniqueId val="{00000013-999B-42C0-A7D9-A2057CE05A51}"/>
              </c:ext>
            </c:extLst>
          </c:dPt>
          <c:dPt>
            <c:idx val="10"/>
            <c:invertIfNegative val="1"/>
            <c:bubble3D val="0"/>
            <c:spPr>
              <a:solidFill>
                <a:srgbClr val="E6E5E5"/>
              </a:solidFill>
            </c:spPr>
            <c:extLst>
              <c:ext xmlns:c16="http://schemas.microsoft.com/office/drawing/2014/chart" uri="{C3380CC4-5D6E-409C-BE32-E72D297353CC}">
                <c16:uniqueId val="{00000015-999B-42C0-A7D9-A2057CE05A51}"/>
              </c:ext>
            </c:extLst>
          </c:dPt>
          <c:dPt>
            <c:idx val="11"/>
            <c:invertIfNegative val="1"/>
            <c:bubble3D val="0"/>
            <c:spPr>
              <a:solidFill>
                <a:srgbClr val="E6E5E5"/>
              </a:solidFill>
            </c:spPr>
            <c:extLst>
              <c:ext xmlns:c16="http://schemas.microsoft.com/office/drawing/2014/chart" uri="{C3380CC4-5D6E-409C-BE32-E72D297353CC}">
                <c16:uniqueId val="{00000017-999B-42C0-A7D9-A2057CE05A51}"/>
              </c:ext>
            </c:extLst>
          </c:dPt>
          <c:dPt>
            <c:idx val="12"/>
            <c:invertIfNegative val="1"/>
            <c:bubble3D val="0"/>
            <c:spPr>
              <a:solidFill>
                <a:srgbClr val="E6E5E5"/>
              </a:solidFill>
            </c:spPr>
            <c:extLst>
              <c:ext xmlns:c16="http://schemas.microsoft.com/office/drawing/2014/chart" uri="{C3380CC4-5D6E-409C-BE32-E72D297353CC}">
                <c16:uniqueId val="{00000019-999B-42C0-A7D9-A2057CE05A51}"/>
              </c:ext>
            </c:extLst>
          </c:dPt>
          <c:dPt>
            <c:idx val="13"/>
            <c:invertIfNegative val="1"/>
            <c:bubble3D val="0"/>
            <c:spPr>
              <a:solidFill>
                <a:srgbClr val="E6E5E5"/>
              </a:solidFill>
            </c:spPr>
            <c:extLst>
              <c:ext xmlns:c16="http://schemas.microsoft.com/office/drawing/2014/chart" uri="{C3380CC4-5D6E-409C-BE32-E72D297353CC}">
                <c16:uniqueId val="{0000001B-999B-42C0-A7D9-A2057CE05A51}"/>
              </c:ext>
            </c:extLst>
          </c:dPt>
          <c:dPt>
            <c:idx val="14"/>
            <c:invertIfNegative val="0"/>
            <c:bubble3D val="0"/>
            <c:spPr>
              <a:solidFill>
                <a:srgbClr val="E6E5E5"/>
              </a:solidFill>
              <a:ln>
                <a:noFill/>
              </a:ln>
              <a:effectLst/>
            </c:spPr>
            <c:extLst>
              <c:ext xmlns:c16="http://schemas.microsoft.com/office/drawing/2014/chart" uri="{C3380CC4-5D6E-409C-BE32-E72D297353CC}">
                <c16:uniqueId val="{0000001D-999B-42C0-A7D9-A2057CE05A51}"/>
              </c:ext>
            </c:extLst>
          </c:dPt>
          <c:dPt>
            <c:idx val="15"/>
            <c:invertIfNegative val="1"/>
            <c:bubble3D val="0"/>
            <c:spPr>
              <a:solidFill>
                <a:srgbClr val="E6E5E5"/>
              </a:solidFill>
            </c:spPr>
            <c:extLst>
              <c:ext xmlns:c16="http://schemas.microsoft.com/office/drawing/2014/chart" uri="{C3380CC4-5D6E-409C-BE32-E72D297353CC}">
                <c16:uniqueId val="{0000001F-999B-42C0-A7D9-A2057CE05A51}"/>
              </c:ext>
            </c:extLst>
          </c:dPt>
          <c:dPt>
            <c:idx val="16"/>
            <c:invertIfNegative val="1"/>
            <c:bubble3D val="0"/>
            <c:spPr>
              <a:solidFill>
                <a:srgbClr val="E6E5E5"/>
              </a:solidFill>
            </c:spPr>
            <c:extLst>
              <c:ext xmlns:c16="http://schemas.microsoft.com/office/drawing/2014/chart" uri="{C3380CC4-5D6E-409C-BE32-E72D297353CC}">
                <c16:uniqueId val="{00000021-999B-42C0-A7D9-A2057CE05A51}"/>
              </c:ext>
            </c:extLst>
          </c:dPt>
          <c:dPt>
            <c:idx val="17"/>
            <c:invertIfNegative val="0"/>
            <c:bubble3D val="0"/>
            <c:spPr>
              <a:solidFill>
                <a:srgbClr val="E6E5E5"/>
              </a:solidFill>
              <a:ln>
                <a:noFill/>
              </a:ln>
              <a:effectLst/>
            </c:spPr>
            <c:extLst>
              <c:ext xmlns:c16="http://schemas.microsoft.com/office/drawing/2014/chart" uri="{C3380CC4-5D6E-409C-BE32-E72D297353CC}">
                <c16:uniqueId val="{00000023-999B-42C0-A7D9-A2057CE05A51}"/>
              </c:ext>
            </c:extLst>
          </c:dPt>
          <c:dPt>
            <c:idx val="18"/>
            <c:invertIfNegative val="1"/>
            <c:bubble3D val="0"/>
            <c:spPr>
              <a:solidFill>
                <a:srgbClr val="E6E5E5"/>
              </a:solidFill>
            </c:spPr>
            <c:extLst>
              <c:ext xmlns:c16="http://schemas.microsoft.com/office/drawing/2014/chart" uri="{C3380CC4-5D6E-409C-BE32-E72D297353CC}">
                <c16:uniqueId val="{00000025-999B-42C0-A7D9-A2057CE05A51}"/>
              </c:ext>
            </c:extLst>
          </c:dPt>
          <c:dPt>
            <c:idx val="19"/>
            <c:invertIfNegative val="1"/>
            <c:bubble3D val="0"/>
            <c:spPr>
              <a:solidFill>
                <a:srgbClr val="E6E5E5"/>
              </a:solidFill>
            </c:spPr>
            <c:extLst>
              <c:ext xmlns:c16="http://schemas.microsoft.com/office/drawing/2014/chart" uri="{C3380CC4-5D6E-409C-BE32-E72D297353CC}">
                <c16:uniqueId val="{00000027-999B-42C0-A7D9-A2057CE05A51}"/>
              </c:ext>
            </c:extLst>
          </c:dPt>
          <c:dPt>
            <c:idx val="20"/>
            <c:invertIfNegative val="1"/>
            <c:bubble3D val="0"/>
            <c:spPr>
              <a:solidFill>
                <a:srgbClr val="E6E5E5"/>
              </a:solidFill>
            </c:spPr>
            <c:extLst>
              <c:ext xmlns:c16="http://schemas.microsoft.com/office/drawing/2014/chart" uri="{C3380CC4-5D6E-409C-BE32-E72D297353CC}">
                <c16:uniqueId val="{00000029-999B-42C0-A7D9-A2057CE05A51}"/>
              </c:ext>
            </c:extLst>
          </c:dPt>
          <c:dPt>
            <c:idx val="21"/>
            <c:invertIfNegative val="1"/>
            <c:bubble3D val="0"/>
            <c:spPr>
              <a:solidFill>
                <a:srgbClr val="E6E5E5"/>
              </a:solidFill>
            </c:spPr>
            <c:extLst>
              <c:ext xmlns:c16="http://schemas.microsoft.com/office/drawing/2014/chart" uri="{C3380CC4-5D6E-409C-BE32-E72D297353CC}">
                <c16:uniqueId val="{0000002B-999B-42C0-A7D9-A2057CE05A51}"/>
              </c:ext>
            </c:extLst>
          </c:dPt>
          <c:dPt>
            <c:idx val="22"/>
            <c:invertIfNegative val="1"/>
            <c:bubble3D val="0"/>
            <c:spPr>
              <a:solidFill>
                <a:srgbClr val="E6E5E5"/>
              </a:solidFill>
            </c:spPr>
            <c:extLst>
              <c:ext xmlns:c16="http://schemas.microsoft.com/office/drawing/2014/chart" uri="{C3380CC4-5D6E-409C-BE32-E72D297353CC}">
                <c16:uniqueId val="{0000002D-999B-42C0-A7D9-A2057CE05A51}"/>
              </c:ext>
            </c:extLst>
          </c:dPt>
          <c:dPt>
            <c:idx val="23"/>
            <c:invertIfNegative val="1"/>
            <c:bubble3D val="0"/>
            <c:spPr>
              <a:solidFill>
                <a:srgbClr val="E6E5E5"/>
              </a:solidFill>
            </c:spPr>
            <c:extLst>
              <c:ext xmlns:c16="http://schemas.microsoft.com/office/drawing/2014/chart" uri="{C3380CC4-5D6E-409C-BE32-E72D297353CC}">
                <c16:uniqueId val="{0000002F-999B-42C0-A7D9-A2057CE05A51}"/>
              </c:ext>
            </c:extLst>
          </c:dPt>
          <c:dPt>
            <c:idx val="24"/>
            <c:invertIfNegative val="1"/>
            <c:bubble3D val="0"/>
            <c:spPr>
              <a:solidFill>
                <a:srgbClr val="E6E5E5"/>
              </a:solidFill>
            </c:spPr>
            <c:extLst>
              <c:ext xmlns:c16="http://schemas.microsoft.com/office/drawing/2014/chart" uri="{C3380CC4-5D6E-409C-BE32-E72D297353CC}">
                <c16:uniqueId val="{00000031-999B-42C0-A7D9-A2057CE05A51}"/>
              </c:ext>
            </c:extLst>
          </c:dPt>
          <c:dPt>
            <c:idx val="25"/>
            <c:invertIfNegative val="1"/>
            <c:bubble3D val="0"/>
            <c:spPr>
              <a:solidFill>
                <a:srgbClr val="E6E5E5"/>
              </a:solidFill>
            </c:spPr>
            <c:extLst>
              <c:ext xmlns:c16="http://schemas.microsoft.com/office/drawing/2014/chart" uri="{C3380CC4-5D6E-409C-BE32-E72D297353CC}">
                <c16:uniqueId val="{00000033-999B-42C0-A7D9-A2057CE05A51}"/>
              </c:ext>
            </c:extLst>
          </c:dPt>
          <c:dPt>
            <c:idx val="26"/>
            <c:invertIfNegative val="1"/>
            <c:bubble3D val="0"/>
            <c:spPr>
              <a:solidFill>
                <a:srgbClr val="E6E5E5"/>
              </a:solidFill>
            </c:spPr>
            <c:extLst>
              <c:ext xmlns:c16="http://schemas.microsoft.com/office/drawing/2014/chart" uri="{C3380CC4-5D6E-409C-BE32-E72D297353CC}">
                <c16:uniqueId val="{00000035-999B-42C0-A7D9-A2057CE05A51}"/>
              </c:ext>
            </c:extLst>
          </c:dPt>
          <c:dPt>
            <c:idx val="27"/>
            <c:invertIfNegative val="1"/>
            <c:bubble3D val="0"/>
            <c:spPr>
              <a:solidFill>
                <a:srgbClr val="E6E5E5"/>
              </a:solidFill>
            </c:spPr>
            <c:extLst>
              <c:ext xmlns:c16="http://schemas.microsoft.com/office/drawing/2014/chart" uri="{C3380CC4-5D6E-409C-BE32-E72D297353CC}">
                <c16:uniqueId val="{00000037-999B-42C0-A7D9-A2057CE05A51}"/>
              </c:ext>
            </c:extLst>
          </c:dPt>
          <c:dPt>
            <c:idx val="28"/>
            <c:invertIfNegative val="1"/>
            <c:bubble3D val="0"/>
            <c:spPr>
              <a:solidFill>
                <a:srgbClr val="E6E5E5"/>
              </a:solidFill>
            </c:spPr>
            <c:extLst>
              <c:ext xmlns:c16="http://schemas.microsoft.com/office/drawing/2014/chart" uri="{C3380CC4-5D6E-409C-BE32-E72D297353CC}">
                <c16:uniqueId val="{00000039-999B-42C0-A7D9-A2057CE05A51}"/>
              </c:ext>
            </c:extLst>
          </c:dPt>
          <c:dPt>
            <c:idx val="29"/>
            <c:invertIfNegative val="1"/>
            <c:bubble3D val="0"/>
            <c:spPr>
              <a:solidFill>
                <a:srgbClr val="E6E5E5"/>
              </a:solidFill>
            </c:spPr>
            <c:extLst>
              <c:ext xmlns:c16="http://schemas.microsoft.com/office/drawing/2014/chart" uri="{C3380CC4-5D6E-409C-BE32-E72D297353CC}">
                <c16:uniqueId val="{0000003B-999B-42C0-A7D9-A2057CE05A51}"/>
              </c:ext>
            </c:extLst>
          </c:dPt>
          <c:dPt>
            <c:idx val="30"/>
            <c:invertIfNegative val="1"/>
            <c:bubble3D val="0"/>
            <c:spPr>
              <a:solidFill>
                <a:srgbClr val="E6E5E5"/>
              </a:solidFill>
            </c:spPr>
            <c:extLst>
              <c:ext xmlns:c16="http://schemas.microsoft.com/office/drawing/2014/chart" uri="{C3380CC4-5D6E-409C-BE32-E72D297353CC}">
                <c16:uniqueId val="{0000003D-999B-42C0-A7D9-A2057CE05A51}"/>
              </c:ext>
            </c:extLst>
          </c:dPt>
          <c:dPt>
            <c:idx val="31"/>
            <c:invertIfNegative val="1"/>
            <c:bubble3D val="0"/>
            <c:spPr>
              <a:solidFill>
                <a:srgbClr val="E6E5E5"/>
              </a:solidFill>
            </c:spPr>
            <c:extLst>
              <c:ext xmlns:c16="http://schemas.microsoft.com/office/drawing/2014/chart" uri="{C3380CC4-5D6E-409C-BE32-E72D297353CC}">
                <c16:uniqueId val="{0000003F-999B-42C0-A7D9-A2057CE05A51}"/>
              </c:ext>
            </c:extLst>
          </c:dPt>
          <c:dPt>
            <c:idx val="32"/>
            <c:invertIfNegative val="0"/>
            <c:bubble3D val="0"/>
            <c:spPr>
              <a:solidFill>
                <a:srgbClr val="E6E5E5"/>
              </a:solidFill>
              <a:ln>
                <a:noFill/>
              </a:ln>
              <a:effectLst/>
            </c:spPr>
            <c:extLst>
              <c:ext xmlns:c16="http://schemas.microsoft.com/office/drawing/2014/chart" uri="{C3380CC4-5D6E-409C-BE32-E72D297353CC}">
                <c16:uniqueId val="{00000041-999B-42C0-A7D9-A2057CE05A51}"/>
              </c:ext>
            </c:extLst>
          </c:dPt>
          <c:dPt>
            <c:idx val="33"/>
            <c:invertIfNegative val="1"/>
            <c:bubble3D val="0"/>
            <c:spPr>
              <a:solidFill>
                <a:srgbClr val="E6E5E5"/>
              </a:solidFill>
            </c:spPr>
            <c:extLst>
              <c:ext xmlns:c16="http://schemas.microsoft.com/office/drawing/2014/chart" uri="{C3380CC4-5D6E-409C-BE32-E72D297353CC}">
                <c16:uniqueId val="{00000043-999B-42C0-A7D9-A2057CE05A51}"/>
              </c:ext>
            </c:extLst>
          </c:dPt>
          <c:dPt>
            <c:idx val="34"/>
            <c:invertIfNegative val="1"/>
            <c:bubble3D val="0"/>
            <c:spPr>
              <a:solidFill>
                <a:srgbClr val="E6E5E5"/>
              </a:solidFill>
            </c:spPr>
            <c:extLst>
              <c:ext xmlns:c16="http://schemas.microsoft.com/office/drawing/2014/chart" uri="{C3380CC4-5D6E-409C-BE32-E72D297353CC}">
                <c16:uniqueId val="{00000045-999B-42C0-A7D9-A2057CE05A51}"/>
              </c:ext>
            </c:extLst>
          </c:dPt>
          <c:dPt>
            <c:idx val="35"/>
            <c:invertIfNegative val="1"/>
            <c:bubble3D val="0"/>
            <c:spPr>
              <a:solidFill>
                <a:srgbClr val="E6E5E5"/>
              </a:solidFill>
            </c:spPr>
            <c:extLst>
              <c:ext xmlns:c16="http://schemas.microsoft.com/office/drawing/2014/chart" uri="{C3380CC4-5D6E-409C-BE32-E72D297353CC}">
                <c16:uniqueId val="{00000047-999B-42C0-A7D9-A2057CE05A51}"/>
              </c:ext>
            </c:extLst>
          </c:dPt>
          <c:dPt>
            <c:idx val="36"/>
            <c:invertIfNegative val="1"/>
            <c:bubble3D val="0"/>
            <c:spPr>
              <a:solidFill>
                <a:srgbClr val="E6E5E5"/>
              </a:solidFill>
            </c:spPr>
            <c:extLst>
              <c:ext xmlns:c16="http://schemas.microsoft.com/office/drawing/2014/chart" uri="{C3380CC4-5D6E-409C-BE32-E72D297353CC}">
                <c16:uniqueId val="{00000049-999B-42C0-A7D9-A2057CE05A51}"/>
              </c:ext>
            </c:extLst>
          </c:dPt>
          <c:dPt>
            <c:idx val="37"/>
            <c:invertIfNegative val="1"/>
            <c:bubble3D val="0"/>
            <c:spPr>
              <a:solidFill>
                <a:srgbClr val="E6E5E5"/>
              </a:solidFill>
            </c:spPr>
            <c:extLst>
              <c:ext xmlns:c16="http://schemas.microsoft.com/office/drawing/2014/chart" uri="{C3380CC4-5D6E-409C-BE32-E72D297353CC}">
                <c16:uniqueId val="{0000004B-999B-42C0-A7D9-A2057CE05A51}"/>
              </c:ext>
            </c:extLst>
          </c:dPt>
          <c:dPt>
            <c:idx val="38"/>
            <c:invertIfNegative val="1"/>
            <c:bubble3D val="0"/>
            <c:spPr>
              <a:solidFill>
                <a:srgbClr val="E6E5E5"/>
              </a:solidFill>
            </c:spPr>
            <c:extLst>
              <c:ext xmlns:c16="http://schemas.microsoft.com/office/drawing/2014/chart" uri="{C3380CC4-5D6E-409C-BE32-E72D297353CC}">
                <c16:uniqueId val="{0000004D-999B-42C0-A7D9-A2057CE05A51}"/>
              </c:ext>
            </c:extLst>
          </c:dPt>
          <c:dPt>
            <c:idx val="39"/>
            <c:invertIfNegative val="1"/>
            <c:bubble3D val="0"/>
            <c:spPr>
              <a:solidFill>
                <a:srgbClr val="E6E5E5"/>
              </a:solidFill>
            </c:spPr>
            <c:extLst>
              <c:ext xmlns:c16="http://schemas.microsoft.com/office/drawing/2014/chart" uri="{C3380CC4-5D6E-409C-BE32-E72D297353CC}">
                <c16:uniqueId val="{0000004F-999B-42C0-A7D9-A2057CE05A51}"/>
              </c:ext>
            </c:extLst>
          </c:dPt>
          <c:dPt>
            <c:idx val="40"/>
            <c:invertIfNegative val="1"/>
            <c:bubble3D val="0"/>
            <c:spPr>
              <a:solidFill>
                <a:srgbClr val="E6E5E5"/>
              </a:solidFill>
            </c:spPr>
            <c:extLst>
              <c:ext xmlns:c16="http://schemas.microsoft.com/office/drawing/2014/chart" uri="{C3380CC4-5D6E-409C-BE32-E72D297353CC}">
                <c16:uniqueId val="{00000051-999B-42C0-A7D9-A2057CE05A51}"/>
              </c:ext>
            </c:extLst>
          </c:dPt>
          <c:dPt>
            <c:idx val="41"/>
            <c:invertIfNegative val="1"/>
            <c:bubble3D val="0"/>
            <c:spPr>
              <a:solidFill>
                <a:srgbClr val="E6E5E5"/>
              </a:solidFill>
            </c:spPr>
            <c:extLst>
              <c:ext xmlns:c16="http://schemas.microsoft.com/office/drawing/2014/chart" uri="{C3380CC4-5D6E-409C-BE32-E72D297353CC}">
                <c16:uniqueId val="{00000053-999B-42C0-A7D9-A2057CE05A51}"/>
              </c:ext>
            </c:extLst>
          </c:dPt>
          <c:dPt>
            <c:idx val="42"/>
            <c:invertIfNegative val="1"/>
            <c:bubble3D val="0"/>
            <c:spPr>
              <a:solidFill>
                <a:srgbClr val="E6E5E5"/>
              </a:solidFill>
            </c:spPr>
            <c:extLst>
              <c:ext xmlns:c16="http://schemas.microsoft.com/office/drawing/2014/chart" uri="{C3380CC4-5D6E-409C-BE32-E72D297353CC}">
                <c16:uniqueId val="{00000055-999B-42C0-A7D9-A2057CE05A51}"/>
              </c:ext>
            </c:extLst>
          </c:dPt>
          <c:dPt>
            <c:idx val="43"/>
            <c:invertIfNegative val="1"/>
            <c:bubble3D val="0"/>
            <c:spPr>
              <a:solidFill>
                <a:srgbClr val="E6E5E5"/>
              </a:solidFill>
            </c:spPr>
            <c:extLst>
              <c:ext xmlns:c16="http://schemas.microsoft.com/office/drawing/2014/chart" uri="{C3380CC4-5D6E-409C-BE32-E72D297353CC}">
                <c16:uniqueId val="{00000057-999B-42C0-A7D9-A2057CE05A51}"/>
              </c:ext>
            </c:extLst>
          </c:dPt>
          <c:dPt>
            <c:idx val="44"/>
            <c:invertIfNegative val="0"/>
            <c:bubble3D val="0"/>
            <c:spPr>
              <a:solidFill>
                <a:srgbClr val="E6E5E5"/>
              </a:solidFill>
              <a:ln>
                <a:noFill/>
              </a:ln>
              <a:effectLst/>
            </c:spPr>
            <c:extLst>
              <c:ext xmlns:c16="http://schemas.microsoft.com/office/drawing/2014/chart" uri="{C3380CC4-5D6E-409C-BE32-E72D297353CC}">
                <c16:uniqueId val="{00000059-999B-42C0-A7D9-A2057CE05A51}"/>
              </c:ext>
            </c:extLst>
          </c:dPt>
          <c:dPt>
            <c:idx val="45"/>
            <c:invertIfNegative val="1"/>
            <c:bubble3D val="0"/>
            <c:spPr>
              <a:solidFill>
                <a:srgbClr val="E6E5E5"/>
              </a:solidFill>
            </c:spPr>
            <c:extLst>
              <c:ext xmlns:c16="http://schemas.microsoft.com/office/drawing/2014/chart" uri="{C3380CC4-5D6E-409C-BE32-E72D297353CC}">
                <c16:uniqueId val="{0000005B-999B-42C0-A7D9-A2057CE05A51}"/>
              </c:ext>
            </c:extLst>
          </c:dPt>
          <c:dPt>
            <c:idx val="46"/>
            <c:invertIfNegative val="1"/>
            <c:bubble3D val="0"/>
            <c:spPr>
              <a:solidFill>
                <a:srgbClr val="E6E5E5"/>
              </a:solidFill>
            </c:spPr>
            <c:extLst>
              <c:ext xmlns:c16="http://schemas.microsoft.com/office/drawing/2014/chart" uri="{C3380CC4-5D6E-409C-BE32-E72D297353CC}">
                <c16:uniqueId val="{0000005D-999B-42C0-A7D9-A2057CE05A51}"/>
              </c:ext>
            </c:extLst>
          </c:dPt>
          <c:dPt>
            <c:idx val="47"/>
            <c:invertIfNegative val="1"/>
            <c:bubble3D val="0"/>
            <c:spPr>
              <a:solidFill>
                <a:srgbClr val="E6E5E5"/>
              </a:solidFill>
            </c:spPr>
            <c:extLst>
              <c:ext xmlns:c16="http://schemas.microsoft.com/office/drawing/2014/chart" uri="{C3380CC4-5D6E-409C-BE32-E72D297353CC}">
                <c16:uniqueId val="{0000005F-999B-42C0-A7D9-A2057CE05A51}"/>
              </c:ext>
            </c:extLst>
          </c:dPt>
          <c:dPt>
            <c:idx val="48"/>
            <c:invertIfNegative val="1"/>
            <c:bubble3D val="0"/>
            <c:spPr>
              <a:solidFill>
                <a:srgbClr val="E6E5E5"/>
              </a:solidFill>
            </c:spPr>
            <c:extLst>
              <c:ext xmlns:c16="http://schemas.microsoft.com/office/drawing/2014/chart" uri="{C3380CC4-5D6E-409C-BE32-E72D297353CC}">
                <c16:uniqueId val="{00000061-999B-42C0-A7D9-A2057CE05A51}"/>
              </c:ext>
            </c:extLst>
          </c:dPt>
          <c:dPt>
            <c:idx val="49"/>
            <c:invertIfNegative val="0"/>
            <c:bubble3D val="0"/>
            <c:spPr>
              <a:solidFill>
                <a:srgbClr val="E6E5E5"/>
              </a:solidFill>
              <a:ln>
                <a:noFill/>
              </a:ln>
              <a:effectLst/>
            </c:spPr>
            <c:extLst>
              <c:ext xmlns:c16="http://schemas.microsoft.com/office/drawing/2014/chart" uri="{C3380CC4-5D6E-409C-BE32-E72D297353CC}">
                <c16:uniqueId val="{00000063-999B-42C0-A7D9-A2057CE05A51}"/>
              </c:ext>
            </c:extLst>
          </c:dPt>
          <c:dPt>
            <c:idx val="50"/>
            <c:invertIfNegative val="0"/>
            <c:bubble3D val="0"/>
            <c:spPr>
              <a:solidFill>
                <a:srgbClr val="E6E5E5"/>
              </a:solidFill>
              <a:ln>
                <a:noFill/>
              </a:ln>
              <a:effectLst/>
            </c:spPr>
            <c:extLst>
              <c:ext xmlns:c16="http://schemas.microsoft.com/office/drawing/2014/chart" uri="{C3380CC4-5D6E-409C-BE32-E72D297353CC}">
                <c16:uniqueId val="{00000065-999B-42C0-A7D9-A2057CE05A51}"/>
              </c:ext>
            </c:extLst>
          </c:dPt>
          <c:dPt>
            <c:idx val="51"/>
            <c:invertIfNegative val="1"/>
            <c:bubble3D val="0"/>
            <c:spPr>
              <a:solidFill>
                <a:srgbClr val="E6E5E5"/>
              </a:solidFill>
            </c:spPr>
            <c:extLst>
              <c:ext xmlns:c16="http://schemas.microsoft.com/office/drawing/2014/chart" uri="{C3380CC4-5D6E-409C-BE32-E72D297353CC}">
                <c16:uniqueId val="{00000067-999B-42C0-A7D9-A2057CE05A51}"/>
              </c:ext>
            </c:extLst>
          </c:dPt>
          <c:dPt>
            <c:idx val="52"/>
            <c:invertIfNegative val="1"/>
            <c:bubble3D val="0"/>
            <c:spPr>
              <a:solidFill>
                <a:srgbClr val="E6E5E5"/>
              </a:solidFill>
            </c:spPr>
            <c:extLst>
              <c:ext xmlns:c16="http://schemas.microsoft.com/office/drawing/2014/chart" uri="{C3380CC4-5D6E-409C-BE32-E72D297353CC}">
                <c16:uniqueId val="{00000069-999B-42C0-A7D9-A2057CE05A51}"/>
              </c:ext>
            </c:extLst>
          </c:dPt>
          <c:dPt>
            <c:idx val="53"/>
            <c:invertIfNegative val="1"/>
            <c:bubble3D val="0"/>
            <c:spPr>
              <a:solidFill>
                <a:srgbClr val="E6E5E5"/>
              </a:solidFill>
            </c:spPr>
            <c:extLst>
              <c:ext xmlns:c16="http://schemas.microsoft.com/office/drawing/2014/chart" uri="{C3380CC4-5D6E-409C-BE32-E72D297353CC}">
                <c16:uniqueId val="{0000006B-999B-42C0-A7D9-A2057CE05A51}"/>
              </c:ext>
            </c:extLst>
          </c:dPt>
          <c:dPt>
            <c:idx val="54"/>
            <c:invertIfNegative val="1"/>
            <c:bubble3D val="0"/>
            <c:spPr>
              <a:solidFill>
                <a:srgbClr val="E6E5E5"/>
              </a:solidFill>
            </c:spPr>
            <c:extLst>
              <c:ext xmlns:c16="http://schemas.microsoft.com/office/drawing/2014/chart" uri="{C3380CC4-5D6E-409C-BE32-E72D297353CC}">
                <c16:uniqueId val="{0000006D-999B-42C0-A7D9-A2057CE05A51}"/>
              </c:ext>
            </c:extLst>
          </c:dPt>
          <c:dPt>
            <c:idx val="55"/>
            <c:invertIfNegative val="1"/>
            <c:bubble3D val="0"/>
            <c:spPr>
              <a:solidFill>
                <a:srgbClr val="E6E5E5"/>
              </a:solidFill>
            </c:spPr>
            <c:extLst>
              <c:ext xmlns:c16="http://schemas.microsoft.com/office/drawing/2014/chart" uri="{C3380CC4-5D6E-409C-BE32-E72D297353CC}">
                <c16:uniqueId val="{0000006F-999B-42C0-A7D9-A2057CE05A51}"/>
              </c:ext>
            </c:extLst>
          </c:dPt>
          <c:dPt>
            <c:idx val="56"/>
            <c:invertIfNegative val="1"/>
            <c:bubble3D val="0"/>
            <c:spPr>
              <a:solidFill>
                <a:srgbClr val="E6E5E5"/>
              </a:solidFill>
            </c:spPr>
            <c:extLst>
              <c:ext xmlns:c16="http://schemas.microsoft.com/office/drawing/2014/chart" uri="{C3380CC4-5D6E-409C-BE32-E72D297353CC}">
                <c16:uniqueId val="{00000071-999B-42C0-A7D9-A2057CE05A51}"/>
              </c:ext>
            </c:extLst>
          </c:dPt>
          <c:dPt>
            <c:idx val="57"/>
            <c:invertIfNegative val="1"/>
            <c:bubble3D val="0"/>
            <c:spPr>
              <a:solidFill>
                <a:srgbClr val="E6E5E5"/>
              </a:solidFill>
            </c:spPr>
            <c:extLst>
              <c:ext xmlns:c16="http://schemas.microsoft.com/office/drawing/2014/chart" uri="{C3380CC4-5D6E-409C-BE32-E72D297353CC}">
                <c16:uniqueId val="{00000073-999B-42C0-A7D9-A2057CE05A51}"/>
              </c:ext>
            </c:extLst>
          </c:dPt>
          <c:dPt>
            <c:idx val="58"/>
            <c:invertIfNegative val="1"/>
            <c:bubble3D val="0"/>
            <c:spPr>
              <a:solidFill>
                <a:srgbClr val="E6E5E5"/>
              </a:solidFill>
            </c:spPr>
            <c:extLst>
              <c:ext xmlns:c16="http://schemas.microsoft.com/office/drawing/2014/chart" uri="{C3380CC4-5D6E-409C-BE32-E72D297353CC}">
                <c16:uniqueId val="{00000075-999B-42C0-A7D9-A2057CE05A51}"/>
              </c:ext>
            </c:extLst>
          </c:dPt>
          <c:dPt>
            <c:idx val="59"/>
            <c:invertIfNegative val="1"/>
            <c:bubble3D val="0"/>
            <c:spPr>
              <a:solidFill>
                <a:srgbClr val="E6E5E5"/>
              </a:solidFill>
            </c:spPr>
            <c:extLst>
              <c:ext xmlns:c16="http://schemas.microsoft.com/office/drawing/2014/chart" uri="{C3380CC4-5D6E-409C-BE32-E72D297353CC}">
                <c16:uniqueId val="{00000077-999B-42C0-A7D9-A2057CE05A51}"/>
              </c:ext>
            </c:extLst>
          </c:dPt>
          <c:dPt>
            <c:idx val="60"/>
            <c:invertIfNegative val="1"/>
            <c:bubble3D val="0"/>
            <c:spPr>
              <a:solidFill>
                <a:srgbClr val="E6E5E5"/>
              </a:solidFill>
            </c:spPr>
            <c:extLst>
              <c:ext xmlns:c16="http://schemas.microsoft.com/office/drawing/2014/chart" uri="{C3380CC4-5D6E-409C-BE32-E72D297353CC}">
                <c16:uniqueId val="{00000079-999B-42C0-A7D9-A2057CE05A51}"/>
              </c:ext>
            </c:extLst>
          </c:dPt>
          <c:dPt>
            <c:idx val="61"/>
            <c:invertIfNegative val="1"/>
            <c:bubble3D val="0"/>
            <c:spPr>
              <a:solidFill>
                <a:srgbClr val="E6E5E5"/>
              </a:solidFill>
            </c:spPr>
            <c:extLst>
              <c:ext xmlns:c16="http://schemas.microsoft.com/office/drawing/2014/chart" uri="{C3380CC4-5D6E-409C-BE32-E72D297353CC}">
                <c16:uniqueId val="{0000007B-999B-42C0-A7D9-A2057CE05A51}"/>
              </c:ext>
            </c:extLst>
          </c:dPt>
          <c:dPt>
            <c:idx val="62"/>
            <c:invertIfNegative val="1"/>
            <c:bubble3D val="0"/>
            <c:spPr>
              <a:solidFill>
                <a:srgbClr val="E6E5E5"/>
              </a:solidFill>
            </c:spPr>
            <c:extLst>
              <c:ext xmlns:c16="http://schemas.microsoft.com/office/drawing/2014/chart" uri="{C3380CC4-5D6E-409C-BE32-E72D297353CC}">
                <c16:uniqueId val="{0000007D-999B-42C0-A7D9-A2057CE05A51}"/>
              </c:ext>
            </c:extLst>
          </c:dPt>
          <c:dPt>
            <c:idx val="63"/>
            <c:invertIfNegative val="1"/>
            <c:bubble3D val="0"/>
            <c:spPr>
              <a:solidFill>
                <a:srgbClr val="E6E5E5"/>
              </a:solidFill>
            </c:spPr>
            <c:extLst>
              <c:ext xmlns:c16="http://schemas.microsoft.com/office/drawing/2014/chart" uri="{C3380CC4-5D6E-409C-BE32-E72D297353CC}">
                <c16:uniqueId val="{0000007F-999B-42C0-A7D9-A2057CE05A51}"/>
              </c:ext>
            </c:extLst>
          </c:dPt>
          <c:dPt>
            <c:idx val="64"/>
            <c:invertIfNegative val="1"/>
            <c:bubble3D val="0"/>
            <c:spPr>
              <a:solidFill>
                <a:srgbClr val="E6E5E5"/>
              </a:solidFill>
            </c:spPr>
            <c:extLst>
              <c:ext xmlns:c16="http://schemas.microsoft.com/office/drawing/2014/chart" uri="{C3380CC4-5D6E-409C-BE32-E72D297353CC}">
                <c16:uniqueId val="{00000081-999B-42C0-A7D9-A2057CE05A51}"/>
              </c:ext>
            </c:extLst>
          </c:dPt>
          <c:dPt>
            <c:idx val="65"/>
            <c:invertIfNegative val="1"/>
            <c:bubble3D val="0"/>
            <c:spPr>
              <a:solidFill>
                <a:srgbClr val="E6E5E5"/>
              </a:solidFill>
            </c:spPr>
            <c:extLst>
              <c:ext xmlns:c16="http://schemas.microsoft.com/office/drawing/2014/chart" uri="{C3380CC4-5D6E-409C-BE32-E72D297353CC}">
                <c16:uniqueId val="{00000083-999B-42C0-A7D9-A2057CE05A51}"/>
              </c:ext>
            </c:extLst>
          </c:dPt>
          <c:dPt>
            <c:idx val="66"/>
            <c:invertIfNegative val="1"/>
            <c:bubble3D val="0"/>
            <c:spPr>
              <a:solidFill>
                <a:srgbClr val="E6E5E5"/>
              </a:solidFill>
            </c:spPr>
            <c:extLst>
              <c:ext xmlns:c16="http://schemas.microsoft.com/office/drawing/2014/chart" uri="{C3380CC4-5D6E-409C-BE32-E72D297353CC}">
                <c16:uniqueId val="{00000085-999B-42C0-A7D9-A2057CE05A51}"/>
              </c:ext>
            </c:extLst>
          </c:dPt>
          <c:dPt>
            <c:idx val="67"/>
            <c:invertIfNegative val="1"/>
            <c:bubble3D val="0"/>
            <c:spPr>
              <a:solidFill>
                <a:srgbClr val="E6E5E5"/>
              </a:solidFill>
            </c:spPr>
            <c:extLst>
              <c:ext xmlns:c16="http://schemas.microsoft.com/office/drawing/2014/chart" uri="{C3380CC4-5D6E-409C-BE32-E72D297353CC}">
                <c16:uniqueId val="{00000087-999B-42C0-A7D9-A2057CE05A51}"/>
              </c:ext>
            </c:extLst>
          </c:dPt>
          <c:dPt>
            <c:idx val="68"/>
            <c:invertIfNegative val="1"/>
            <c:bubble3D val="0"/>
            <c:spPr>
              <a:solidFill>
                <a:srgbClr val="E6E5E5"/>
              </a:solidFill>
            </c:spPr>
            <c:extLst>
              <c:ext xmlns:c16="http://schemas.microsoft.com/office/drawing/2014/chart" uri="{C3380CC4-5D6E-409C-BE32-E72D297353CC}">
                <c16:uniqueId val="{00000089-999B-42C0-A7D9-A2057CE05A51}"/>
              </c:ext>
            </c:extLst>
          </c:dPt>
          <c:dPt>
            <c:idx val="69"/>
            <c:invertIfNegative val="1"/>
            <c:bubble3D val="0"/>
            <c:spPr>
              <a:solidFill>
                <a:srgbClr val="E6E5E5"/>
              </a:solidFill>
            </c:spPr>
            <c:extLst>
              <c:ext xmlns:c16="http://schemas.microsoft.com/office/drawing/2014/chart" uri="{C3380CC4-5D6E-409C-BE32-E72D297353CC}">
                <c16:uniqueId val="{0000008B-999B-42C0-A7D9-A2057CE05A51}"/>
              </c:ext>
            </c:extLst>
          </c:dPt>
          <c:dPt>
            <c:idx val="70"/>
            <c:invertIfNegative val="1"/>
            <c:bubble3D val="0"/>
            <c:spPr>
              <a:solidFill>
                <a:srgbClr val="E6E5E5"/>
              </a:solidFill>
            </c:spPr>
            <c:extLst>
              <c:ext xmlns:c16="http://schemas.microsoft.com/office/drawing/2014/chart" uri="{C3380CC4-5D6E-409C-BE32-E72D297353CC}">
                <c16:uniqueId val="{0000008D-999B-42C0-A7D9-A2057CE05A51}"/>
              </c:ext>
            </c:extLst>
          </c:dPt>
          <c:dPt>
            <c:idx val="71"/>
            <c:invertIfNegative val="1"/>
            <c:bubble3D val="0"/>
            <c:spPr>
              <a:solidFill>
                <a:srgbClr val="E6E5E5"/>
              </a:solidFill>
            </c:spPr>
            <c:extLst>
              <c:ext xmlns:c16="http://schemas.microsoft.com/office/drawing/2014/chart" uri="{C3380CC4-5D6E-409C-BE32-E72D297353CC}">
                <c16:uniqueId val="{0000008F-999B-42C0-A7D9-A2057CE05A51}"/>
              </c:ext>
            </c:extLst>
          </c:dPt>
          <c:dPt>
            <c:idx val="72"/>
            <c:invertIfNegative val="1"/>
            <c:bubble3D val="0"/>
            <c:spPr>
              <a:solidFill>
                <a:srgbClr val="E6E5E5"/>
              </a:solidFill>
            </c:spPr>
            <c:extLst>
              <c:ext xmlns:c16="http://schemas.microsoft.com/office/drawing/2014/chart" uri="{C3380CC4-5D6E-409C-BE32-E72D297353CC}">
                <c16:uniqueId val="{00000091-999B-42C0-A7D9-A2057CE05A51}"/>
              </c:ext>
            </c:extLst>
          </c:dPt>
          <c:dPt>
            <c:idx val="73"/>
            <c:invertIfNegative val="1"/>
            <c:bubble3D val="0"/>
            <c:spPr>
              <a:solidFill>
                <a:srgbClr val="E6E5E5"/>
              </a:solidFill>
            </c:spPr>
            <c:extLst>
              <c:ext xmlns:c16="http://schemas.microsoft.com/office/drawing/2014/chart" uri="{C3380CC4-5D6E-409C-BE32-E72D297353CC}">
                <c16:uniqueId val="{00000093-999B-42C0-A7D9-A2057CE05A51}"/>
              </c:ext>
            </c:extLst>
          </c:dPt>
          <c:dPt>
            <c:idx val="74"/>
            <c:invertIfNegative val="1"/>
            <c:bubble3D val="0"/>
            <c:spPr>
              <a:solidFill>
                <a:srgbClr val="E6E5E5"/>
              </a:solidFill>
            </c:spPr>
            <c:extLst>
              <c:ext xmlns:c16="http://schemas.microsoft.com/office/drawing/2014/chart" uri="{C3380CC4-5D6E-409C-BE32-E72D297353CC}">
                <c16:uniqueId val="{00000095-999B-42C0-A7D9-A2057CE05A51}"/>
              </c:ext>
            </c:extLst>
          </c:dPt>
          <c:dPt>
            <c:idx val="75"/>
            <c:invertIfNegative val="1"/>
            <c:bubble3D val="0"/>
            <c:spPr>
              <a:solidFill>
                <a:srgbClr val="E6E5E5"/>
              </a:solidFill>
            </c:spPr>
            <c:extLst>
              <c:ext xmlns:c16="http://schemas.microsoft.com/office/drawing/2014/chart" uri="{C3380CC4-5D6E-409C-BE32-E72D297353CC}">
                <c16:uniqueId val="{00000097-999B-42C0-A7D9-A2057CE05A51}"/>
              </c:ext>
            </c:extLst>
          </c:dPt>
          <c:dPt>
            <c:idx val="76"/>
            <c:invertIfNegative val="1"/>
            <c:bubble3D val="0"/>
            <c:spPr>
              <a:solidFill>
                <a:srgbClr val="E6E5E5"/>
              </a:solidFill>
            </c:spPr>
            <c:extLst>
              <c:ext xmlns:c16="http://schemas.microsoft.com/office/drawing/2014/chart" uri="{C3380CC4-5D6E-409C-BE32-E72D297353CC}">
                <c16:uniqueId val="{00000099-999B-42C0-A7D9-A2057CE05A51}"/>
              </c:ext>
            </c:extLst>
          </c:dPt>
          <c:dPt>
            <c:idx val="77"/>
            <c:invertIfNegative val="1"/>
            <c:bubble3D val="0"/>
            <c:spPr>
              <a:solidFill>
                <a:srgbClr val="E6E5E5"/>
              </a:solidFill>
            </c:spPr>
            <c:extLst>
              <c:ext xmlns:c16="http://schemas.microsoft.com/office/drawing/2014/chart" uri="{C3380CC4-5D6E-409C-BE32-E72D297353CC}">
                <c16:uniqueId val="{0000009B-999B-42C0-A7D9-A2057CE05A51}"/>
              </c:ext>
            </c:extLst>
          </c:dPt>
          <c:dPt>
            <c:idx val="78"/>
            <c:invertIfNegative val="1"/>
            <c:bubble3D val="0"/>
            <c:spPr>
              <a:solidFill>
                <a:srgbClr val="E6E5E5"/>
              </a:solidFill>
            </c:spPr>
            <c:extLst>
              <c:ext xmlns:c16="http://schemas.microsoft.com/office/drawing/2014/chart" uri="{C3380CC4-5D6E-409C-BE32-E72D297353CC}">
                <c16:uniqueId val="{0000009D-999B-42C0-A7D9-A2057CE05A51}"/>
              </c:ext>
            </c:extLst>
          </c:dPt>
          <c:dPt>
            <c:idx val="79"/>
            <c:invertIfNegative val="1"/>
            <c:bubble3D val="0"/>
            <c:spPr>
              <a:solidFill>
                <a:srgbClr val="E6E5E5"/>
              </a:solidFill>
            </c:spPr>
            <c:extLst>
              <c:ext xmlns:c16="http://schemas.microsoft.com/office/drawing/2014/chart" uri="{C3380CC4-5D6E-409C-BE32-E72D297353CC}">
                <c16:uniqueId val="{0000009F-999B-42C0-A7D9-A2057CE05A51}"/>
              </c:ext>
            </c:extLst>
          </c:dPt>
          <c:dPt>
            <c:idx val="80"/>
            <c:invertIfNegative val="1"/>
            <c:bubble3D val="0"/>
            <c:spPr>
              <a:solidFill>
                <a:srgbClr val="E6E5E5"/>
              </a:solidFill>
            </c:spPr>
            <c:extLst>
              <c:ext xmlns:c16="http://schemas.microsoft.com/office/drawing/2014/chart" uri="{C3380CC4-5D6E-409C-BE32-E72D297353CC}">
                <c16:uniqueId val="{000000A1-999B-42C0-A7D9-A2057CE05A51}"/>
              </c:ext>
            </c:extLst>
          </c:dPt>
          <c:dPt>
            <c:idx val="81"/>
            <c:invertIfNegative val="1"/>
            <c:bubble3D val="0"/>
            <c:spPr>
              <a:solidFill>
                <a:srgbClr val="E6E5E5"/>
              </a:solidFill>
            </c:spPr>
            <c:extLst>
              <c:ext xmlns:c16="http://schemas.microsoft.com/office/drawing/2014/chart" uri="{C3380CC4-5D6E-409C-BE32-E72D297353CC}">
                <c16:uniqueId val="{000000A3-999B-42C0-A7D9-A2057CE05A51}"/>
              </c:ext>
            </c:extLst>
          </c:dPt>
          <c:dPt>
            <c:idx val="82"/>
            <c:invertIfNegative val="1"/>
            <c:bubble3D val="0"/>
            <c:spPr>
              <a:solidFill>
                <a:srgbClr val="E6E5E5"/>
              </a:solidFill>
            </c:spPr>
            <c:extLst>
              <c:ext xmlns:c16="http://schemas.microsoft.com/office/drawing/2014/chart" uri="{C3380CC4-5D6E-409C-BE32-E72D297353CC}">
                <c16:uniqueId val="{000000A5-999B-42C0-A7D9-A2057CE05A51}"/>
              </c:ext>
            </c:extLst>
          </c:dPt>
          <c:dPt>
            <c:idx val="83"/>
            <c:invertIfNegative val="1"/>
            <c:bubble3D val="0"/>
            <c:spPr>
              <a:solidFill>
                <a:srgbClr val="E6E5E5"/>
              </a:solidFill>
            </c:spPr>
            <c:extLst>
              <c:ext xmlns:c16="http://schemas.microsoft.com/office/drawing/2014/chart" uri="{C3380CC4-5D6E-409C-BE32-E72D297353CC}">
                <c16:uniqueId val="{000000A7-999B-42C0-A7D9-A2057CE05A51}"/>
              </c:ext>
            </c:extLst>
          </c:dPt>
          <c:dPt>
            <c:idx val="84"/>
            <c:invertIfNegative val="1"/>
            <c:bubble3D val="0"/>
            <c:spPr>
              <a:solidFill>
                <a:srgbClr val="E6E5E5"/>
              </a:solidFill>
            </c:spPr>
            <c:extLst>
              <c:ext xmlns:c16="http://schemas.microsoft.com/office/drawing/2014/chart" uri="{C3380CC4-5D6E-409C-BE32-E72D297353CC}">
                <c16:uniqueId val="{000000A9-999B-42C0-A7D9-A2057CE05A51}"/>
              </c:ext>
            </c:extLst>
          </c:dPt>
          <c:dPt>
            <c:idx val="85"/>
            <c:invertIfNegative val="1"/>
            <c:bubble3D val="0"/>
            <c:spPr>
              <a:solidFill>
                <a:srgbClr val="E6E5E5"/>
              </a:solidFill>
            </c:spPr>
            <c:extLst>
              <c:ext xmlns:c16="http://schemas.microsoft.com/office/drawing/2014/chart" uri="{C3380CC4-5D6E-409C-BE32-E72D297353CC}">
                <c16:uniqueId val="{000000AB-999B-42C0-A7D9-A2057CE05A51}"/>
              </c:ext>
            </c:extLst>
          </c:dPt>
          <c:dPt>
            <c:idx val="86"/>
            <c:invertIfNegative val="1"/>
            <c:bubble3D val="0"/>
            <c:spPr>
              <a:solidFill>
                <a:srgbClr val="E6E5E5"/>
              </a:solidFill>
            </c:spPr>
            <c:extLst>
              <c:ext xmlns:c16="http://schemas.microsoft.com/office/drawing/2014/chart" uri="{C3380CC4-5D6E-409C-BE32-E72D297353CC}">
                <c16:uniqueId val="{000000AD-999B-42C0-A7D9-A2057CE05A51}"/>
              </c:ext>
            </c:extLst>
          </c:dPt>
          <c:dPt>
            <c:idx val="87"/>
            <c:invertIfNegative val="1"/>
            <c:bubble3D val="0"/>
            <c:spPr>
              <a:solidFill>
                <a:srgbClr val="E6E5E5"/>
              </a:solidFill>
            </c:spPr>
            <c:extLst>
              <c:ext xmlns:c16="http://schemas.microsoft.com/office/drawing/2014/chart" uri="{C3380CC4-5D6E-409C-BE32-E72D297353CC}">
                <c16:uniqueId val="{000000AF-999B-42C0-A7D9-A2057CE05A51}"/>
              </c:ext>
            </c:extLst>
          </c:dPt>
          <c:dPt>
            <c:idx val="88"/>
            <c:invertIfNegative val="1"/>
            <c:bubble3D val="0"/>
            <c:spPr>
              <a:solidFill>
                <a:srgbClr val="E6E5E5"/>
              </a:solidFill>
            </c:spPr>
            <c:extLst>
              <c:ext xmlns:c16="http://schemas.microsoft.com/office/drawing/2014/chart" uri="{C3380CC4-5D6E-409C-BE32-E72D297353CC}">
                <c16:uniqueId val="{000000B1-999B-42C0-A7D9-A2057CE05A51}"/>
              </c:ext>
            </c:extLst>
          </c:dPt>
          <c:dPt>
            <c:idx val="89"/>
            <c:invertIfNegative val="1"/>
            <c:bubble3D val="0"/>
            <c:spPr>
              <a:solidFill>
                <a:srgbClr val="E6E5E5"/>
              </a:solidFill>
            </c:spPr>
            <c:extLst>
              <c:ext xmlns:c16="http://schemas.microsoft.com/office/drawing/2014/chart" uri="{C3380CC4-5D6E-409C-BE32-E72D297353CC}">
                <c16:uniqueId val="{000000B3-999B-42C0-A7D9-A2057CE05A51}"/>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999B-42C0-A7D9-A2057CE05A51}"/>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999B-42C0-A7D9-A2057CE05A51}"/>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999B-42C0-A7D9-A2057CE05A51}"/>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999B-42C0-A7D9-A2057CE05A51}"/>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999B-42C0-A7D9-A2057CE05A51}"/>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999B-42C0-A7D9-A2057CE05A51}"/>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999B-42C0-A7D9-A2057CE05A51}"/>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999B-42C0-A7D9-A2057CE05A51}"/>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999B-42C0-A7D9-A2057CE05A51}"/>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99B-42C0-A7D9-A2057CE05A51}"/>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99B-42C0-A7D9-A2057CE05A51}"/>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999B-42C0-A7D9-A2057CE05A51}"/>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999B-42C0-A7D9-A2057CE05A51}"/>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999B-42C0-A7D9-A2057CE05A51}"/>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999B-42C0-A7D9-A2057CE05A51}"/>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999B-42C0-A7D9-A2057CE05A51}"/>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999B-42C0-A7D9-A2057CE05A51}"/>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999B-42C0-A7D9-A2057CE05A51}"/>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999B-42C0-A7D9-A2057CE05A51}"/>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999B-42C0-A7D9-A2057CE05A51}"/>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999B-42C0-A7D9-A2057CE05A51}"/>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999B-42C0-A7D9-A2057CE05A51}"/>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999B-42C0-A7D9-A2057CE05A51}"/>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999B-42C0-A7D9-A2057CE05A51}"/>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999B-42C0-A7D9-A2057CE05A51}"/>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999B-42C0-A7D9-A2057CE05A51}"/>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999B-42C0-A7D9-A2057CE05A51}"/>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999B-42C0-A7D9-A2057CE05A51}"/>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999B-42C0-A7D9-A2057CE05A51}"/>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999B-42C0-A7D9-A2057CE05A51}"/>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999B-42C0-A7D9-A2057CE05A51}"/>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999B-42C0-A7D9-A2057CE05A51}"/>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999B-42C0-A7D9-A2057CE05A51}"/>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999B-42C0-A7D9-A2057CE05A51}"/>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999B-42C0-A7D9-A2057CE05A51}"/>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999B-42C0-A7D9-A2057CE05A51}"/>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999B-42C0-A7D9-A2057CE05A51}"/>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999B-42C0-A7D9-A2057CE05A51}"/>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999B-42C0-A7D9-A2057CE05A51}"/>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999B-42C0-A7D9-A2057CE05A51}"/>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999B-42C0-A7D9-A2057CE05A51}"/>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999B-42C0-A7D9-A2057CE05A51}"/>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999B-42C0-A7D9-A2057CE05A51}"/>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999B-42C0-A7D9-A2057CE05A51}"/>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999B-42C0-A7D9-A2057CE05A51}"/>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999B-42C0-A7D9-A2057CE05A51}"/>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999B-42C0-A7D9-A2057CE05A51}"/>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999B-42C0-A7D9-A2057CE05A51}"/>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999B-42C0-A7D9-A2057CE05A51}"/>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999B-42C0-A7D9-A2057CE05A51}"/>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999B-42C0-A7D9-A2057CE05A51}"/>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999B-42C0-A7D9-A2057CE05A51}"/>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999B-42C0-A7D9-A2057CE05A51}"/>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999B-42C0-A7D9-A2057CE05A51}"/>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999B-42C0-A7D9-A2057CE05A51}"/>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999B-42C0-A7D9-A2057CE05A51}"/>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999B-42C0-A7D9-A2057CE05A51}"/>
                </c:ext>
              </c:extLst>
            </c:dLbl>
            <c:dLbl>
              <c:idx val="5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999B-42C0-A7D9-A2057CE05A51}"/>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999B-42C0-A7D9-A2057CE05A51}"/>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999B-42C0-A7D9-A2057CE05A51}"/>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999B-42C0-A7D9-A2057CE05A51}"/>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999B-42C0-A7D9-A2057CE05A51}"/>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999B-42C0-A7D9-A2057CE05A51}"/>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999B-42C0-A7D9-A2057CE05A51}"/>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999B-42C0-A7D9-A2057CE05A51}"/>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999B-42C0-A7D9-A2057CE05A51}"/>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999B-42C0-A7D9-A2057CE05A51}"/>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999B-42C0-A7D9-A2057CE05A51}"/>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999B-42C0-A7D9-A2057CE05A51}"/>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999B-42C0-A7D9-A2057CE05A51}"/>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999B-42C0-A7D9-A2057CE05A51}"/>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999B-42C0-A7D9-A2057CE05A51}"/>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999B-42C0-A7D9-A2057CE05A51}"/>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999B-42C0-A7D9-A2057CE05A51}"/>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999B-42C0-A7D9-A2057CE05A51}"/>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999B-42C0-A7D9-A2057CE05A51}"/>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999B-42C0-A7D9-A2057CE05A51}"/>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999B-42C0-A7D9-A2057CE05A51}"/>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999B-42C0-A7D9-A2057CE05A51}"/>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999B-42C0-A7D9-A2057CE05A51}"/>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999B-42C0-A7D9-A2057CE05A51}"/>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999B-42C0-A7D9-A2057CE05A51}"/>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999B-42C0-A7D9-A2057CE05A51}"/>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999B-42C0-A7D9-A2057CE05A51}"/>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999B-42C0-A7D9-A2057CE05A51}"/>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999B-42C0-A7D9-A2057CE05A51}"/>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999B-42C0-A7D9-A2057CE05A51}"/>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999B-42C0-A7D9-A2057CE05A51}"/>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999B-42C0-A7D9-A2057CE05A51}"/>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9</c:f>
              <c:strCache>
                <c:ptCount val="78"/>
                <c:pt idx="0">
                  <c:v>Galaxy Jewels 1.4kg</c:v>
                </c:pt>
                <c:pt idx="1">
                  <c:v>Ferrero Rocher 300g</c:v>
                </c:pt>
                <c:pt idx="2">
                  <c:v>Galaxy Smooth Milk Chocolate 36g x 24</c:v>
                </c:pt>
                <c:pt idx="3">
                  <c:v>Galaxy Jewels 900g</c:v>
                </c:pt>
                <c:pt idx="4">
                  <c:v>Galaxy Jewels 650g</c:v>
                </c:pt>
                <c:pt idx="5">
                  <c:v>Cadbury Dairy Milk Minis Selection 500g</c:v>
                </c:pt>
                <c:pt idx="6">
                  <c:v>Kit Kat 17.7g x 18</c:v>
                </c:pt>
                <c:pt idx="7">
                  <c:v>Kinder Bueno Milk&amp;Hazelnut 43g</c:v>
                </c:pt>
                <c:pt idx="8">
                  <c:v>Tiffany Break Supa 38gx12</c:v>
                </c:pt>
                <c:pt idx="9">
                  <c:v>Snickers 50gx6</c:v>
                </c:pt>
                <c:pt idx="10">
                  <c:v>Tiffany Break 24x15.5g</c:v>
                </c:pt>
                <c:pt idx="11">
                  <c:v>Tiffany Break Mini Fun 384g</c:v>
                </c:pt>
                <c:pt idx="12">
                  <c:v>Kinder Bueno Milk&amp;Hazelnut 43gx10</c:v>
                </c:pt>
                <c:pt idx="13">
                  <c:v>Mackintosh Quality Street Chocolate 600g</c:v>
                </c:pt>
                <c:pt idx="14">
                  <c:v>Snickers Bar 50g</c:v>
                </c:pt>
                <c:pt idx="15">
                  <c:v>Maltesers Chocolate 175g</c:v>
                </c:pt>
                <c:pt idx="16">
                  <c:v>Tiffany Break 31gx12</c:v>
                </c:pt>
                <c:pt idx="17">
                  <c:v>Tiffany Break Delight 25gx12</c:v>
                </c:pt>
                <c:pt idx="18">
                  <c:v>Snickers Minis Bag 252g</c:v>
                </c:pt>
                <c:pt idx="19">
                  <c:v>Cadbury Miniatures Box 400g</c:v>
                </c:pt>
                <c:pt idx="20">
                  <c:v>Bounty Bar 57g</c:v>
                </c:pt>
                <c:pt idx="21">
                  <c:v>Galaxy Smooth Milk Minis 237.5g</c:v>
                </c:pt>
                <c:pt idx="22">
                  <c:v>Bounty Bar 57g x 5</c:v>
                </c:pt>
                <c:pt idx="23">
                  <c:v>Kinder Maxi Chocolate 21gx11 (10+1)</c:v>
                </c:pt>
                <c:pt idx="24">
                  <c:v>Ferrero Rocher 200g</c:v>
                </c:pt>
                <c:pt idx="25">
                  <c:v>Ferrero Raffaello 150g box </c:v>
                </c:pt>
                <c:pt idx="26">
                  <c:v>Galaxy Hazelnut Minis 237.5g</c:v>
                </c:pt>
                <c:pt idx="27">
                  <c:v>Twix 50gx5</c:v>
                </c:pt>
                <c:pt idx="28">
                  <c:v>Twix Bar 50g</c:v>
                </c:pt>
                <c:pt idx="29">
                  <c:v>Maltesers Chocolate 37g</c:v>
                </c:pt>
                <c:pt idx="30">
                  <c:v>Snickers Miniatures 150g</c:v>
                </c:pt>
                <c:pt idx="31">
                  <c:v>Cadbury Flake Minis Bag 159.5g</c:v>
                </c:pt>
                <c:pt idx="32">
                  <c:v>M&amp;M's Peanut 165g</c:v>
                </c:pt>
                <c:pt idx="33">
                  <c:v>Twix Miniatures 150g</c:v>
                </c:pt>
                <c:pt idx="34">
                  <c:v>Cadbury Timeout Minis Wafer 247.2g</c:v>
                </c:pt>
                <c:pt idx="35">
                  <c:v>Toblerone Milk Chocolate 200g</c:v>
                </c:pt>
                <c:pt idx="36">
                  <c:v>Galaxy Smooth Milk Minis 162.5g</c:v>
                </c:pt>
                <c:pt idx="37">
                  <c:v>Mars 45g x 6</c:v>
                </c:pt>
                <c:pt idx="38">
                  <c:v>Bounty Miniatures 150g</c:v>
                </c:pt>
                <c:pt idx="39">
                  <c:v>Kinder Chocolate Bar 8x12.5g</c:v>
                </c:pt>
                <c:pt idx="40">
                  <c:v>Galaxy Smooth Dark Chocolate 40g</c:v>
                </c:pt>
                <c:pt idx="41">
                  <c:v>Mars Bar 51g </c:v>
                </c:pt>
                <c:pt idx="42">
                  <c:v>Hershey's Kisses Special Selection Assorted 325g</c:v>
                </c:pt>
                <c:pt idx="43">
                  <c:v>Galaxy Hazelnut Chocolate 36g</c:v>
                </c:pt>
                <c:pt idx="44">
                  <c:v>Galaxy Smooth Milk Chocolate 36g</c:v>
                </c:pt>
                <c:pt idx="45">
                  <c:v>Galaxy Caramel Bar 40g</c:v>
                </c:pt>
                <c:pt idx="46">
                  <c:v>Kinder Chocolate Bar 50g</c:v>
                </c:pt>
                <c:pt idx="47">
                  <c:v>Kinder Bueno White 39g</c:v>
                </c:pt>
                <c:pt idx="48">
                  <c:v>Hershey's Kisses Classic Selection Assorted 325g</c:v>
                </c:pt>
                <c:pt idx="49">
                  <c:v>Galaxy Crispy Milk Chocolate 36g</c:v>
                </c:pt>
                <c:pt idx="50">
                  <c:v> Reeses Peanut Butter Cup Mini 340g </c:v>
                </c:pt>
                <c:pt idx="51">
                  <c:v>Kit Kat 17.7g</c:v>
                </c:pt>
                <c:pt idx="52">
                  <c:v> Reeses Peanut Butter Cup 42g x 6</c:v>
                </c:pt>
                <c:pt idx="53">
                  <c:v>Reeses Peanut Butter Cups 46g</c:v>
                </c:pt>
                <c:pt idx="54">
                  <c:v>Reeses Peanut Butter Cup Mini 215g</c:v>
                </c:pt>
                <c:pt idx="55">
                  <c:v>M&amp;M's Milk Chocolate 30.6g</c:v>
                </c:pt>
                <c:pt idx="56">
                  <c:v>Godiva Double Chocolate Bar 35g</c:v>
                </c:pt>
                <c:pt idx="57">
                  <c:v>Galaxy Smooth Milk Chocolate 80g</c:v>
                </c:pt>
                <c:pt idx="58">
                  <c:v>Galaxy Ripple Bar 33g</c:v>
                </c:pt>
                <c:pt idx="59">
                  <c:v>Hershey's Chocobites Cookies 'n Creme 90g</c:v>
                </c:pt>
                <c:pt idx="60">
                  <c:v>Hershey's Kisses Special Selection Assorted 100g</c:v>
                </c:pt>
                <c:pt idx="61">
                  <c:v>Hershey's Chocobites Salted Caramel 81g</c:v>
                </c:pt>
                <c:pt idx="62">
                  <c:v>Hershey's Cookies N' Chocolate 40g</c:v>
                </c:pt>
                <c:pt idx="63">
                  <c:v>Reeses Block 90g</c:v>
                </c:pt>
                <c:pt idx="64">
                  <c:v>Reeses Nut Bar 47g</c:v>
                </c:pt>
                <c:pt idx="65">
                  <c:v>Hershey's Kisses Classic Selection Assorted 100g</c:v>
                </c:pt>
                <c:pt idx="66">
                  <c:v>Hershey's Cookies 'n Creme Creations Salted Caramel 38g</c:v>
                </c:pt>
                <c:pt idx="67">
                  <c:v>Hershey's Cookies N' Crème 12.76g</c:v>
                </c:pt>
                <c:pt idx="68">
                  <c:v> Reeses Wafer Sticks 42g</c:v>
                </c:pt>
                <c:pt idx="69">
                  <c:v>Hershey's Choco Tubes Cookies N' Creme 18g</c:v>
                </c:pt>
                <c:pt idx="70">
                  <c:v> Reeses Peanut Butter Cup Mini 500G</c:v>
                </c:pt>
                <c:pt idx="71">
                  <c:v>Reeses Pieces 180g</c:v>
                </c:pt>
                <c:pt idx="72">
                  <c:v>Reeses Mini King Size 71g</c:v>
                </c:pt>
                <c:pt idx="73">
                  <c:v>Hershey's Cookies 'n Creme Block 90g</c:v>
                </c:pt>
                <c:pt idx="74">
                  <c:v>Hersheys Kisses Classic Selection Assorted 600G</c:v>
                </c:pt>
                <c:pt idx="75">
                  <c:v>Hershey's Cookies 'n Creme 40Gx 4</c:v>
                </c:pt>
                <c:pt idx="76">
                  <c:v>Hershey's Variety Pack 40Gx3</c:v>
                </c:pt>
                <c:pt idx="77">
                  <c:v>Reeses Fast break 51g</c:v>
                </c:pt>
              </c:strCache>
            </c:strRef>
          </c:cat>
          <c:val>
            <c:numRef>
              <c:f>Sheet1!$B$2:$B$79</c:f>
              <c:numCache>
                <c:formatCode>General</c:formatCode>
                <c:ptCount val="78"/>
                <c:pt idx="0">
                  <c:v>8.7534810601232665E-2</c:v>
                </c:pt>
                <c:pt idx="1">
                  <c:v>5.7559500892221442E-2</c:v>
                </c:pt>
                <c:pt idx="2">
                  <c:v>5.2484576460387768E-2</c:v>
                </c:pt>
                <c:pt idx="3">
                  <c:v>5.2431668272041182E-2</c:v>
                </c:pt>
                <c:pt idx="4">
                  <c:v>4.868892335715206E-2</c:v>
                </c:pt>
                <c:pt idx="5">
                  <c:v>3.9883127665807053E-2</c:v>
                </c:pt>
                <c:pt idx="6">
                  <c:v>2.9310751584451511E-2</c:v>
                </c:pt>
                <c:pt idx="7">
                  <c:v>2.7693958481604788E-2</c:v>
                </c:pt>
                <c:pt idx="8">
                  <c:v>2.520913477236672E-2</c:v>
                </c:pt>
                <c:pt idx="9">
                  <c:v>2.4955217813546149E-2</c:v>
                </c:pt>
                <c:pt idx="10">
                  <c:v>2.4411629377003408E-2</c:v>
                </c:pt>
                <c:pt idx="11">
                  <c:v>2.432162347521807E-2</c:v>
                </c:pt>
                <c:pt idx="12">
                  <c:v>2.2631346863859841E-2</c:v>
                </c:pt>
                <c:pt idx="13">
                  <c:v>2.2425372973408079E-2</c:v>
                </c:pt>
                <c:pt idx="14">
                  <c:v>2.1309215636296241E-2</c:v>
                </c:pt>
                <c:pt idx="15">
                  <c:v>2.0959753622360241E-2</c:v>
                </c:pt>
                <c:pt idx="16">
                  <c:v>2.0800319571241239E-2</c:v>
                </c:pt>
                <c:pt idx="17">
                  <c:v>1.7970810967835201E-2</c:v>
                </c:pt>
                <c:pt idx="18">
                  <c:v>1.6850758622753849E-2</c:v>
                </c:pt>
                <c:pt idx="19">
                  <c:v>1.596269816570935E-2</c:v>
                </c:pt>
                <c:pt idx="20">
                  <c:v>1.5112238409568249E-2</c:v>
                </c:pt>
                <c:pt idx="21">
                  <c:v>1.461542990237732E-2</c:v>
                </c:pt>
                <c:pt idx="22">
                  <c:v>1.4334284118613001E-2</c:v>
                </c:pt>
                <c:pt idx="23">
                  <c:v>1.430940527615138E-2</c:v>
                </c:pt>
                <c:pt idx="24">
                  <c:v>1.4289080781313281E-2</c:v>
                </c:pt>
                <c:pt idx="25">
                  <c:v>1.403814668354727E-2</c:v>
                </c:pt>
                <c:pt idx="26">
                  <c:v>1.330105136333818E-2</c:v>
                </c:pt>
                <c:pt idx="27">
                  <c:v>1.279435495102535E-2</c:v>
                </c:pt>
                <c:pt idx="28">
                  <c:v>1.1555834851677259E-2</c:v>
                </c:pt>
                <c:pt idx="29">
                  <c:v>1.1353549481144559E-2</c:v>
                </c:pt>
                <c:pt idx="30">
                  <c:v>1.086773292425431E-2</c:v>
                </c:pt>
                <c:pt idx="31">
                  <c:v>1.0487758880938881E-2</c:v>
                </c:pt>
                <c:pt idx="32">
                  <c:v>1.043360818931305E-2</c:v>
                </c:pt>
                <c:pt idx="33">
                  <c:v>1.021010493667055E-2</c:v>
                </c:pt>
                <c:pt idx="34">
                  <c:v>1.0000357436865779E-2</c:v>
                </c:pt>
                <c:pt idx="35">
                  <c:v>9.6856196504729163E-3</c:v>
                </c:pt>
                <c:pt idx="36">
                  <c:v>9.406623878718887E-3</c:v>
                </c:pt>
                <c:pt idx="37">
                  <c:v>8.1035583272461749E-3</c:v>
                </c:pt>
                <c:pt idx="38">
                  <c:v>7.5495692266556828E-3</c:v>
                </c:pt>
                <c:pt idx="39">
                  <c:v>7.4420449325245048E-3</c:v>
                </c:pt>
                <c:pt idx="40">
                  <c:v>7.2277216112720663E-3</c:v>
                </c:pt>
                <c:pt idx="41">
                  <c:v>7.1673392735173798E-3</c:v>
                </c:pt>
                <c:pt idx="42">
                  <c:v>6.7869153080573506E-3</c:v>
                </c:pt>
                <c:pt idx="43">
                  <c:v>6.6451374901548904E-3</c:v>
                </c:pt>
                <c:pt idx="44">
                  <c:v>6.5885098340167552E-3</c:v>
                </c:pt>
                <c:pt idx="45">
                  <c:v>6.1118889102816784E-3</c:v>
                </c:pt>
                <c:pt idx="46">
                  <c:v>5.4493931229054396E-3</c:v>
                </c:pt>
                <c:pt idx="47">
                  <c:v>5.4360110602241834E-3</c:v>
                </c:pt>
                <c:pt idx="48">
                  <c:v>5.072109933842715E-3</c:v>
                </c:pt>
                <c:pt idx="49">
                  <c:v>4.8778405380791113E-3</c:v>
                </c:pt>
                <c:pt idx="50">
                  <c:v>4.8293537084955207E-3</c:v>
                </c:pt>
                <c:pt idx="51">
                  <c:v>4.756436351299226E-3</c:v>
                </c:pt>
                <c:pt idx="52">
                  <c:v>4.6147312769180401E-3</c:v>
                </c:pt>
                <c:pt idx="53">
                  <c:v>4.5051743706602341E-3</c:v>
                </c:pt>
                <c:pt idx="54">
                  <c:v>4.4076916789279564E-3</c:v>
                </c:pt>
                <c:pt idx="55">
                  <c:v>4.0239190321588224E-3</c:v>
                </c:pt>
                <c:pt idx="56">
                  <c:v>3.9206240800433037E-3</c:v>
                </c:pt>
                <c:pt idx="57">
                  <c:v>3.4990833523240289E-3</c:v>
                </c:pt>
                <c:pt idx="58">
                  <c:v>3.3187734201093398E-3</c:v>
                </c:pt>
                <c:pt idx="59">
                  <c:v>2.7137303220649859E-3</c:v>
                </c:pt>
                <c:pt idx="60">
                  <c:v>2.541702375438945E-3</c:v>
                </c:pt>
                <c:pt idx="61">
                  <c:v>2.4340625382641319E-3</c:v>
                </c:pt>
                <c:pt idx="62">
                  <c:v>2.4219716916852839E-3</c:v>
                </c:pt>
                <c:pt idx="63">
                  <c:v>2.1593638402186001E-3</c:v>
                </c:pt>
                <c:pt idx="64">
                  <c:v>1.6564163558322471E-3</c:v>
                </c:pt>
                <c:pt idx="65">
                  <c:v>1.534050800512053E-3</c:v>
                </c:pt>
                <c:pt idx="66">
                  <c:v>8.8861505707664911E-4</c:v>
                </c:pt>
                <c:pt idx="67">
                  <c:v>7.8139805979037706E-4</c:v>
                </c:pt>
                <c:pt idx="68">
                  <c:v>2.7164883385527279E-4</c:v>
                </c:pt>
                <c:pt idx="69">
                  <c:v>7.2832393059720158E-5</c:v>
                </c:pt>
                <c:pt idx="70">
                  <c:v>0</c:v>
                </c:pt>
                <c:pt idx="71">
                  <c:v>0</c:v>
                </c:pt>
                <c:pt idx="72">
                  <c:v>0</c:v>
                </c:pt>
                <c:pt idx="73">
                  <c:v>0</c:v>
                </c:pt>
                <c:pt idx="74">
                  <c:v>0</c:v>
                </c:pt>
                <c:pt idx="75">
                  <c:v>0</c:v>
                </c:pt>
                <c:pt idx="76">
                  <c:v>0</c:v>
                </c:pt>
                <c:pt idx="77">
                  <c:v>0</c:v>
                </c:pt>
              </c:numCache>
            </c:numRef>
          </c:val>
          <c:extLst>
            <c:ext xmlns:c16="http://schemas.microsoft.com/office/drawing/2014/chart" uri="{C3380CC4-5D6E-409C-BE32-E72D297353CC}">
              <c16:uniqueId val="{000000B4-999B-42C0-A7D9-A2057CE05A51}"/>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CH"/>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FB031574-19AE-4EFF-8E5D-910302784672}" type="datetimeFigureOut">
              <a:rPr lang="en-CH" smtClean="0"/>
              <a:t>08/07/2024</a:t>
            </a:fld>
            <a:endParaRPr lang="en-CH"/>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CH"/>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H"/>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CH"/>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7E13843-85DD-499F-B752-681F6384D798}" type="slidenum">
              <a:rPr lang="en-CH" smtClean="0"/>
              <a:t>‹#›</a:t>
            </a:fld>
            <a:endParaRPr lang="en-CH"/>
          </a:p>
        </p:txBody>
      </p:sp>
    </p:spTree>
    <p:extLst>
      <p:ext uri="{BB962C8B-B14F-4D97-AF65-F5344CB8AC3E}">
        <p14:creationId xmlns:p14="http://schemas.microsoft.com/office/powerpoint/2010/main" val="371644163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4C233FC-47AC-4A52-94B5-CE5C7890F586}" type="slidenum">
              <a:rPr lang="en-US" smtClean="0"/>
              <a:t>12</a:t>
            </a:fld>
            <a:endParaRPr lang="en-US"/>
          </a:p>
        </p:txBody>
      </p:sp>
    </p:spTree>
    <p:extLst>
      <p:ext uri="{BB962C8B-B14F-4D97-AF65-F5344CB8AC3E}">
        <p14:creationId xmlns:p14="http://schemas.microsoft.com/office/powerpoint/2010/main" val="259245812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 Id="rId6" Type="http://schemas.microsoft.com/office/2007/relationships/hdphoto" Target="../media/hdphoto2.wdp"/><Relationship Id="rId5" Type="http://schemas.openxmlformats.org/officeDocument/2006/relationships/image" Target="../media/image4.png"/><Relationship Id="rId4" Type="http://schemas.microsoft.com/office/2007/relationships/hdphoto" Target="../media/hdphoto1.wdp"/></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1.xml"/><Relationship Id="rId4" Type="http://schemas.microsoft.com/office/2007/relationships/hdphoto" Target="../media/hdphoto3.wdp"/></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21.emf"/></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oleObject" Target="../embeddings/oleObject17.bin"/><Relationship Id="rId7"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7.xml"/><Relationship Id="rId6" Type="http://schemas.microsoft.com/office/2007/relationships/hdphoto" Target="../media/hdphoto4.wdp"/><Relationship Id="rId5" Type="http://schemas.openxmlformats.org/officeDocument/2006/relationships/image" Target="../media/image4.png"/><Relationship Id="rId4" Type="http://schemas.openxmlformats.org/officeDocument/2006/relationships/image" Target="../media/image22.emf"/></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18.xml"/><Relationship Id="rId6" Type="http://schemas.microsoft.com/office/2007/relationships/hdphoto" Target="../media/hdphoto5.wdp"/><Relationship Id="rId5" Type="http://schemas.openxmlformats.org/officeDocument/2006/relationships/image" Target="../media/image24.png"/><Relationship Id="rId4" Type="http://schemas.openxmlformats.org/officeDocument/2006/relationships/image" Target="../media/image23.emf"/></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19.bin"/><Relationship Id="rId7" Type="http://schemas.microsoft.com/office/2007/relationships/hdphoto" Target="../media/hdphoto6.wdp"/><Relationship Id="rId2" Type="http://schemas.openxmlformats.org/officeDocument/2006/relationships/slideMaster" Target="../slideMasters/slideMaster1.xml"/><Relationship Id="rId1" Type="http://schemas.openxmlformats.org/officeDocument/2006/relationships/tags" Target="../tags/tag19.xml"/><Relationship Id="rId6" Type="http://schemas.openxmlformats.org/officeDocument/2006/relationships/image" Target="../media/image27.png"/><Relationship Id="rId5" Type="http://schemas.openxmlformats.org/officeDocument/2006/relationships/image" Target="../media/image26.jpeg"/><Relationship Id="rId4" Type="http://schemas.openxmlformats.org/officeDocument/2006/relationships/image" Target="../media/image25.emf"/></Relationships>
</file>

<file path=ppt/slideLayouts/_rels/slideLayout27.xml.rels><?xml version="1.0" encoding="UTF-8" standalone="yes"?>
<Relationships xmlns="http://schemas.openxmlformats.org/package/2006/relationships"><Relationship Id="rId8" Type="http://schemas.microsoft.com/office/2007/relationships/hdphoto" Target="../media/hdphoto7.wdp"/><Relationship Id="rId3" Type="http://schemas.openxmlformats.org/officeDocument/2006/relationships/oleObject" Target="../embeddings/oleObject20.bin"/><Relationship Id="rId7" Type="http://schemas.openxmlformats.org/officeDocument/2006/relationships/image" Target="../media/image30.png"/><Relationship Id="rId2" Type="http://schemas.openxmlformats.org/officeDocument/2006/relationships/slideMaster" Target="../slideMasters/slideMaster1.xml"/><Relationship Id="rId1" Type="http://schemas.openxmlformats.org/officeDocument/2006/relationships/tags" Target="../tags/tag20.xml"/><Relationship Id="rId6" Type="http://schemas.openxmlformats.org/officeDocument/2006/relationships/hyperlink" Target="https://pixabay.com/en/coffee-table-cup-break-2725265/" TargetMode="External"/><Relationship Id="rId5" Type="http://schemas.openxmlformats.org/officeDocument/2006/relationships/image" Target="../media/image29.jpeg"/><Relationship Id="rId4" Type="http://schemas.openxmlformats.org/officeDocument/2006/relationships/image" Target="../media/image28.emf"/></Relationships>
</file>

<file path=ppt/slideLayouts/_rels/slideLayout28.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oleObject" Target="../embeddings/oleObject21.bin"/><Relationship Id="rId7" Type="http://schemas.microsoft.com/office/2007/relationships/hdphoto" Target="../media/hdphoto8.wdp"/><Relationship Id="rId2" Type="http://schemas.openxmlformats.org/officeDocument/2006/relationships/slideMaster" Target="../slideMasters/slideMaster1.xml"/><Relationship Id="rId1" Type="http://schemas.openxmlformats.org/officeDocument/2006/relationships/tags" Target="../tags/tag21.xml"/><Relationship Id="rId6" Type="http://schemas.openxmlformats.org/officeDocument/2006/relationships/image" Target="../media/image4.png"/><Relationship Id="rId5" Type="http://schemas.openxmlformats.org/officeDocument/2006/relationships/image" Target="../media/image32.jpeg"/><Relationship Id="rId4" Type="http://schemas.openxmlformats.org/officeDocument/2006/relationships/image" Target="../media/image31.emf"/><Relationship Id="rId9" Type="http://schemas.microsoft.com/office/2007/relationships/hdphoto" Target="../media/hdphoto1.wdp"/></Relationships>
</file>

<file path=ppt/slideLayouts/_rels/slideLayout29.xml.rels><?xml version="1.0" encoding="UTF-8" standalone="yes"?>
<Relationships xmlns="http://schemas.openxmlformats.org/package/2006/relationships"><Relationship Id="rId3" Type="http://schemas.openxmlformats.org/officeDocument/2006/relationships/oleObject" Target="../embeddings/oleObject22.bin"/><Relationship Id="rId7" Type="http://schemas.microsoft.com/office/2007/relationships/hdphoto" Target="../media/hdphoto9.wdp"/><Relationship Id="rId2" Type="http://schemas.openxmlformats.org/officeDocument/2006/relationships/slideMaster" Target="../slideMasters/slideMaster1.xml"/><Relationship Id="rId1" Type="http://schemas.openxmlformats.org/officeDocument/2006/relationships/tags" Target="../tags/tag22.xml"/><Relationship Id="rId6" Type="http://schemas.openxmlformats.org/officeDocument/2006/relationships/image" Target="../media/image35.png"/><Relationship Id="rId5" Type="http://schemas.openxmlformats.org/officeDocument/2006/relationships/image" Target="../media/image34.jpeg"/><Relationship Id="rId4" Type="http://schemas.openxmlformats.org/officeDocument/2006/relationships/image" Target="../media/image33.emf"/></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oleObject" Target="../embeddings/oleObject23.bin"/><Relationship Id="rId7" Type="http://schemas.microsoft.com/office/2007/relationships/hdphoto" Target="../media/hdphoto10.wdp"/><Relationship Id="rId2" Type="http://schemas.openxmlformats.org/officeDocument/2006/relationships/slideMaster" Target="../slideMasters/slideMaster1.xml"/><Relationship Id="rId1" Type="http://schemas.openxmlformats.org/officeDocument/2006/relationships/tags" Target="../tags/tag23.xml"/><Relationship Id="rId6" Type="http://schemas.openxmlformats.org/officeDocument/2006/relationships/image" Target="../media/image37.png"/><Relationship Id="rId5" Type="http://schemas.openxmlformats.org/officeDocument/2006/relationships/image" Target="../media/image36.jpeg"/><Relationship Id="rId4" Type="http://schemas.openxmlformats.org/officeDocument/2006/relationships/image" Target="../media/image33.emf"/></Relationships>
</file>

<file path=ppt/slideLayouts/_rels/slideLayout31.xml.rels><?xml version="1.0" encoding="UTF-8" standalone="yes"?>
<Relationships xmlns="http://schemas.openxmlformats.org/package/2006/relationships"><Relationship Id="rId8" Type="http://schemas.microsoft.com/office/2007/relationships/hdphoto" Target="../media/hdphoto11.wdp"/><Relationship Id="rId3" Type="http://schemas.openxmlformats.org/officeDocument/2006/relationships/image" Target="../media/image38.jpeg"/><Relationship Id="rId7" Type="http://schemas.openxmlformats.org/officeDocument/2006/relationships/image" Target="../media/image40.png"/><Relationship Id="rId2" Type="http://schemas.openxmlformats.org/officeDocument/2006/relationships/slideMaster" Target="../slideMasters/slideMaster1.xml"/><Relationship Id="rId1" Type="http://schemas.openxmlformats.org/officeDocument/2006/relationships/tags" Target="../tags/tag24.xml"/><Relationship Id="rId6" Type="http://schemas.openxmlformats.org/officeDocument/2006/relationships/image" Target="../media/image39.jpeg"/><Relationship Id="rId5" Type="http://schemas.openxmlformats.org/officeDocument/2006/relationships/image" Target="../media/image33.emf"/><Relationship Id="rId4" Type="http://schemas.openxmlformats.org/officeDocument/2006/relationships/oleObject" Target="../embeddings/oleObject24.bin"/></Relationships>
</file>

<file path=ppt/slideLayouts/_rels/slideLayout32.xml.rels><?xml version="1.0" encoding="UTF-8" standalone="yes"?>
<Relationships xmlns="http://schemas.openxmlformats.org/package/2006/relationships"><Relationship Id="rId3" Type="http://schemas.openxmlformats.org/officeDocument/2006/relationships/oleObject" Target="../embeddings/oleObject25.bin"/><Relationship Id="rId7" Type="http://schemas.microsoft.com/office/2007/relationships/hdphoto" Target="../media/hdphoto3.wdp"/><Relationship Id="rId2" Type="http://schemas.openxmlformats.org/officeDocument/2006/relationships/slideMaster" Target="../slideMasters/slideMaster1.xml"/><Relationship Id="rId1" Type="http://schemas.openxmlformats.org/officeDocument/2006/relationships/tags" Target="../tags/tag25.xml"/><Relationship Id="rId6" Type="http://schemas.openxmlformats.org/officeDocument/2006/relationships/image" Target="../media/image6.png"/><Relationship Id="rId5" Type="http://schemas.openxmlformats.org/officeDocument/2006/relationships/image" Target="../media/image5.jpeg"/><Relationship Id="rId4" Type="http://schemas.openxmlformats.org/officeDocument/2006/relationships/image" Target="../media/image41.emf"/></Relationships>
</file>

<file path=ppt/slideLayouts/_rels/slideLayout33.xml.rels><?xml version="1.0" encoding="UTF-8" standalone="yes"?>
<Relationships xmlns="http://schemas.openxmlformats.org/package/2006/relationships"><Relationship Id="rId3" Type="http://schemas.openxmlformats.org/officeDocument/2006/relationships/oleObject" Target="../embeddings/oleObject26.bin"/><Relationship Id="rId7" Type="http://schemas.microsoft.com/office/2007/relationships/hdphoto" Target="../media/hdphoto12.wdp"/><Relationship Id="rId2" Type="http://schemas.openxmlformats.org/officeDocument/2006/relationships/slideMaster" Target="../slideMasters/slideMaster1.xml"/><Relationship Id="rId1" Type="http://schemas.openxmlformats.org/officeDocument/2006/relationships/tags" Target="../tags/tag26.xml"/><Relationship Id="rId6" Type="http://schemas.openxmlformats.org/officeDocument/2006/relationships/image" Target="../media/image44.png"/><Relationship Id="rId5" Type="http://schemas.openxmlformats.org/officeDocument/2006/relationships/image" Target="../media/image43.jpeg"/><Relationship Id="rId4" Type="http://schemas.openxmlformats.org/officeDocument/2006/relationships/image" Target="../media/image42.emf"/></Relationships>
</file>

<file path=ppt/slideLayouts/_rels/slideLayout34.xml.rels><?xml version="1.0" encoding="UTF-8" standalone="yes"?>
<Relationships xmlns="http://schemas.openxmlformats.org/package/2006/relationships"><Relationship Id="rId3" Type="http://schemas.openxmlformats.org/officeDocument/2006/relationships/oleObject" Target="../embeddings/oleObject27.bin"/><Relationship Id="rId7" Type="http://schemas.microsoft.com/office/2007/relationships/hdphoto" Target="../media/hdphoto13.wdp"/><Relationship Id="rId2" Type="http://schemas.openxmlformats.org/officeDocument/2006/relationships/slideMaster" Target="../slideMasters/slideMaster1.xml"/><Relationship Id="rId1" Type="http://schemas.openxmlformats.org/officeDocument/2006/relationships/tags" Target="../tags/tag27.xml"/><Relationship Id="rId6" Type="http://schemas.openxmlformats.org/officeDocument/2006/relationships/image" Target="../media/image47.png"/><Relationship Id="rId5" Type="http://schemas.openxmlformats.org/officeDocument/2006/relationships/image" Target="../media/image46.jpeg"/><Relationship Id="rId4" Type="http://schemas.openxmlformats.org/officeDocument/2006/relationships/image" Target="../media/image45.emf"/></Relationships>
</file>

<file path=ppt/slideLayouts/_rels/slideLayout35.xml.rels><?xml version="1.0" encoding="UTF-8" standalone="yes"?>
<Relationships xmlns="http://schemas.openxmlformats.org/package/2006/relationships"><Relationship Id="rId3" Type="http://schemas.openxmlformats.org/officeDocument/2006/relationships/oleObject" Target="../embeddings/oleObject28.bin"/><Relationship Id="rId7" Type="http://schemas.microsoft.com/office/2007/relationships/hdphoto" Target="../media/hdphoto14.wdp"/><Relationship Id="rId2" Type="http://schemas.openxmlformats.org/officeDocument/2006/relationships/slideMaster" Target="../slideMasters/slideMaster1.xml"/><Relationship Id="rId1" Type="http://schemas.openxmlformats.org/officeDocument/2006/relationships/tags" Target="../tags/tag28.xml"/><Relationship Id="rId6" Type="http://schemas.openxmlformats.org/officeDocument/2006/relationships/image" Target="../media/image50.png"/><Relationship Id="rId5" Type="http://schemas.openxmlformats.org/officeDocument/2006/relationships/image" Target="../media/image49.jpeg"/><Relationship Id="rId4" Type="http://schemas.openxmlformats.org/officeDocument/2006/relationships/image" Target="../media/image48.emf"/></Relationships>
</file>

<file path=ppt/slideLayouts/_rels/slideLayout36.xml.rels><?xml version="1.0" encoding="UTF-8" standalone="yes"?>
<Relationships xmlns="http://schemas.openxmlformats.org/package/2006/relationships"><Relationship Id="rId3" Type="http://schemas.openxmlformats.org/officeDocument/2006/relationships/oleObject" Target="../embeddings/oleObject29.bin"/><Relationship Id="rId7" Type="http://schemas.microsoft.com/office/2007/relationships/hdphoto" Target="../media/hdphoto15.wdp"/><Relationship Id="rId2" Type="http://schemas.openxmlformats.org/officeDocument/2006/relationships/slideMaster" Target="../slideMasters/slideMaster1.xml"/><Relationship Id="rId1" Type="http://schemas.openxmlformats.org/officeDocument/2006/relationships/tags" Target="../tags/tag29.xml"/><Relationship Id="rId6" Type="http://schemas.openxmlformats.org/officeDocument/2006/relationships/image" Target="../media/image53.png"/><Relationship Id="rId5" Type="http://schemas.openxmlformats.org/officeDocument/2006/relationships/image" Target="../media/image52.jpeg"/><Relationship Id="rId4" Type="http://schemas.openxmlformats.org/officeDocument/2006/relationships/image" Target="../media/image51.emf"/></Relationships>
</file>

<file path=ppt/slideLayouts/_rels/slideLayout37.xml.rels><?xml version="1.0" encoding="UTF-8" standalone="yes"?>
<Relationships xmlns="http://schemas.openxmlformats.org/package/2006/relationships"><Relationship Id="rId3" Type="http://schemas.openxmlformats.org/officeDocument/2006/relationships/oleObject" Target="../embeddings/oleObject30.bin"/><Relationship Id="rId7" Type="http://schemas.microsoft.com/office/2007/relationships/hdphoto" Target="../media/hdphoto16.wdp"/><Relationship Id="rId2" Type="http://schemas.openxmlformats.org/officeDocument/2006/relationships/slideMaster" Target="../slideMasters/slideMaster1.xml"/><Relationship Id="rId1" Type="http://schemas.openxmlformats.org/officeDocument/2006/relationships/tags" Target="../tags/tag30.xml"/><Relationship Id="rId6" Type="http://schemas.openxmlformats.org/officeDocument/2006/relationships/image" Target="../media/image56.png"/><Relationship Id="rId5" Type="http://schemas.openxmlformats.org/officeDocument/2006/relationships/image" Target="../media/image55.jpeg"/><Relationship Id="rId4" Type="http://schemas.openxmlformats.org/officeDocument/2006/relationships/image" Target="../media/image54.emf"/></Relationships>
</file>

<file path=ppt/slideLayouts/_rels/slideLayout38.xml.rels><?xml version="1.0" encoding="UTF-8" standalone="yes"?>
<Relationships xmlns="http://schemas.openxmlformats.org/package/2006/relationships"><Relationship Id="rId3" Type="http://schemas.openxmlformats.org/officeDocument/2006/relationships/oleObject" Target="../embeddings/oleObject31.bin"/><Relationship Id="rId7" Type="http://schemas.microsoft.com/office/2007/relationships/hdphoto" Target="../media/hdphoto17.wdp"/><Relationship Id="rId2" Type="http://schemas.openxmlformats.org/officeDocument/2006/relationships/slideMaster" Target="../slideMasters/slideMaster1.xml"/><Relationship Id="rId1" Type="http://schemas.openxmlformats.org/officeDocument/2006/relationships/tags" Target="../tags/tag31.xml"/><Relationship Id="rId6" Type="http://schemas.openxmlformats.org/officeDocument/2006/relationships/image" Target="../media/image59.png"/><Relationship Id="rId5" Type="http://schemas.openxmlformats.org/officeDocument/2006/relationships/image" Target="../media/image58.jpeg"/><Relationship Id="rId4" Type="http://schemas.openxmlformats.org/officeDocument/2006/relationships/image" Target="../media/image57.emf"/></Relationships>
</file>

<file path=ppt/slideLayouts/_rels/slideLayout39.xml.rels><?xml version="1.0" encoding="UTF-8" standalone="yes"?>
<Relationships xmlns="http://schemas.openxmlformats.org/package/2006/relationships"><Relationship Id="rId3" Type="http://schemas.openxmlformats.org/officeDocument/2006/relationships/oleObject" Target="../embeddings/oleObject32.bin"/><Relationship Id="rId7" Type="http://schemas.microsoft.com/office/2007/relationships/hdphoto" Target="../media/hdphoto18.wdp"/><Relationship Id="rId2" Type="http://schemas.openxmlformats.org/officeDocument/2006/relationships/slideMaster" Target="../slideMasters/slideMaster1.xml"/><Relationship Id="rId1" Type="http://schemas.openxmlformats.org/officeDocument/2006/relationships/tags" Target="../tags/tag32.xml"/><Relationship Id="rId6" Type="http://schemas.openxmlformats.org/officeDocument/2006/relationships/image" Target="../media/image62.png"/><Relationship Id="rId5" Type="http://schemas.openxmlformats.org/officeDocument/2006/relationships/image" Target="../media/image61.jpeg"/><Relationship Id="rId4" Type="http://schemas.openxmlformats.org/officeDocument/2006/relationships/image" Target="../media/image60.emf"/></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oleObject" Target="../embeddings/oleObject33.bin"/><Relationship Id="rId7" Type="http://schemas.microsoft.com/office/2007/relationships/hdphoto" Target="../media/hdphoto19.wdp"/><Relationship Id="rId2" Type="http://schemas.openxmlformats.org/officeDocument/2006/relationships/slideMaster" Target="../slideMasters/slideMaster1.xml"/><Relationship Id="rId1" Type="http://schemas.openxmlformats.org/officeDocument/2006/relationships/tags" Target="../tags/tag33.xml"/><Relationship Id="rId6" Type="http://schemas.openxmlformats.org/officeDocument/2006/relationships/image" Target="../media/image65.png"/><Relationship Id="rId5" Type="http://schemas.openxmlformats.org/officeDocument/2006/relationships/image" Target="../media/image64.jpeg"/><Relationship Id="rId4" Type="http://schemas.openxmlformats.org/officeDocument/2006/relationships/image" Target="../media/image63.emf"/></Relationships>
</file>

<file path=ppt/slideLayouts/_rels/slideLayout41.xml.rels><?xml version="1.0" encoding="UTF-8" standalone="yes"?>
<Relationships xmlns="http://schemas.openxmlformats.org/package/2006/relationships"><Relationship Id="rId3" Type="http://schemas.openxmlformats.org/officeDocument/2006/relationships/oleObject" Target="../embeddings/oleObject34.bin"/><Relationship Id="rId7" Type="http://schemas.microsoft.com/office/2007/relationships/hdphoto" Target="../media/hdphoto20.wdp"/><Relationship Id="rId2" Type="http://schemas.openxmlformats.org/officeDocument/2006/relationships/slideMaster" Target="../slideMasters/slideMaster1.xml"/><Relationship Id="rId1" Type="http://schemas.openxmlformats.org/officeDocument/2006/relationships/tags" Target="../tags/tag34.xml"/><Relationship Id="rId6" Type="http://schemas.openxmlformats.org/officeDocument/2006/relationships/image" Target="../media/image68.png"/><Relationship Id="rId5" Type="http://schemas.openxmlformats.org/officeDocument/2006/relationships/image" Target="../media/image67.jpeg"/><Relationship Id="rId4" Type="http://schemas.openxmlformats.org/officeDocument/2006/relationships/image" Target="../media/image66.emf"/></Relationships>
</file>

<file path=ppt/slideLayouts/_rels/slideLayout42.xml.rels><?xml version="1.0" encoding="UTF-8" standalone="yes"?>
<Relationships xmlns="http://schemas.openxmlformats.org/package/2006/relationships"><Relationship Id="rId3" Type="http://schemas.openxmlformats.org/officeDocument/2006/relationships/oleObject" Target="../embeddings/oleObject35.bin"/><Relationship Id="rId7" Type="http://schemas.microsoft.com/office/2007/relationships/hdphoto" Target="../media/hdphoto21.wdp"/><Relationship Id="rId2" Type="http://schemas.openxmlformats.org/officeDocument/2006/relationships/slideMaster" Target="../slideMasters/slideMaster1.xml"/><Relationship Id="rId1" Type="http://schemas.openxmlformats.org/officeDocument/2006/relationships/tags" Target="../tags/tag35.xml"/><Relationship Id="rId6" Type="http://schemas.openxmlformats.org/officeDocument/2006/relationships/image" Target="../media/image70.png"/><Relationship Id="rId5" Type="http://schemas.openxmlformats.org/officeDocument/2006/relationships/image" Target="../media/image69.jpeg"/><Relationship Id="rId4" Type="http://schemas.openxmlformats.org/officeDocument/2006/relationships/image" Target="../media/image66.emf"/></Relationships>
</file>

<file path=ppt/slideLayouts/_rels/slideLayout43.xml.rels><?xml version="1.0" encoding="UTF-8" standalone="yes"?>
<Relationships xmlns="http://schemas.openxmlformats.org/package/2006/relationships"><Relationship Id="rId3" Type="http://schemas.openxmlformats.org/officeDocument/2006/relationships/oleObject" Target="../embeddings/oleObject36.bin"/><Relationship Id="rId7" Type="http://schemas.microsoft.com/office/2007/relationships/hdphoto" Target="../media/hdphoto22.wdp"/><Relationship Id="rId2" Type="http://schemas.openxmlformats.org/officeDocument/2006/relationships/slideMaster" Target="../slideMasters/slideMaster1.xml"/><Relationship Id="rId1" Type="http://schemas.openxmlformats.org/officeDocument/2006/relationships/tags" Target="../tags/tag36.xml"/><Relationship Id="rId6" Type="http://schemas.openxmlformats.org/officeDocument/2006/relationships/image" Target="../media/image72.png"/><Relationship Id="rId5" Type="http://schemas.openxmlformats.org/officeDocument/2006/relationships/image" Target="../media/image71.jpeg"/><Relationship Id="rId4" Type="http://schemas.openxmlformats.org/officeDocument/2006/relationships/image" Target="../media/image66.emf"/></Relationships>
</file>

<file path=ppt/slideLayouts/_rels/slideLayout44.xml.rels><?xml version="1.0" encoding="UTF-8" standalone="yes"?>
<Relationships xmlns="http://schemas.openxmlformats.org/package/2006/relationships"><Relationship Id="rId3" Type="http://schemas.openxmlformats.org/officeDocument/2006/relationships/oleObject" Target="../embeddings/oleObject37.bin"/><Relationship Id="rId7" Type="http://schemas.microsoft.com/office/2007/relationships/hdphoto" Target="../media/hdphoto23.wdp"/><Relationship Id="rId2" Type="http://schemas.openxmlformats.org/officeDocument/2006/relationships/slideMaster" Target="../slideMasters/slideMaster1.xml"/><Relationship Id="rId1" Type="http://schemas.openxmlformats.org/officeDocument/2006/relationships/tags" Target="../tags/tag37.xml"/><Relationship Id="rId6" Type="http://schemas.openxmlformats.org/officeDocument/2006/relationships/image" Target="../media/image74.png"/><Relationship Id="rId5" Type="http://schemas.openxmlformats.org/officeDocument/2006/relationships/image" Target="../media/image73.jpeg"/><Relationship Id="rId4" Type="http://schemas.openxmlformats.org/officeDocument/2006/relationships/image" Target="../media/image66.emf"/></Relationships>
</file>

<file path=ppt/slideLayouts/_rels/slideLayout45.xml.rels><?xml version="1.0" encoding="UTF-8" standalone="yes"?>
<Relationships xmlns="http://schemas.openxmlformats.org/package/2006/relationships"><Relationship Id="rId8" Type="http://schemas.microsoft.com/office/2007/relationships/hdphoto" Target="../media/hdphoto25.wdp"/><Relationship Id="rId3" Type="http://schemas.openxmlformats.org/officeDocument/2006/relationships/oleObject" Target="../embeddings/oleObject38.bin"/><Relationship Id="rId7" Type="http://schemas.openxmlformats.org/officeDocument/2006/relationships/image" Target="../media/image77.png"/><Relationship Id="rId2" Type="http://schemas.openxmlformats.org/officeDocument/2006/relationships/slideMaster" Target="../slideMasters/slideMaster1.xml"/><Relationship Id="rId1" Type="http://schemas.openxmlformats.org/officeDocument/2006/relationships/tags" Target="../tags/tag38.xml"/><Relationship Id="rId6" Type="http://schemas.microsoft.com/office/2007/relationships/hdphoto" Target="../media/hdphoto24.wdp"/><Relationship Id="rId5" Type="http://schemas.openxmlformats.org/officeDocument/2006/relationships/image" Target="../media/image76.png"/><Relationship Id="rId4" Type="http://schemas.openxmlformats.org/officeDocument/2006/relationships/image" Target="../media/image75.emf"/></Relationships>
</file>

<file path=ppt/slideLayouts/_rels/slideLayout46.xml.rels><?xml version="1.0" encoding="UTF-8" standalone="yes"?>
<Relationships xmlns="http://schemas.openxmlformats.org/package/2006/relationships"><Relationship Id="rId3" Type="http://schemas.openxmlformats.org/officeDocument/2006/relationships/oleObject" Target="../embeddings/oleObject39.bin"/><Relationship Id="rId2" Type="http://schemas.openxmlformats.org/officeDocument/2006/relationships/slideMaster" Target="../slideMasters/slideMaster1.xml"/><Relationship Id="rId1" Type="http://schemas.openxmlformats.org/officeDocument/2006/relationships/tags" Target="../tags/tag39.xml"/><Relationship Id="rId4" Type="http://schemas.openxmlformats.org/officeDocument/2006/relationships/image" Target="../media/image66.emf"/></Relationships>
</file>

<file path=ppt/slideLayouts/_rels/slideLayout47.xml.rels><?xml version="1.0" encoding="UTF-8" standalone="yes"?>
<Relationships xmlns="http://schemas.openxmlformats.org/package/2006/relationships"><Relationship Id="rId8" Type="http://schemas.openxmlformats.org/officeDocument/2006/relationships/image" Target="../media/image80.svg"/><Relationship Id="rId3" Type="http://schemas.openxmlformats.org/officeDocument/2006/relationships/oleObject" Target="../embeddings/oleObject40.bin"/><Relationship Id="rId7" Type="http://schemas.openxmlformats.org/officeDocument/2006/relationships/image" Target="../media/image79.png"/><Relationship Id="rId2" Type="http://schemas.openxmlformats.org/officeDocument/2006/relationships/slideMaster" Target="../slideMasters/slideMaster1.xml"/><Relationship Id="rId1" Type="http://schemas.openxmlformats.org/officeDocument/2006/relationships/tags" Target="../tags/tag40.xml"/><Relationship Id="rId6" Type="http://schemas.microsoft.com/office/2007/relationships/hdphoto" Target="../media/hdphoto5.wdp"/><Relationship Id="rId5" Type="http://schemas.openxmlformats.org/officeDocument/2006/relationships/image" Target="../media/image24.png"/><Relationship Id="rId4" Type="http://schemas.openxmlformats.org/officeDocument/2006/relationships/image" Target="../media/image78.emf"/></Relationships>
</file>

<file path=ppt/slideLayouts/_rels/slideLayout48.xml.rels><?xml version="1.0" encoding="UTF-8" standalone="yes"?>
<Relationships xmlns="http://schemas.openxmlformats.org/package/2006/relationships"><Relationship Id="rId3" Type="http://schemas.openxmlformats.org/officeDocument/2006/relationships/oleObject" Target="../embeddings/oleObject41.bin"/><Relationship Id="rId2" Type="http://schemas.openxmlformats.org/officeDocument/2006/relationships/slideMaster" Target="../slideMasters/slideMaster1.xml"/><Relationship Id="rId1" Type="http://schemas.openxmlformats.org/officeDocument/2006/relationships/tags" Target="../tags/tag41.xml"/><Relationship Id="rId4" Type="http://schemas.openxmlformats.org/officeDocument/2006/relationships/image" Target="../media/image81.emf"/></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82.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4" Type="http://schemas.openxmlformats.org/officeDocument/2006/relationships/image" Target="../media/image7.emf"/></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9.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Do Not Use-">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4715" y="489280"/>
            <a:ext cx="6551593" cy="4164938"/>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9" name="Rectangle 8">
            <a:extLst>
              <a:ext uri="{FF2B5EF4-FFF2-40B4-BE49-F238E27FC236}">
                <a16:creationId xmlns:a16="http://schemas.microsoft.com/office/drawing/2014/main" id="{6874D47D-FF40-4551-270D-61337AB0484F}"/>
              </a:ext>
            </a:extLst>
          </p:cNvPr>
          <p:cNvSpPr/>
          <p:nvPr/>
        </p:nvSpPr>
        <p:spPr>
          <a:xfrm>
            <a:off x="184415" y="483299"/>
            <a:ext cx="5955994" cy="4164938"/>
          </a:xfrm>
          <a:prstGeom prst="rect">
            <a:avLst/>
          </a:prstGeom>
          <a:solidFill>
            <a:schemeClr val="accent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R="0" lvl="0" indent="0" algn="ctr" fontAlgn="auto">
              <a:lnSpc>
                <a:spcPct val="100000"/>
              </a:lnSpc>
              <a:spcBef>
                <a:spcPts val="0"/>
              </a:spcBef>
              <a:spcAft>
                <a:spcPts val="0"/>
              </a:spcAft>
              <a:buClrTx/>
              <a:buSzTx/>
              <a:buFontTx/>
              <a:buNone/>
              <a:tabLst/>
            </a:pPr>
            <a:endParaRPr kumimoji="0" lang="en-US" sz="1200" b="1" i="0" u="none" strike="noStrike" cap="none" spc="0" normalizeH="0" baseline="0" noProof="0">
              <a:ln>
                <a:noFill/>
              </a:ln>
              <a:solidFill>
                <a:srgbClr val="575555"/>
              </a:solidFill>
              <a:effectLst/>
              <a:uLnTx/>
              <a:uFillTx/>
              <a:latin typeface="Nexa Bold" panose="00000800000000000000" pitchFamily="2" charset="0"/>
            </a:endParaRPr>
          </a:p>
        </p:txBody>
      </p:sp>
      <p:pic>
        <p:nvPicPr>
          <p:cNvPr id="10" name="Picture 9">
            <a:extLst>
              <a:ext uri="{FF2B5EF4-FFF2-40B4-BE49-F238E27FC236}">
                <a16:creationId xmlns:a16="http://schemas.microsoft.com/office/drawing/2014/main" id="{D05B9309-AED6-0180-78B1-87A05603AAB3}"/>
              </a:ext>
            </a:extLst>
          </p:cNvPr>
          <p:cNvPicPr>
            <a:picLocks noChangeAspect="1"/>
          </p:cNvPicPr>
          <p:nvPr/>
        </p:nvPicPr>
        <p:blipFill rotWithShape="1">
          <a:blip r:embed="rId3" cstate="email">
            <a:extLst>
              <a:ext uri="{BEBA8EAE-BF5A-486C-A8C5-ECC9F3942E4B}">
                <a14:imgProps xmlns:a14="http://schemas.microsoft.com/office/drawing/2010/main">
                  <a14:imgLayer r:embed="rId4">
                    <a14:imgEffect>
                      <a14:artisticBlur/>
                    </a14:imgEffect>
                  </a14:imgLayer>
                </a14:imgProps>
              </a:ext>
              <a:ext uri="{28A0092B-C50C-407E-A947-70E740481C1C}">
                <a14:useLocalDpi xmlns:a14="http://schemas.microsoft.com/office/drawing/2010/main"/>
              </a:ext>
            </a:extLst>
          </a:blip>
          <a:srcRect/>
          <a:stretch/>
        </p:blipFill>
        <p:spPr>
          <a:xfrm>
            <a:off x="4850202" y="-1"/>
            <a:ext cx="4291172" cy="5138737"/>
          </a:xfrm>
          <a:custGeom>
            <a:avLst/>
            <a:gdLst>
              <a:gd name="connsiteX0" fmla="*/ 1105916 w 5721563"/>
              <a:gd name="connsiteY0" fmla="*/ 0 h 6851649"/>
              <a:gd name="connsiteX1" fmla="*/ 5721563 w 5721563"/>
              <a:gd name="connsiteY1" fmla="*/ 0 h 6851649"/>
              <a:gd name="connsiteX2" fmla="*/ 5721563 w 5721563"/>
              <a:gd name="connsiteY2" fmla="*/ 6851649 h 6851649"/>
              <a:gd name="connsiteX3" fmla="*/ 563823 w 5721563"/>
              <a:gd name="connsiteY3" fmla="*/ 6851649 h 6851649"/>
              <a:gd name="connsiteX4" fmla="*/ 568538 w 5721563"/>
              <a:gd name="connsiteY4" fmla="*/ 6848651 h 6851649"/>
              <a:gd name="connsiteX5" fmla="*/ 568537 w 5721563"/>
              <a:gd name="connsiteY5" fmla="*/ 6848651 h 6851649"/>
              <a:gd name="connsiteX6" fmla="*/ 563822 w 5721563"/>
              <a:gd name="connsiteY6" fmla="*/ 6851649 h 6851649"/>
              <a:gd name="connsiteX7" fmla="*/ 0 w 5721563"/>
              <a:gd name="connsiteY7" fmla="*/ 6851649 h 6851649"/>
              <a:gd name="connsiteX8" fmla="*/ 167413 w 5721563"/>
              <a:gd name="connsiteY8" fmla="*/ 5814448 h 6851649"/>
              <a:gd name="connsiteX9" fmla="*/ 925593 w 5721563"/>
              <a:gd name="connsiteY9" fmla="*/ 5814448 h 6851649"/>
              <a:gd name="connsiteX10" fmla="*/ 925593 w 5721563"/>
              <a:gd name="connsiteY10" fmla="*/ 5814447 h 6851649"/>
              <a:gd name="connsiteX11" fmla="*/ 167413 w 5721563"/>
              <a:gd name="connsiteY11" fmla="*/ 5814447 h 68516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721563" h="6851649">
                <a:moveTo>
                  <a:pt x="1105916" y="0"/>
                </a:moveTo>
                <a:lnTo>
                  <a:pt x="5721563" y="0"/>
                </a:lnTo>
                <a:lnTo>
                  <a:pt x="5721563" y="6851649"/>
                </a:lnTo>
                <a:lnTo>
                  <a:pt x="563823" y="6851649"/>
                </a:lnTo>
                <a:lnTo>
                  <a:pt x="568538" y="6848651"/>
                </a:lnTo>
                <a:lnTo>
                  <a:pt x="568537" y="6848651"/>
                </a:lnTo>
                <a:lnTo>
                  <a:pt x="563822" y="6851649"/>
                </a:lnTo>
                <a:lnTo>
                  <a:pt x="0" y="6851649"/>
                </a:lnTo>
                <a:lnTo>
                  <a:pt x="167413" y="5814448"/>
                </a:lnTo>
                <a:lnTo>
                  <a:pt x="925593" y="5814448"/>
                </a:lnTo>
                <a:lnTo>
                  <a:pt x="925593" y="5814447"/>
                </a:lnTo>
                <a:lnTo>
                  <a:pt x="167413" y="5814447"/>
                </a:lnTo>
                <a:close/>
              </a:path>
            </a:pathLst>
          </a:custGeom>
          <a:effectLst>
            <a:outerShdw blurRad="190500" dist="63500" dir="10800000" algn="r" rotWithShape="0">
              <a:prstClr val="black">
                <a:alpha val="40000"/>
              </a:prstClr>
            </a:outerShdw>
          </a:effectLst>
        </p:spPr>
      </p:pic>
      <p:sp>
        <p:nvSpPr>
          <p:cNvPr id="11" name="Freeform 5">
            <a:extLst>
              <a:ext uri="{FF2B5EF4-FFF2-40B4-BE49-F238E27FC236}">
                <a16:creationId xmlns:a16="http://schemas.microsoft.com/office/drawing/2014/main" id="{3C7B6CB1-5EDB-923B-FA49-C67308606A5B}"/>
              </a:ext>
            </a:extLst>
          </p:cNvPr>
          <p:cNvSpPr/>
          <p:nvPr/>
        </p:nvSpPr>
        <p:spPr>
          <a:xfrm>
            <a:off x="4850202" y="1025"/>
            <a:ext cx="4291172" cy="5145940"/>
          </a:xfrm>
          <a:custGeom>
            <a:avLst/>
            <a:gdLst>
              <a:gd name="connsiteX0" fmla="*/ 1107467 w 5721563"/>
              <a:gd name="connsiteY0" fmla="*/ 0 h 6861253"/>
              <a:gd name="connsiteX1" fmla="*/ 5721563 w 5721563"/>
              <a:gd name="connsiteY1" fmla="*/ 0 h 6861253"/>
              <a:gd name="connsiteX2" fmla="*/ 5721563 w 5721563"/>
              <a:gd name="connsiteY2" fmla="*/ 6861253 h 6861253"/>
              <a:gd name="connsiteX3" fmla="*/ 563823 w 5721563"/>
              <a:gd name="connsiteY3" fmla="*/ 6861253 h 6861253"/>
              <a:gd name="connsiteX4" fmla="*/ 568538 w 5721563"/>
              <a:gd name="connsiteY4" fmla="*/ 6858255 h 6861253"/>
              <a:gd name="connsiteX5" fmla="*/ 568537 w 5721563"/>
              <a:gd name="connsiteY5" fmla="*/ 6858255 h 6861253"/>
              <a:gd name="connsiteX6" fmla="*/ 563822 w 5721563"/>
              <a:gd name="connsiteY6" fmla="*/ 6861253 h 6861253"/>
              <a:gd name="connsiteX7" fmla="*/ 0 w 5721563"/>
              <a:gd name="connsiteY7" fmla="*/ 6861253 h 6861253"/>
              <a:gd name="connsiteX8" fmla="*/ 167413 w 5721563"/>
              <a:gd name="connsiteY8" fmla="*/ 5824052 h 6861253"/>
              <a:gd name="connsiteX9" fmla="*/ 925593 w 5721563"/>
              <a:gd name="connsiteY9" fmla="*/ 5824052 h 6861253"/>
              <a:gd name="connsiteX10" fmla="*/ 925593 w 5721563"/>
              <a:gd name="connsiteY10" fmla="*/ 5824051 h 6861253"/>
              <a:gd name="connsiteX11" fmla="*/ 167413 w 5721563"/>
              <a:gd name="connsiteY11" fmla="*/ 5824051 h 6861253"/>
              <a:gd name="connsiteX12" fmla="*/ 1107466 w 5721563"/>
              <a:gd name="connsiteY12" fmla="*/ 2 h 6861253"/>
              <a:gd name="connsiteX13" fmla="*/ 1635383 w 5721563"/>
              <a:gd name="connsiteY13" fmla="*/ 2 h 6861253"/>
              <a:gd name="connsiteX14" fmla="*/ 1697942 w 5721563"/>
              <a:gd name="connsiteY14" fmla="*/ 8479 h 6861253"/>
              <a:gd name="connsiteX15" fmla="*/ 1697942 w 5721563"/>
              <a:gd name="connsiteY15" fmla="*/ 8478 h 6861253"/>
              <a:gd name="connsiteX16" fmla="*/ 1635383 w 5721563"/>
              <a:gd name="connsiteY16" fmla="*/ 1 h 6861253"/>
              <a:gd name="connsiteX17" fmla="*/ 1107466 w 5721563"/>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721563" h="6861253">
                <a:moveTo>
                  <a:pt x="1107467" y="0"/>
                </a:moveTo>
                <a:lnTo>
                  <a:pt x="5721563" y="0"/>
                </a:lnTo>
                <a:lnTo>
                  <a:pt x="5721563"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accent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pic>
        <p:nvPicPr>
          <p:cNvPr id="12" name="Picture 11">
            <a:extLst>
              <a:ext uri="{FF2B5EF4-FFF2-40B4-BE49-F238E27FC236}">
                <a16:creationId xmlns:a16="http://schemas.microsoft.com/office/drawing/2014/main" id="{E96C820B-6146-5274-87F4-F4ADABAC3BBE}"/>
              </a:ext>
            </a:extLst>
          </p:cNvPr>
          <p:cNvPicPr>
            <a:picLocks noChangeAspect="1"/>
          </p:cNvPicPr>
          <p:nvPr/>
        </p:nvPicPr>
        <p:blipFill rotWithShape="1">
          <a:blip r:embed="rId5" cstate="email">
            <a:extLst>
              <a:ext uri="{BEBA8EAE-BF5A-486C-A8C5-ECC9F3942E4B}">
                <a14:imgProps xmlns:a14="http://schemas.microsoft.com/office/drawing/2010/main">
                  <a14:imgLayer r:embed="rId6">
                    <a14:imgEffect>
                      <a14:artisticBlur radius="20"/>
                    </a14:imgEffect>
                  </a14:imgLayer>
                </a14:imgProps>
              </a:ext>
              <a:ext uri="{28A0092B-C50C-407E-A947-70E740481C1C}">
                <a14:useLocalDpi xmlns:a14="http://schemas.microsoft.com/office/drawing/2010/main"/>
              </a:ext>
            </a:extLst>
          </a:blip>
          <a:srcRect/>
          <a:stretch/>
        </p:blipFill>
        <p:spPr>
          <a:xfrm>
            <a:off x="1" y="2"/>
            <a:ext cx="1988357" cy="5143499"/>
          </a:xfrm>
          <a:custGeom>
            <a:avLst/>
            <a:gdLst>
              <a:gd name="connsiteX0" fmla="*/ 0 w 2651142"/>
              <a:gd name="connsiteY0" fmla="*/ 0 h 6857999"/>
              <a:gd name="connsiteX1" fmla="*/ 2651142 w 2651142"/>
              <a:gd name="connsiteY1" fmla="*/ 0 h 6857999"/>
              <a:gd name="connsiteX2" fmla="*/ 2407857 w 2651142"/>
              <a:gd name="connsiteY2" fmla="*/ 1021264 h 6857999"/>
              <a:gd name="connsiteX3" fmla="*/ 2407856 w 2651142"/>
              <a:gd name="connsiteY3" fmla="*/ 1021263 h 6857999"/>
              <a:gd name="connsiteX4" fmla="*/ 1017425 w 2651142"/>
              <a:gd name="connsiteY4" fmla="*/ 6857999 h 6857999"/>
              <a:gd name="connsiteX5" fmla="*/ 0 w 2651142"/>
              <a:gd name="connsiteY5" fmla="*/ 6857999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51142" h="6857999">
                <a:moveTo>
                  <a:pt x="0" y="0"/>
                </a:moveTo>
                <a:lnTo>
                  <a:pt x="2651142" y="0"/>
                </a:lnTo>
                <a:lnTo>
                  <a:pt x="2407857" y="1021264"/>
                </a:lnTo>
                <a:lnTo>
                  <a:pt x="2407856" y="1021263"/>
                </a:lnTo>
                <a:lnTo>
                  <a:pt x="1017425" y="6857999"/>
                </a:lnTo>
                <a:lnTo>
                  <a:pt x="0" y="6857999"/>
                </a:lnTo>
                <a:close/>
              </a:path>
            </a:pathLst>
          </a:custGeom>
          <a:effectLst>
            <a:outerShdw blurRad="190500" dist="63500" algn="l" rotWithShape="0">
              <a:schemeClr val="tx1">
                <a:alpha val="40000"/>
              </a:schemeClr>
            </a:outerShdw>
          </a:effectLst>
        </p:spPr>
      </p:pic>
      <p:sp>
        <p:nvSpPr>
          <p:cNvPr id="13" name="Freeform 3">
            <a:extLst>
              <a:ext uri="{FF2B5EF4-FFF2-40B4-BE49-F238E27FC236}">
                <a16:creationId xmlns:a16="http://schemas.microsoft.com/office/drawing/2014/main" id="{1A0DDE5D-4777-B08A-2647-12D5477E9833}"/>
              </a:ext>
            </a:extLst>
          </p:cNvPr>
          <p:cNvSpPr/>
          <p:nvPr/>
        </p:nvSpPr>
        <p:spPr>
          <a:xfrm>
            <a:off x="1" y="1"/>
            <a:ext cx="1988357" cy="5147264"/>
          </a:xfrm>
          <a:custGeom>
            <a:avLst/>
            <a:gdLst>
              <a:gd name="connsiteX0" fmla="*/ 2671508 w 2671508"/>
              <a:gd name="connsiteY0" fmla="*/ 0 h 6863018"/>
              <a:gd name="connsiteX1" fmla="*/ 2427625 w 2671508"/>
              <a:gd name="connsiteY1" fmla="*/ 1023774 h 6863018"/>
              <a:gd name="connsiteX2" fmla="*/ 2427624 w 2671508"/>
              <a:gd name="connsiteY2" fmla="*/ 1023773 h 6863018"/>
              <a:gd name="connsiteX3" fmla="*/ 1036595 w 2671508"/>
              <a:gd name="connsiteY3" fmla="*/ 6863018 h 6863018"/>
              <a:gd name="connsiteX4" fmla="*/ 0 w 2671508"/>
              <a:gd name="connsiteY4" fmla="*/ 6863018 h 6863018"/>
              <a:gd name="connsiteX5" fmla="*/ 0 w 2671508"/>
              <a:gd name="connsiteY5" fmla="*/ 1 h 6863018"/>
              <a:gd name="connsiteX6" fmla="*/ 2668167 w 2671508"/>
              <a:gd name="connsiteY6" fmla="*/ 1 h 6863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71508" h="6863018">
                <a:moveTo>
                  <a:pt x="2671508" y="0"/>
                </a:moveTo>
                <a:lnTo>
                  <a:pt x="2427625" y="1023774"/>
                </a:lnTo>
                <a:lnTo>
                  <a:pt x="2427624" y="1023773"/>
                </a:lnTo>
                <a:lnTo>
                  <a:pt x="1036595" y="6863018"/>
                </a:lnTo>
                <a:lnTo>
                  <a:pt x="0" y="6863018"/>
                </a:lnTo>
                <a:lnTo>
                  <a:pt x="0" y="1"/>
                </a:lnTo>
                <a:lnTo>
                  <a:pt x="2668167" y="1"/>
                </a:lnTo>
                <a:close/>
              </a:path>
            </a:pathLst>
          </a:custGeom>
          <a:solidFill>
            <a:schemeClr val="accent1">
              <a:alpha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AE"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42" name="TextBox 41">
            <a:extLst>
              <a:ext uri="{FF2B5EF4-FFF2-40B4-BE49-F238E27FC236}">
                <a16:creationId xmlns:a16="http://schemas.microsoft.com/office/drawing/2014/main" id="{68580F38-CC0A-FE6C-E89A-46049CBE5BA0}"/>
              </a:ext>
            </a:extLst>
          </p:cNvPr>
          <p:cNvSpPr txBox="1"/>
          <p:nvPr/>
        </p:nvSpPr>
        <p:spPr>
          <a:xfrm>
            <a:off x="148009" y="123171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7ECAC4">
                    <a:lumMod val="60000"/>
                    <a:lumOff val="40000"/>
                  </a:srgbClr>
                </a:solidFill>
                <a:effectLst/>
                <a:uLnTx/>
                <a:uFillTx/>
                <a:latin typeface="+mn-lt"/>
                <a:ea typeface="+mn-ea"/>
                <a:cs typeface="+mn-cs"/>
              </a:rPr>
              <a:t>GENEVA | DUBAI | CINCINNATI</a:t>
            </a:r>
          </a:p>
        </p:txBody>
      </p:sp>
      <p:cxnSp>
        <p:nvCxnSpPr>
          <p:cNvPr id="43" name="Straight Connector 42">
            <a:extLst>
              <a:ext uri="{FF2B5EF4-FFF2-40B4-BE49-F238E27FC236}">
                <a16:creationId xmlns:a16="http://schemas.microsoft.com/office/drawing/2014/main" id="{515DAD2E-0239-2629-81B9-6C35ED1D55BB}"/>
              </a:ext>
            </a:extLst>
          </p:cNvPr>
          <p:cNvCxnSpPr>
            <a:cxnSpLocks/>
          </p:cNvCxnSpPr>
          <p:nvPr/>
        </p:nvCxnSpPr>
        <p:spPr>
          <a:xfrm>
            <a:off x="5739924" y="2990850"/>
            <a:ext cx="2902873" cy="0"/>
          </a:xfrm>
          <a:prstGeom prst="line">
            <a:avLst/>
          </a:prstGeom>
          <a:ln w="25400" cap="rnd">
            <a:solidFill>
              <a:srgbClr val="CBEAE7"/>
            </a:solidFill>
            <a:round/>
          </a:ln>
        </p:spPr>
        <p:style>
          <a:lnRef idx="1">
            <a:schemeClr val="accent1"/>
          </a:lnRef>
          <a:fillRef idx="0">
            <a:schemeClr val="accent1"/>
          </a:fillRef>
          <a:effectRef idx="0">
            <a:schemeClr val="accent1"/>
          </a:effectRef>
          <a:fontRef idx="minor">
            <a:schemeClr val="tx1"/>
          </a:fontRef>
        </p:style>
      </p:cxnSp>
      <p:sp>
        <p:nvSpPr>
          <p:cNvPr id="3" name="Subtitle 2">
            <a:extLst>
              <a:ext uri="{FF2B5EF4-FFF2-40B4-BE49-F238E27FC236}">
                <a16:creationId xmlns:a16="http://schemas.microsoft.com/office/drawing/2014/main" id="{F85FF42B-03AC-FAA8-76CA-353BF5B90CFA}"/>
              </a:ext>
            </a:extLst>
          </p:cNvPr>
          <p:cNvSpPr>
            <a:spLocks noGrp="1"/>
          </p:cNvSpPr>
          <p:nvPr>
            <p:ph type="subTitle" idx="1"/>
          </p:nvPr>
        </p:nvSpPr>
        <p:spPr>
          <a:xfrm>
            <a:off x="5703569" y="3094356"/>
            <a:ext cx="2947981" cy="1241425"/>
          </a:xfrm>
        </p:spPr>
        <p:txBody>
          <a:bodyPr>
            <a:normAutofit/>
          </a:bodyPr>
          <a:lstStyle>
            <a:lvl1pPr marL="0" indent="0" algn="l">
              <a:buNone/>
              <a:defRPr sz="1800">
                <a:solidFill>
                  <a:schemeClr val="bg1"/>
                </a:solidFill>
              </a:defRPr>
            </a:lvl1pPr>
            <a:lvl2pPr marL="457189" indent="0" algn="ctr">
              <a:buNone/>
              <a:defRPr sz="2000"/>
            </a:lvl2pPr>
            <a:lvl3pPr marL="914378" indent="0" algn="ctr">
              <a:buNone/>
              <a:defRPr sz="1800"/>
            </a:lvl3pPr>
            <a:lvl4pPr marL="1371566" indent="0" algn="ctr">
              <a:buNone/>
              <a:defRPr sz="1600"/>
            </a:lvl4pPr>
            <a:lvl5pPr marL="1828754" indent="0" algn="ctr">
              <a:buNone/>
              <a:defRPr sz="1600"/>
            </a:lvl5pPr>
            <a:lvl6pPr marL="2285943" indent="0" algn="ctr">
              <a:buNone/>
              <a:defRPr sz="1600"/>
            </a:lvl6pPr>
            <a:lvl7pPr marL="2743132" indent="0" algn="ctr">
              <a:buNone/>
              <a:defRPr sz="1600"/>
            </a:lvl7pPr>
            <a:lvl8pPr marL="3200320" indent="0" algn="ctr">
              <a:buNone/>
              <a:defRPr sz="1600"/>
            </a:lvl8pPr>
            <a:lvl9pPr marL="3657509" indent="0" algn="ctr">
              <a:buNone/>
              <a:defRPr sz="1600"/>
            </a:lvl9pPr>
          </a:lstStyle>
          <a:p>
            <a:r>
              <a:rPr lang="en-US"/>
              <a:t>Click to edit Master subtitle style</a:t>
            </a:r>
            <a:endParaRPr lang="en-AE"/>
          </a:p>
        </p:txBody>
      </p:sp>
      <p:sp>
        <p:nvSpPr>
          <p:cNvPr id="4" name="Date Placeholder 3">
            <a:extLst>
              <a:ext uri="{FF2B5EF4-FFF2-40B4-BE49-F238E27FC236}">
                <a16:creationId xmlns:a16="http://schemas.microsoft.com/office/drawing/2014/main" id="{2683FD35-8C2A-0BCB-DD09-A9A08621D9DD}"/>
              </a:ext>
            </a:extLst>
          </p:cNvPr>
          <p:cNvSpPr>
            <a:spLocks noGrp="1"/>
          </p:cNvSpPr>
          <p:nvPr>
            <p:ph type="dt" sz="half" idx="10"/>
          </p:nvPr>
        </p:nvSpPr>
        <p:spPr>
          <a:xfrm>
            <a:off x="7767355" y="4458922"/>
            <a:ext cx="860124" cy="278336"/>
          </a:xfrm>
        </p:spPr>
        <p:txBody>
          <a:bodyPr/>
          <a:lstStyle>
            <a:lvl1pPr>
              <a:defRPr sz="800">
                <a:solidFill>
                  <a:schemeClr val="bg1"/>
                </a:solidFill>
              </a:defRPr>
            </a:lvl1pPr>
          </a:lstStyle>
          <a:p>
            <a:fld id="{BB4FBCEC-0432-4BBA-82CE-63BEF708474E}" type="datetimeFigureOut">
              <a:rPr lang="en-AE" smtClean="0"/>
              <a:t>08/07/2024</a:t>
            </a:fld>
            <a:endParaRPr lang="en-AE"/>
          </a:p>
        </p:txBody>
      </p:sp>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p>
            <a:endParaRPr lang="en-AE"/>
          </a:p>
        </p:txBody>
      </p:sp>
      <p:sp>
        <p:nvSpPr>
          <p:cNvPr id="6" name="Slide Number Placeholder 5">
            <a:extLst>
              <a:ext uri="{FF2B5EF4-FFF2-40B4-BE49-F238E27FC236}">
                <a16:creationId xmlns:a16="http://schemas.microsoft.com/office/drawing/2014/main" id="{79576508-C3AB-24AD-F740-5F6616E4F6FA}"/>
              </a:ext>
            </a:extLst>
          </p:cNvPr>
          <p:cNvSpPr>
            <a:spLocks noGrp="1"/>
          </p:cNvSpPr>
          <p:nvPr>
            <p:ph type="sldNum" sz="quarter" idx="12"/>
          </p:nvPr>
        </p:nvSpPr>
        <p:spPr>
          <a:xfrm>
            <a:off x="8226757" y="4965936"/>
            <a:ext cx="400722" cy="172800"/>
          </a:xfrm>
        </p:spPr>
        <p:txBody>
          <a:bodyPr/>
          <a:lstStyle>
            <a:lvl1pPr>
              <a:defRPr>
                <a:solidFill>
                  <a:schemeClr val="bg1"/>
                </a:solidFill>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A6E9D5E-1E87-5800-4BA2-D8CE197C69E0}"/>
              </a:ext>
            </a:extLst>
          </p:cNvPr>
          <p:cNvSpPr>
            <a:spLocks noGrp="1"/>
          </p:cNvSpPr>
          <p:nvPr>
            <p:ph type="ctrTitle"/>
          </p:nvPr>
        </p:nvSpPr>
        <p:spPr>
          <a:xfrm>
            <a:off x="5703569" y="1100455"/>
            <a:ext cx="2947981" cy="1790700"/>
          </a:xfrm>
        </p:spPr>
        <p:txBody>
          <a:bodyPr anchor="b">
            <a:normAutofit/>
          </a:bodyPr>
          <a:lstStyle>
            <a:lvl1pPr algn="l">
              <a:defRPr sz="2000">
                <a:solidFill>
                  <a:schemeClr val="bg1"/>
                </a:solidFill>
              </a:defRPr>
            </a:lvl1pPr>
          </a:lstStyle>
          <a:p>
            <a:r>
              <a:rPr lang="en-US"/>
              <a:t>Click to edit Master title style</a:t>
            </a:r>
            <a:endParaRPr lang="en-AE"/>
          </a:p>
        </p:txBody>
      </p:sp>
      <p:grpSp>
        <p:nvGrpSpPr>
          <p:cNvPr id="50" name="Group 49">
            <a:extLst>
              <a:ext uri="{FF2B5EF4-FFF2-40B4-BE49-F238E27FC236}">
                <a16:creationId xmlns:a16="http://schemas.microsoft.com/office/drawing/2014/main" id="{F29782EC-D218-7E37-0545-D1319BD3F589}"/>
              </a:ext>
            </a:extLst>
          </p:cNvPr>
          <p:cNvGrpSpPr>
            <a:grpSpLocks noChangeAspect="1"/>
          </p:cNvGrpSpPr>
          <p:nvPr/>
        </p:nvGrpSpPr>
        <p:grpSpPr>
          <a:xfrm>
            <a:off x="250461" y="210563"/>
            <a:ext cx="1188566" cy="1011018"/>
            <a:chOff x="2716311" y="648027"/>
            <a:chExt cx="6759377" cy="5739971"/>
          </a:xfrm>
        </p:grpSpPr>
        <p:grpSp>
          <p:nvGrpSpPr>
            <p:cNvPr id="51" name="Graphic 2">
              <a:extLst>
                <a:ext uri="{FF2B5EF4-FFF2-40B4-BE49-F238E27FC236}">
                  <a16:creationId xmlns:a16="http://schemas.microsoft.com/office/drawing/2014/main" id="{C60F2EE0-F255-9D9F-D865-6B7B82413977}"/>
                </a:ext>
              </a:extLst>
            </p:cNvPr>
            <p:cNvGrpSpPr/>
            <p:nvPr/>
          </p:nvGrpSpPr>
          <p:grpSpPr>
            <a:xfrm>
              <a:off x="2716311" y="5613022"/>
              <a:ext cx="6269002" cy="774976"/>
              <a:chOff x="2766490" y="5410804"/>
              <a:chExt cx="6269002" cy="774976"/>
            </a:xfrm>
            <a:solidFill>
              <a:schemeClr val="accent1"/>
            </a:solidFill>
          </p:grpSpPr>
          <p:grpSp>
            <p:nvGrpSpPr>
              <p:cNvPr id="66" name="Graphic 2">
                <a:extLst>
                  <a:ext uri="{FF2B5EF4-FFF2-40B4-BE49-F238E27FC236}">
                    <a16:creationId xmlns:a16="http://schemas.microsoft.com/office/drawing/2014/main" id="{61342E57-D173-45B6-5AB6-3354CF74F34D}"/>
                  </a:ext>
                </a:extLst>
              </p:cNvPr>
              <p:cNvGrpSpPr/>
              <p:nvPr/>
            </p:nvGrpSpPr>
            <p:grpSpPr>
              <a:xfrm>
                <a:off x="2766490" y="5426323"/>
                <a:ext cx="3923857" cy="759457"/>
                <a:chOff x="2766490" y="5426323"/>
                <a:chExt cx="3923857" cy="759457"/>
              </a:xfrm>
              <a:solidFill>
                <a:srgbClr val="FFFFFF"/>
              </a:solidFill>
            </p:grpSpPr>
            <p:sp>
              <p:nvSpPr>
                <p:cNvPr id="71" name="Freeform 83">
                  <a:extLst>
                    <a:ext uri="{FF2B5EF4-FFF2-40B4-BE49-F238E27FC236}">
                      <a16:creationId xmlns:a16="http://schemas.microsoft.com/office/drawing/2014/main" id="{5C36812F-41B3-C075-0F89-95F755947B8B}"/>
                    </a:ext>
                  </a:extLst>
                </p:cNvPr>
                <p:cNvSpPr/>
                <p:nvPr/>
              </p:nvSpPr>
              <p:spPr>
                <a:xfrm>
                  <a:off x="2766490" y="5436796"/>
                  <a:ext cx="564644" cy="739368"/>
                </a:xfrm>
                <a:custGeom>
                  <a:avLst/>
                  <a:gdLst>
                    <a:gd name="connsiteX0" fmla="*/ 56981 w 564644"/>
                    <a:gd name="connsiteY0" fmla="*/ 483741 h 739368"/>
                    <a:gd name="connsiteX1" fmla="*/ 56981 w 564644"/>
                    <a:gd name="connsiteY1" fmla="*/ 739368 h 739368"/>
                    <a:gd name="connsiteX2" fmla="*/ 0 w 564644"/>
                    <a:gd name="connsiteY2" fmla="*/ 739368 h 739368"/>
                    <a:gd name="connsiteX3" fmla="*/ 0 w 564644"/>
                    <a:gd name="connsiteY3" fmla="*/ 0 h 739368"/>
                    <a:gd name="connsiteX4" fmla="*/ 324000 w 564644"/>
                    <a:gd name="connsiteY4" fmla="*/ 0 h 739368"/>
                    <a:gd name="connsiteX5" fmla="*/ 324000 w 564644"/>
                    <a:gd name="connsiteY5" fmla="*/ 483741 h 739368"/>
                    <a:gd name="connsiteX6" fmla="*/ 56981 w 564644"/>
                    <a:gd name="connsiteY6" fmla="*/ 483741 h 739368"/>
                    <a:gd name="connsiteX7" fmla="*/ 56981 w 564644"/>
                    <a:gd name="connsiteY7" fmla="*/ 52839 h 739368"/>
                    <a:gd name="connsiteX8" fmla="*/ 56981 w 564644"/>
                    <a:gd name="connsiteY8" fmla="*/ 432044 h 739368"/>
                    <a:gd name="connsiteX9" fmla="*/ 324000 w 564644"/>
                    <a:gd name="connsiteY9" fmla="*/ 432044 h 739368"/>
                    <a:gd name="connsiteX10" fmla="*/ 324000 w 564644"/>
                    <a:gd name="connsiteY10" fmla="*/ 52839 h 739368"/>
                    <a:gd name="connsiteX11" fmla="*/ 56981 w 564644"/>
                    <a:gd name="connsiteY11" fmla="*/ 52839 h 739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64644" h="739368">
                      <a:moveTo>
                        <a:pt x="56981" y="483741"/>
                      </a:moveTo>
                      <a:lnTo>
                        <a:pt x="56981" y="739368"/>
                      </a:lnTo>
                      <a:lnTo>
                        <a:pt x="0" y="739368"/>
                      </a:lnTo>
                      <a:lnTo>
                        <a:pt x="0" y="0"/>
                      </a:lnTo>
                      <a:cubicBezTo>
                        <a:pt x="107683" y="0"/>
                        <a:pt x="216317" y="0"/>
                        <a:pt x="324000" y="0"/>
                      </a:cubicBezTo>
                      <a:cubicBezTo>
                        <a:pt x="644860" y="0"/>
                        <a:pt x="644860" y="483741"/>
                        <a:pt x="324000" y="483741"/>
                      </a:cubicBezTo>
                      <a:lnTo>
                        <a:pt x="56981" y="483741"/>
                      </a:lnTo>
                      <a:close/>
                      <a:moveTo>
                        <a:pt x="56981" y="52839"/>
                      </a:moveTo>
                      <a:lnTo>
                        <a:pt x="56981" y="432044"/>
                      </a:lnTo>
                      <a:lnTo>
                        <a:pt x="324000" y="432044"/>
                      </a:lnTo>
                      <a:cubicBezTo>
                        <a:pt x="569901" y="432044"/>
                        <a:pt x="569901" y="52839"/>
                        <a:pt x="324000" y="52839"/>
                      </a:cubicBezTo>
                      <a:lnTo>
                        <a:pt x="56981" y="52839"/>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72" name="Freeform 84">
                  <a:extLst>
                    <a:ext uri="{FF2B5EF4-FFF2-40B4-BE49-F238E27FC236}">
                      <a16:creationId xmlns:a16="http://schemas.microsoft.com/office/drawing/2014/main" id="{5E623651-436F-4FBD-B53E-D90BCCC962B8}"/>
                    </a:ext>
                  </a:extLst>
                </p:cNvPr>
                <p:cNvSpPr/>
                <p:nvPr/>
              </p:nvSpPr>
              <p:spPr>
                <a:xfrm>
                  <a:off x="3457771" y="5436796"/>
                  <a:ext cx="588925" cy="739368"/>
                </a:xfrm>
                <a:custGeom>
                  <a:avLst/>
                  <a:gdLst>
                    <a:gd name="connsiteX0" fmla="*/ 588926 w 588925"/>
                    <a:gd name="connsiteY0" fmla="*/ 739368 h 739368"/>
                    <a:gd name="connsiteX1" fmla="*/ 513967 w 588925"/>
                    <a:gd name="connsiteY1" fmla="*/ 739368 h 739368"/>
                    <a:gd name="connsiteX2" fmla="*/ 258553 w 588925"/>
                    <a:gd name="connsiteY2" fmla="*/ 459463 h 739368"/>
                    <a:gd name="connsiteX3" fmla="*/ 56981 w 588925"/>
                    <a:gd name="connsiteY3" fmla="*/ 459463 h 739368"/>
                    <a:gd name="connsiteX4" fmla="*/ 56981 w 588925"/>
                    <a:gd name="connsiteY4" fmla="*/ 739368 h 739368"/>
                    <a:gd name="connsiteX5" fmla="*/ 0 w 588925"/>
                    <a:gd name="connsiteY5" fmla="*/ 739368 h 739368"/>
                    <a:gd name="connsiteX6" fmla="*/ 0 w 588925"/>
                    <a:gd name="connsiteY6" fmla="*/ 0 h 739368"/>
                    <a:gd name="connsiteX7" fmla="*/ 325046 w 588925"/>
                    <a:gd name="connsiteY7" fmla="*/ 0 h 739368"/>
                    <a:gd name="connsiteX8" fmla="*/ 567808 w 588925"/>
                    <a:gd name="connsiteY8" fmla="*/ 230303 h 739368"/>
                    <a:gd name="connsiteX9" fmla="*/ 328185 w 588925"/>
                    <a:gd name="connsiteY9" fmla="*/ 456322 h 739368"/>
                    <a:gd name="connsiteX10" fmla="*/ 588926 w 588925"/>
                    <a:gd name="connsiteY10" fmla="*/ 739368 h 739368"/>
                    <a:gd name="connsiteX11" fmla="*/ 56981 w 588925"/>
                    <a:gd name="connsiteY11" fmla="*/ 405577 h 739368"/>
                    <a:gd name="connsiteX12" fmla="*/ 318673 w 588925"/>
                    <a:gd name="connsiteY12" fmla="*/ 405577 h 739368"/>
                    <a:gd name="connsiteX13" fmla="*/ 505500 w 588925"/>
                    <a:gd name="connsiteY13" fmla="*/ 229161 h 739368"/>
                    <a:gd name="connsiteX14" fmla="*/ 325046 w 588925"/>
                    <a:gd name="connsiteY14" fmla="*/ 52744 h 739368"/>
                    <a:gd name="connsiteX15" fmla="*/ 56981 w 588925"/>
                    <a:gd name="connsiteY15" fmla="*/ 52744 h 739368"/>
                    <a:gd name="connsiteX16" fmla="*/ 56981 w 588925"/>
                    <a:gd name="connsiteY16" fmla="*/ 405577 h 739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88925" h="739368">
                      <a:moveTo>
                        <a:pt x="588926" y="739368"/>
                      </a:moveTo>
                      <a:lnTo>
                        <a:pt x="513967" y="739368"/>
                      </a:lnTo>
                      <a:lnTo>
                        <a:pt x="258553" y="459463"/>
                      </a:lnTo>
                      <a:lnTo>
                        <a:pt x="56981" y="459463"/>
                      </a:lnTo>
                      <a:lnTo>
                        <a:pt x="56981" y="739368"/>
                      </a:lnTo>
                      <a:lnTo>
                        <a:pt x="0" y="739368"/>
                      </a:lnTo>
                      <a:lnTo>
                        <a:pt x="0" y="0"/>
                      </a:lnTo>
                      <a:cubicBezTo>
                        <a:pt x="108729" y="0"/>
                        <a:pt x="216317" y="0"/>
                        <a:pt x="325046" y="0"/>
                      </a:cubicBezTo>
                      <a:cubicBezTo>
                        <a:pt x="485429" y="0"/>
                        <a:pt x="566762" y="115104"/>
                        <a:pt x="567808" y="230303"/>
                      </a:cubicBezTo>
                      <a:cubicBezTo>
                        <a:pt x="568854" y="350738"/>
                        <a:pt x="489709" y="456322"/>
                        <a:pt x="328185" y="456322"/>
                      </a:cubicBezTo>
                      <a:lnTo>
                        <a:pt x="588926" y="739368"/>
                      </a:lnTo>
                      <a:close/>
                      <a:moveTo>
                        <a:pt x="56981" y="405577"/>
                      </a:moveTo>
                      <a:lnTo>
                        <a:pt x="318673" y="405577"/>
                      </a:lnTo>
                      <a:cubicBezTo>
                        <a:pt x="447473" y="405577"/>
                        <a:pt x="504454" y="332745"/>
                        <a:pt x="505500" y="229161"/>
                      </a:cubicBezTo>
                      <a:cubicBezTo>
                        <a:pt x="506547" y="142523"/>
                        <a:pt x="447473" y="52744"/>
                        <a:pt x="325046" y="52744"/>
                      </a:cubicBezTo>
                      <a:lnTo>
                        <a:pt x="56981" y="52744"/>
                      </a:lnTo>
                      <a:lnTo>
                        <a:pt x="56981" y="40557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73" name="Freeform 85">
                  <a:extLst>
                    <a:ext uri="{FF2B5EF4-FFF2-40B4-BE49-F238E27FC236}">
                      <a16:creationId xmlns:a16="http://schemas.microsoft.com/office/drawing/2014/main" id="{5AB073E5-D3D5-051F-94A4-B7CF41489C03}"/>
                    </a:ext>
                  </a:extLst>
                </p:cNvPr>
                <p:cNvSpPr/>
                <p:nvPr/>
              </p:nvSpPr>
              <p:spPr>
                <a:xfrm>
                  <a:off x="4142679" y="5436796"/>
                  <a:ext cx="55934" cy="739368"/>
                </a:xfrm>
                <a:custGeom>
                  <a:avLst/>
                  <a:gdLst>
                    <a:gd name="connsiteX0" fmla="*/ 0 w 55934"/>
                    <a:gd name="connsiteY0" fmla="*/ 739368 h 739368"/>
                    <a:gd name="connsiteX1" fmla="*/ 0 w 55934"/>
                    <a:gd name="connsiteY1" fmla="*/ 0 h 739368"/>
                    <a:gd name="connsiteX2" fmla="*/ 55934 w 55934"/>
                    <a:gd name="connsiteY2" fmla="*/ 0 h 739368"/>
                    <a:gd name="connsiteX3" fmla="*/ 55934 w 55934"/>
                    <a:gd name="connsiteY3" fmla="*/ 739368 h 739368"/>
                    <a:gd name="connsiteX4" fmla="*/ 0 w 55934"/>
                    <a:gd name="connsiteY4" fmla="*/ 739368 h 7393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934" h="739368">
                      <a:moveTo>
                        <a:pt x="0" y="739368"/>
                      </a:moveTo>
                      <a:lnTo>
                        <a:pt x="0" y="0"/>
                      </a:lnTo>
                      <a:lnTo>
                        <a:pt x="55934" y="0"/>
                      </a:lnTo>
                      <a:lnTo>
                        <a:pt x="55934" y="739368"/>
                      </a:lnTo>
                      <a:lnTo>
                        <a:pt x="0" y="73936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74" name="Freeform 86">
                  <a:extLst>
                    <a:ext uri="{FF2B5EF4-FFF2-40B4-BE49-F238E27FC236}">
                      <a16:creationId xmlns:a16="http://schemas.microsoft.com/office/drawing/2014/main" id="{38C193F7-6BB8-E3D2-09B5-EA10B305EEBB}"/>
                    </a:ext>
                  </a:extLst>
                </p:cNvPr>
                <p:cNvSpPr/>
                <p:nvPr/>
              </p:nvSpPr>
              <p:spPr>
                <a:xfrm>
                  <a:off x="4322062" y="5428322"/>
                  <a:ext cx="649070" cy="756315"/>
                </a:xfrm>
                <a:custGeom>
                  <a:avLst/>
                  <a:gdLst>
                    <a:gd name="connsiteX0" fmla="*/ 649071 w 649070"/>
                    <a:gd name="connsiteY0" fmla="*/ 645400 h 756315"/>
                    <a:gd name="connsiteX1" fmla="*/ 379959 w 649070"/>
                    <a:gd name="connsiteY1" fmla="*/ 756315 h 756315"/>
                    <a:gd name="connsiteX2" fmla="*/ 25 w 649070"/>
                    <a:gd name="connsiteY2" fmla="*/ 382346 h 756315"/>
                    <a:gd name="connsiteX3" fmla="*/ 379959 w 649070"/>
                    <a:gd name="connsiteY3" fmla="*/ 0 h 756315"/>
                    <a:gd name="connsiteX4" fmla="*/ 649071 w 649070"/>
                    <a:gd name="connsiteY4" fmla="*/ 110915 h 756315"/>
                    <a:gd name="connsiteX5" fmla="*/ 610069 w 649070"/>
                    <a:gd name="connsiteY5" fmla="*/ 144713 h 756315"/>
                    <a:gd name="connsiteX6" fmla="*/ 379959 w 649070"/>
                    <a:gd name="connsiteY6" fmla="*/ 50745 h 756315"/>
                    <a:gd name="connsiteX7" fmla="*/ 54913 w 649070"/>
                    <a:gd name="connsiteY7" fmla="*/ 380347 h 756315"/>
                    <a:gd name="connsiteX8" fmla="*/ 379959 w 649070"/>
                    <a:gd name="connsiteY8" fmla="*/ 703571 h 756315"/>
                    <a:gd name="connsiteX9" fmla="*/ 611116 w 649070"/>
                    <a:gd name="connsiteY9" fmla="*/ 609508 h 756315"/>
                    <a:gd name="connsiteX10" fmla="*/ 649071 w 649070"/>
                    <a:gd name="connsiteY10" fmla="*/ 645400 h 756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49070" h="756315">
                      <a:moveTo>
                        <a:pt x="649071" y="645400"/>
                      </a:moveTo>
                      <a:cubicBezTo>
                        <a:pt x="575158" y="719375"/>
                        <a:pt x="477083" y="756315"/>
                        <a:pt x="379959" y="756315"/>
                      </a:cubicBezTo>
                      <a:cubicBezTo>
                        <a:pt x="130919" y="756315"/>
                        <a:pt x="1072" y="581993"/>
                        <a:pt x="25" y="382346"/>
                      </a:cubicBezTo>
                      <a:cubicBezTo>
                        <a:pt x="-2068" y="184794"/>
                        <a:pt x="126638" y="0"/>
                        <a:pt x="379959" y="0"/>
                      </a:cubicBezTo>
                      <a:cubicBezTo>
                        <a:pt x="477083" y="0"/>
                        <a:pt x="575253" y="36940"/>
                        <a:pt x="649071" y="110915"/>
                      </a:cubicBezTo>
                      <a:lnTo>
                        <a:pt x="610069" y="144713"/>
                      </a:lnTo>
                      <a:cubicBezTo>
                        <a:pt x="546715" y="81306"/>
                        <a:pt x="463384" y="50745"/>
                        <a:pt x="379959" y="50745"/>
                      </a:cubicBezTo>
                      <a:cubicBezTo>
                        <a:pt x="164688" y="50745"/>
                        <a:pt x="53866" y="202884"/>
                        <a:pt x="54913" y="380347"/>
                      </a:cubicBezTo>
                      <a:cubicBezTo>
                        <a:pt x="57006" y="553622"/>
                        <a:pt x="166781" y="703571"/>
                        <a:pt x="379959" y="703571"/>
                      </a:cubicBezTo>
                      <a:cubicBezTo>
                        <a:pt x="463384" y="703571"/>
                        <a:pt x="547761" y="671868"/>
                        <a:pt x="611116" y="609508"/>
                      </a:cubicBezTo>
                      <a:lnTo>
                        <a:pt x="649071" y="64540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75" name="Freeform 87">
                  <a:extLst>
                    <a:ext uri="{FF2B5EF4-FFF2-40B4-BE49-F238E27FC236}">
                      <a16:creationId xmlns:a16="http://schemas.microsoft.com/office/drawing/2014/main" id="{DA61E221-CCC6-CFFC-AC0C-3140E25C3908}"/>
                    </a:ext>
                  </a:extLst>
                </p:cNvPr>
                <p:cNvSpPr/>
                <p:nvPr/>
              </p:nvSpPr>
              <p:spPr>
                <a:xfrm>
                  <a:off x="5106212" y="5436796"/>
                  <a:ext cx="55933" cy="739368"/>
                </a:xfrm>
                <a:custGeom>
                  <a:avLst/>
                  <a:gdLst>
                    <a:gd name="connsiteX0" fmla="*/ 0 w 55933"/>
                    <a:gd name="connsiteY0" fmla="*/ 739368 h 739368"/>
                    <a:gd name="connsiteX1" fmla="*/ 0 w 55933"/>
                    <a:gd name="connsiteY1" fmla="*/ 0 h 739368"/>
                    <a:gd name="connsiteX2" fmla="*/ 55934 w 55933"/>
                    <a:gd name="connsiteY2" fmla="*/ 0 h 739368"/>
                    <a:gd name="connsiteX3" fmla="*/ 55934 w 55933"/>
                    <a:gd name="connsiteY3" fmla="*/ 739368 h 739368"/>
                    <a:gd name="connsiteX4" fmla="*/ 0 w 55933"/>
                    <a:gd name="connsiteY4" fmla="*/ 739368 h 7393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933" h="739368">
                      <a:moveTo>
                        <a:pt x="0" y="739368"/>
                      </a:moveTo>
                      <a:lnTo>
                        <a:pt x="0" y="0"/>
                      </a:lnTo>
                      <a:lnTo>
                        <a:pt x="55934" y="0"/>
                      </a:lnTo>
                      <a:lnTo>
                        <a:pt x="55934" y="739368"/>
                      </a:lnTo>
                      <a:lnTo>
                        <a:pt x="0" y="73936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76" name="Freeform 88">
                  <a:extLst>
                    <a:ext uri="{FF2B5EF4-FFF2-40B4-BE49-F238E27FC236}">
                      <a16:creationId xmlns:a16="http://schemas.microsoft.com/office/drawing/2014/main" id="{CBC71CC8-79CA-66A3-916D-7D3B43804E0B}"/>
                    </a:ext>
                  </a:extLst>
                </p:cNvPr>
                <p:cNvSpPr/>
                <p:nvPr/>
              </p:nvSpPr>
              <p:spPr>
                <a:xfrm>
                  <a:off x="5325763" y="5436796"/>
                  <a:ext cx="577320" cy="739368"/>
                </a:xfrm>
                <a:custGeom>
                  <a:avLst/>
                  <a:gdLst>
                    <a:gd name="connsiteX0" fmla="*/ 24257 w 577320"/>
                    <a:gd name="connsiteY0" fmla="*/ 0 h 739368"/>
                    <a:gd name="connsiteX1" fmla="*/ 521386 w 577320"/>
                    <a:gd name="connsiteY1" fmla="*/ 611602 h 739368"/>
                    <a:gd name="connsiteX2" fmla="*/ 521386 w 577320"/>
                    <a:gd name="connsiteY2" fmla="*/ 0 h 739368"/>
                    <a:gd name="connsiteX3" fmla="*/ 577321 w 577320"/>
                    <a:gd name="connsiteY3" fmla="*/ 0 h 739368"/>
                    <a:gd name="connsiteX4" fmla="*/ 577321 w 577320"/>
                    <a:gd name="connsiteY4" fmla="*/ 739368 h 739368"/>
                    <a:gd name="connsiteX5" fmla="*/ 555156 w 577320"/>
                    <a:gd name="connsiteY5" fmla="*/ 739368 h 739368"/>
                    <a:gd name="connsiteX6" fmla="*/ 56980 w 577320"/>
                    <a:gd name="connsiteY6" fmla="*/ 128813 h 739368"/>
                    <a:gd name="connsiteX7" fmla="*/ 56980 w 577320"/>
                    <a:gd name="connsiteY7" fmla="*/ 739368 h 739368"/>
                    <a:gd name="connsiteX8" fmla="*/ 0 w 577320"/>
                    <a:gd name="connsiteY8" fmla="*/ 739368 h 739368"/>
                    <a:gd name="connsiteX9" fmla="*/ 0 w 577320"/>
                    <a:gd name="connsiteY9" fmla="*/ 0 h 739368"/>
                    <a:gd name="connsiteX10" fmla="*/ 24257 w 577320"/>
                    <a:gd name="connsiteY10" fmla="*/ 0 h 739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77320" h="739368">
                      <a:moveTo>
                        <a:pt x="24257" y="0"/>
                      </a:moveTo>
                      <a:lnTo>
                        <a:pt x="521386" y="611602"/>
                      </a:lnTo>
                      <a:lnTo>
                        <a:pt x="521386" y="0"/>
                      </a:lnTo>
                      <a:lnTo>
                        <a:pt x="577321" y="0"/>
                      </a:lnTo>
                      <a:lnTo>
                        <a:pt x="577321" y="739368"/>
                      </a:lnTo>
                      <a:lnTo>
                        <a:pt x="555156" y="739368"/>
                      </a:lnTo>
                      <a:lnTo>
                        <a:pt x="56980" y="128813"/>
                      </a:lnTo>
                      <a:lnTo>
                        <a:pt x="56980" y="739368"/>
                      </a:lnTo>
                      <a:lnTo>
                        <a:pt x="0" y="739368"/>
                      </a:lnTo>
                      <a:lnTo>
                        <a:pt x="0" y="0"/>
                      </a:lnTo>
                      <a:lnTo>
                        <a:pt x="24257"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77" name="Freeform 89">
                  <a:extLst>
                    <a:ext uri="{FF2B5EF4-FFF2-40B4-BE49-F238E27FC236}">
                      <a16:creationId xmlns:a16="http://schemas.microsoft.com/office/drawing/2014/main" id="{913E8613-F97E-1811-55E3-B3AB0A256BA6}"/>
                    </a:ext>
                  </a:extLst>
                </p:cNvPr>
                <p:cNvSpPr/>
                <p:nvPr/>
              </p:nvSpPr>
              <p:spPr>
                <a:xfrm>
                  <a:off x="6030738" y="5426323"/>
                  <a:ext cx="659609" cy="759457"/>
                </a:xfrm>
                <a:custGeom>
                  <a:avLst/>
                  <a:gdLst>
                    <a:gd name="connsiteX0" fmla="*/ 618420 w 659609"/>
                    <a:gd name="connsiteY0" fmla="*/ 146713 h 759457"/>
                    <a:gd name="connsiteX1" fmla="*/ 380985 w 659609"/>
                    <a:gd name="connsiteY1" fmla="*/ 51697 h 759457"/>
                    <a:gd name="connsiteX2" fmla="*/ 54893 w 659609"/>
                    <a:gd name="connsiteY2" fmla="*/ 381300 h 759457"/>
                    <a:gd name="connsiteX3" fmla="*/ 380985 w 659609"/>
                    <a:gd name="connsiteY3" fmla="*/ 705571 h 759457"/>
                    <a:gd name="connsiteX4" fmla="*/ 605768 w 659609"/>
                    <a:gd name="connsiteY4" fmla="*/ 619980 h 759457"/>
                    <a:gd name="connsiteX5" fmla="*/ 605768 w 659609"/>
                    <a:gd name="connsiteY5" fmla="*/ 412908 h 759457"/>
                    <a:gd name="connsiteX6" fmla="*/ 348262 w 659609"/>
                    <a:gd name="connsiteY6" fmla="*/ 412908 h 759457"/>
                    <a:gd name="connsiteX7" fmla="*/ 348262 w 659609"/>
                    <a:gd name="connsiteY7" fmla="*/ 363306 h 759457"/>
                    <a:gd name="connsiteX8" fmla="*/ 659610 w 659609"/>
                    <a:gd name="connsiteY8" fmla="*/ 363306 h 759457"/>
                    <a:gd name="connsiteX9" fmla="*/ 659610 w 659609"/>
                    <a:gd name="connsiteY9" fmla="*/ 640069 h 759457"/>
                    <a:gd name="connsiteX10" fmla="*/ 380985 w 659609"/>
                    <a:gd name="connsiteY10" fmla="*/ 759457 h 759457"/>
                    <a:gd name="connsiteX11" fmla="*/ 5 w 659609"/>
                    <a:gd name="connsiteY11" fmla="*/ 382347 h 759457"/>
                    <a:gd name="connsiteX12" fmla="*/ 380985 w 659609"/>
                    <a:gd name="connsiteY12" fmla="*/ 0 h 759457"/>
                    <a:gd name="connsiteX13" fmla="*/ 651143 w 659609"/>
                    <a:gd name="connsiteY13" fmla="*/ 110915 h 759457"/>
                    <a:gd name="connsiteX14" fmla="*/ 618420 w 659609"/>
                    <a:gd name="connsiteY14" fmla="*/ 146713 h 759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59609" h="759457">
                      <a:moveTo>
                        <a:pt x="618420" y="146713"/>
                      </a:moveTo>
                      <a:cubicBezTo>
                        <a:pt x="554020" y="83305"/>
                        <a:pt x="464316" y="51697"/>
                        <a:pt x="380985" y="51697"/>
                      </a:cubicBezTo>
                      <a:cubicBezTo>
                        <a:pt x="164669" y="51697"/>
                        <a:pt x="53846" y="210119"/>
                        <a:pt x="54893" y="381300"/>
                      </a:cubicBezTo>
                      <a:cubicBezTo>
                        <a:pt x="54893" y="555622"/>
                        <a:pt x="165715" y="705571"/>
                        <a:pt x="380985" y="705571"/>
                      </a:cubicBezTo>
                      <a:cubicBezTo>
                        <a:pt x="460130" y="705571"/>
                        <a:pt x="542414" y="678152"/>
                        <a:pt x="605768" y="619980"/>
                      </a:cubicBezTo>
                      <a:lnTo>
                        <a:pt x="605768" y="412908"/>
                      </a:lnTo>
                      <a:lnTo>
                        <a:pt x="348262" y="412908"/>
                      </a:lnTo>
                      <a:lnTo>
                        <a:pt x="348262" y="363306"/>
                      </a:lnTo>
                      <a:lnTo>
                        <a:pt x="659610" y="363306"/>
                      </a:lnTo>
                      <a:lnTo>
                        <a:pt x="659610" y="640069"/>
                      </a:lnTo>
                      <a:cubicBezTo>
                        <a:pt x="582558" y="717186"/>
                        <a:pt x="490761" y="759457"/>
                        <a:pt x="380985" y="759457"/>
                      </a:cubicBezTo>
                      <a:cubicBezTo>
                        <a:pt x="129757" y="759457"/>
                        <a:pt x="5" y="584088"/>
                        <a:pt x="5" y="382347"/>
                      </a:cubicBezTo>
                      <a:cubicBezTo>
                        <a:pt x="-1041" y="150997"/>
                        <a:pt x="156202" y="0"/>
                        <a:pt x="380985" y="0"/>
                      </a:cubicBezTo>
                      <a:cubicBezTo>
                        <a:pt x="478109" y="0"/>
                        <a:pt x="576279" y="36940"/>
                        <a:pt x="651143" y="110915"/>
                      </a:cubicBezTo>
                      <a:lnTo>
                        <a:pt x="618420" y="146713"/>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grpSp>
            <p:nvGrpSpPr>
              <p:cNvPr id="67" name="Graphic 2">
                <a:extLst>
                  <a:ext uri="{FF2B5EF4-FFF2-40B4-BE49-F238E27FC236}">
                    <a16:creationId xmlns:a16="http://schemas.microsoft.com/office/drawing/2014/main" id="{6EACAA46-8234-D1AE-4CBB-5ACDD16D8A00}"/>
                  </a:ext>
                </a:extLst>
              </p:cNvPr>
              <p:cNvGrpSpPr/>
              <p:nvPr/>
            </p:nvGrpSpPr>
            <p:grpSpPr>
              <a:xfrm>
                <a:off x="6870802" y="5410804"/>
                <a:ext cx="2164690" cy="771262"/>
                <a:chOff x="6870802" y="5410804"/>
                <a:chExt cx="2164690" cy="771262"/>
              </a:xfrm>
              <a:solidFill>
                <a:srgbClr val="00A099"/>
              </a:solidFill>
            </p:grpSpPr>
            <p:sp>
              <p:nvSpPr>
                <p:cNvPr id="68" name="Freeform 80">
                  <a:extLst>
                    <a:ext uri="{FF2B5EF4-FFF2-40B4-BE49-F238E27FC236}">
                      <a16:creationId xmlns:a16="http://schemas.microsoft.com/office/drawing/2014/main" id="{511415A3-283D-779F-4FB9-A93114DE38BF}"/>
                    </a:ext>
                  </a:extLst>
                </p:cNvPr>
                <p:cNvSpPr/>
                <p:nvPr/>
              </p:nvSpPr>
              <p:spPr>
                <a:xfrm>
                  <a:off x="6870802" y="5410804"/>
                  <a:ext cx="758943" cy="771262"/>
                </a:xfrm>
                <a:custGeom>
                  <a:avLst/>
                  <a:gdLst>
                    <a:gd name="connsiteX0" fmla="*/ 758916 w 758943"/>
                    <a:gd name="connsiteY0" fmla="*/ 388821 h 771262"/>
                    <a:gd name="connsiteX1" fmla="*/ 379934 w 758943"/>
                    <a:gd name="connsiteY1" fmla="*/ 771263 h 771262"/>
                    <a:gd name="connsiteX2" fmla="*/ 0 w 758943"/>
                    <a:gd name="connsiteY2" fmla="*/ 389868 h 771262"/>
                    <a:gd name="connsiteX3" fmla="*/ 379934 w 758943"/>
                    <a:gd name="connsiteY3" fmla="*/ 0 h 771262"/>
                    <a:gd name="connsiteX4" fmla="*/ 758916 w 758943"/>
                    <a:gd name="connsiteY4" fmla="*/ 388821 h 771262"/>
                    <a:gd name="connsiteX5" fmla="*/ 137267 w 758943"/>
                    <a:gd name="connsiteY5" fmla="*/ 392058 h 771262"/>
                    <a:gd name="connsiteX6" fmla="*/ 380029 w 758943"/>
                    <a:gd name="connsiteY6" fmla="*/ 643497 h 771262"/>
                    <a:gd name="connsiteX7" fmla="*/ 621744 w 758943"/>
                    <a:gd name="connsiteY7" fmla="*/ 391010 h 771262"/>
                    <a:gd name="connsiteX8" fmla="*/ 380029 w 758943"/>
                    <a:gd name="connsiteY8" fmla="*/ 126910 h 771262"/>
                    <a:gd name="connsiteX9" fmla="*/ 137267 w 758943"/>
                    <a:gd name="connsiteY9" fmla="*/ 392058 h 771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58943" h="771262">
                      <a:moveTo>
                        <a:pt x="758916" y="388821"/>
                      </a:moveTo>
                      <a:cubicBezTo>
                        <a:pt x="756824" y="579994"/>
                        <a:pt x="639628" y="771263"/>
                        <a:pt x="379934" y="771263"/>
                      </a:cubicBezTo>
                      <a:cubicBezTo>
                        <a:pt x="120239" y="771263"/>
                        <a:pt x="0" y="584279"/>
                        <a:pt x="0" y="389868"/>
                      </a:cubicBezTo>
                      <a:cubicBezTo>
                        <a:pt x="0" y="195458"/>
                        <a:pt x="124520" y="0"/>
                        <a:pt x="379934" y="0"/>
                      </a:cubicBezTo>
                      <a:cubicBezTo>
                        <a:pt x="634396" y="95"/>
                        <a:pt x="761104" y="195553"/>
                        <a:pt x="758916" y="388821"/>
                      </a:cubicBezTo>
                      <a:close/>
                      <a:moveTo>
                        <a:pt x="137267" y="392058"/>
                      </a:moveTo>
                      <a:cubicBezTo>
                        <a:pt x="140406" y="513540"/>
                        <a:pt x="205853" y="643497"/>
                        <a:pt x="380029" y="643497"/>
                      </a:cubicBezTo>
                      <a:cubicBezTo>
                        <a:pt x="554205" y="643497"/>
                        <a:pt x="619652" y="512493"/>
                        <a:pt x="621744" y="391010"/>
                      </a:cubicBezTo>
                      <a:cubicBezTo>
                        <a:pt x="623837" y="266291"/>
                        <a:pt x="554205" y="126910"/>
                        <a:pt x="380029" y="126910"/>
                      </a:cubicBezTo>
                      <a:cubicBezTo>
                        <a:pt x="205758" y="126910"/>
                        <a:pt x="134033" y="267338"/>
                        <a:pt x="137267" y="392058"/>
                      </a:cubicBezTo>
                      <a:close/>
                    </a:path>
                  </a:pathLst>
                </a:custGeom>
                <a:solidFill>
                  <a:srgbClr val="00A099"/>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69" name="Freeform 81">
                  <a:extLst>
                    <a:ext uri="{FF2B5EF4-FFF2-40B4-BE49-F238E27FC236}">
                      <a16:creationId xmlns:a16="http://schemas.microsoft.com/office/drawing/2014/main" id="{2B48CE25-2336-0C53-74DB-D24A7D4CFD8E}"/>
                    </a:ext>
                  </a:extLst>
                </p:cNvPr>
                <p:cNvSpPr/>
                <p:nvPr/>
              </p:nvSpPr>
              <p:spPr>
                <a:xfrm>
                  <a:off x="7742443" y="5424609"/>
                  <a:ext cx="614419" cy="741653"/>
                </a:xfrm>
                <a:custGeom>
                  <a:avLst/>
                  <a:gdLst>
                    <a:gd name="connsiteX0" fmla="*/ 475060 w 614419"/>
                    <a:gd name="connsiteY0" fmla="*/ 0 h 741653"/>
                    <a:gd name="connsiteX1" fmla="*/ 614419 w 614419"/>
                    <a:gd name="connsiteY1" fmla="*/ 0 h 741653"/>
                    <a:gd name="connsiteX2" fmla="*/ 614419 w 614419"/>
                    <a:gd name="connsiteY2" fmla="*/ 740607 h 741653"/>
                    <a:gd name="connsiteX3" fmla="*/ 527855 w 614419"/>
                    <a:gd name="connsiteY3" fmla="*/ 740607 h 741653"/>
                    <a:gd name="connsiteX4" fmla="*/ 527855 w 614419"/>
                    <a:gd name="connsiteY4" fmla="*/ 741654 h 741653"/>
                    <a:gd name="connsiteX5" fmla="*/ 139359 w 614419"/>
                    <a:gd name="connsiteY5" fmla="*/ 241918 h 741653"/>
                    <a:gd name="connsiteX6" fmla="*/ 139359 w 614419"/>
                    <a:gd name="connsiteY6" fmla="*/ 740607 h 741653"/>
                    <a:gd name="connsiteX7" fmla="*/ 0 w 614419"/>
                    <a:gd name="connsiteY7" fmla="*/ 740607 h 741653"/>
                    <a:gd name="connsiteX8" fmla="*/ 0 w 614419"/>
                    <a:gd name="connsiteY8" fmla="*/ 1047 h 741653"/>
                    <a:gd name="connsiteX9" fmla="*/ 113010 w 614419"/>
                    <a:gd name="connsiteY9" fmla="*/ 1047 h 741653"/>
                    <a:gd name="connsiteX10" fmla="*/ 475060 w 614419"/>
                    <a:gd name="connsiteY10" fmla="*/ 459559 h 741653"/>
                    <a:gd name="connsiteX11" fmla="*/ 475060 w 614419"/>
                    <a:gd name="connsiteY11" fmla="*/ 0 h 741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14419" h="741653">
                      <a:moveTo>
                        <a:pt x="475060" y="0"/>
                      </a:moveTo>
                      <a:lnTo>
                        <a:pt x="614419" y="0"/>
                      </a:lnTo>
                      <a:lnTo>
                        <a:pt x="614419" y="740607"/>
                      </a:lnTo>
                      <a:lnTo>
                        <a:pt x="527855" y="740607"/>
                      </a:lnTo>
                      <a:lnTo>
                        <a:pt x="527855" y="741654"/>
                      </a:lnTo>
                      <a:lnTo>
                        <a:pt x="139359" y="241918"/>
                      </a:lnTo>
                      <a:lnTo>
                        <a:pt x="139359" y="740607"/>
                      </a:lnTo>
                      <a:lnTo>
                        <a:pt x="0" y="740607"/>
                      </a:lnTo>
                      <a:lnTo>
                        <a:pt x="0" y="1047"/>
                      </a:lnTo>
                      <a:lnTo>
                        <a:pt x="113010" y="1047"/>
                      </a:lnTo>
                      <a:lnTo>
                        <a:pt x="475060" y="459559"/>
                      </a:lnTo>
                      <a:lnTo>
                        <a:pt x="475060" y="0"/>
                      </a:lnTo>
                      <a:close/>
                    </a:path>
                  </a:pathLst>
                </a:custGeom>
                <a:solidFill>
                  <a:srgbClr val="00A099"/>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70" name="Freeform 82">
                  <a:extLst>
                    <a:ext uri="{FF2B5EF4-FFF2-40B4-BE49-F238E27FC236}">
                      <a16:creationId xmlns:a16="http://schemas.microsoft.com/office/drawing/2014/main" id="{37331E65-EABA-8F01-5505-FCA8147FAFE4}"/>
                    </a:ext>
                  </a:extLst>
                </p:cNvPr>
                <p:cNvSpPr/>
                <p:nvPr/>
              </p:nvSpPr>
              <p:spPr>
                <a:xfrm>
                  <a:off x="8482429" y="5425656"/>
                  <a:ext cx="553063" cy="739559"/>
                </a:xfrm>
                <a:custGeom>
                  <a:avLst/>
                  <a:gdLst>
                    <a:gd name="connsiteX0" fmla="*/ 553064 w 553063"/>
                    <a:gd name="connsiteY0" fmla="*/ 739560 h 739559"/>
                    <a:gd name="connsiteX1" fmla="*/ 0 w 553063"/>
                    <a:gd name="connsiteY1" fmla="*/ 739560 h 739559"/>
                    <a:gd name="connsiteX2" fmla="*/ 0 w 553063"/>
                    <a:gd name="connsiteY2" fmla="*/ 0 h 739559"/>
                    <a:gd name="connsiteX3" fmla="*/ 553064 w 553063"/>
                    <a:gd name="connsiteY3" fmla="*/ 0 h 739559"/>
                    <a:gd name="connsiteX4" fmla="*/ 553064 w 553063"/>
                    <a:gd name="connsiteY4" fmla="*/ 135288 h 739559"/>
                    <a:gd name="connsiteX5" fmla="*/ 138219 w 553063"/>
                    <a:gd name="connsiteY5" fmla="*/ 135288 h 739559"/>
                    <a:gd name="connsiteX6" fmla="*/ 138219 w 553063"/>
                    <a:gd name="connsiteY6" fmla="*/ 305325 h 739559"/>
                    <a:gd name="connsiteX7" fmla="*/ 538224 w 553063"/>
                    <a:gd name="connsiteY7" fmla="*/ 305325 h 739559"/>
                    <a:gd name="connsiteX8" fmla="*/ 538224 w 553063"/>
                    <a:gd name="connsiteY8" fmla="*/ 435281 h 739559"/>
                    <a:gd name="connsiteX9" fmla="*/ 138219 w 553063"/>
                    <a:gd name="connsiteY9" fmla="*/ 435281 h 739559"/>
                    <a:gd name="connsiteX10" fmla="*/ 138219 w 553063"/>
                    <a:gd name="connsiteY10" fmla="*/ 602177 h 739559"/>
                    <a:gd name="connsiteX11" fmla="*/ 553064 w 553063"/>
                    <a:gd name="connsiteY11" fmla="*/ 602177 h 739559"/>
                    <a:gd name="connsiteX12" fmla="*/ 553064 w 553063"/>
                    <a:gd name="connsiteY12" fmla="*/ 739560 h 7395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53063" h="739559">
                      <a:moveTo>
                        <a:pt x="553064" y="739560"/>
                      </a:moveTo>
                      <a:lnTo>
                        <a:pt x="0" y="739560"/>
                      </a:lnTo>
                      <a:cubicBezTo>
                        <a:pt x="0" y="493452"/>
                        <a:pt x="0" y="246203"/>
                        <a:pt x="0" y="0"/>
                      </a:cubicBezTo>
                      <a:lnTo>
                        <a:pt x="553064" y="0"/>
                      </a:lnTo>
                      <a:lnTo>
                        <a:pt x="553064" y="135288"/>
                      </a:lnTo>
                      <a:lnTo>
                        <a:pt x="138219" y="135288"/>
                      </a:lnTo>
                      <a:lnTo>
                        <a:pt x="138219" y="305325"/>
                      </a:lnTo>
                      <a:lnTo>
                        <a:pt x="538224" y="305325"/>
                      </a:lnTo>
                      <a:lnTo>
                        <a:pt x="538224" y="435281"/>
                      </a:lnTo>
                      <a:lnTo>
                        <a:pt x="138219" y="435281"/>
                      </a:lnTo>
                      <a:lnTo>
                        <a:pt x="138219" y="602177"/>
                      </a:lnTo>
                      <a:lnTo>
                        <a:pt x="553064" y="602177"/>
                      </a:lnTo>
                      <a:lnTo>
                        <a:pt x="553064" y="739560"/>
                      </a:lnTo>
                      <a:close/>
                    </a:path>
                  </a:pathLst>
                </a:custGeom>
                <a:solidFill>
                  <a:srgbClr val="00A099"/>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grpSp>
        <p:grpSp>
          <p:nvGrpSpPr>
            <p:cNvPr id="52" name="Graphic 2">
              <a:extLst>
                <a:ext uri="{FF2B5EF4-FFF2-40B4-BE49-F238E27FC236}">
                  <a16:creationId xmlns:a16="http://schemas.microsoft.com/office/drawing/2014/main" id="{5E782BC4-DE4E-762C-B4C0-F408637D2291}"/>
                </a:ext>
              </a:extLst>
            </p:cNvPr>
            <p:cNvGrpSpPr/>
            <p:nvPr/>
          </p:nvGrpSpPr>
          <p:grpSpPr>
            <a:xfrm>
              <a:off x="2716311" y="648027"/>
              <a:ext cx="2950814" cy="4756864"/>
              <a:chOff x="4425584" y="267785"/>
              <a:chExt cx="2950814" cy="4756864"/>
            </a:xfrm>
            <a:solidFill>
              <a:schemeClr val="accent1"/>
            </a:solidFill>
          </p:grpSpPr>
          <p:grpSp>
            <p:nvGrpSpPr>
              <p:cNvPr id="56" name="Graphic 2">
                <a:extLst>
                  <a:ext uri="{FF2B5EF4-FFF2-40B4-BE49-F238E27FC236}">
                    <a16:creationId xmlns:a16="http://schemas.microsoft.com/office/drawing/2014/main" id="{E430C7DE-7D2A-633D-92AF-99CC7502D92B}"/>
                  </a:ext>
                </a:extLst>
              </p:cNvPr>
              <p:cNvGrpSpPr/>
              <p:nvPr/>
            </p:nvGrpSpPr>
            <p:grpSpPr>
              <a:xfrm>
                <a:off x="5720269" y="2764575"/>
                <a:ext cx="1656129" cy="1882392"/>
                <a:chOff x="5720269" y="2764575"/>
                <a:chExt cx="1656129" cy="1882392"/>
              </a:xfrm>
              <a:solidFill>
                <a:schemeClr val="accent1"/>
              </a:solidFill>
            </p:grpSpPr>
            <p:grpSp>
              <p:nvGrpSpPr>
                <p:cNvPr id="59" name="Graphic 2">
                  <a:extLst>
                    <a:ext uri="{FF2B5EF4-FFF2-40B4-BE49-F238E27FC236}">
                      <a16:creationId xmlns:a16="http://schemas.microsoft.com/office/drawing/2014/main" id="{E870348F-85BD-A08D-E90F-C72B2C5E7681}"/>
                    </a:ext>
                  </a:extLst>
                </p:cNvPr>
                <p:cNvGrpSpPr/>
                <p:nvPr/>
              </p:nvGrpSpPr>
              <p:grpSpPr>
                <a:xfrm>
                  <a:off x="5720269" y="2764575"/>
                  <a:ext cx="1656129" cy="1882392"/>
                  <a:chOff x="5720269" y="2764575"/>
                  <a:chExt cx="1656129" cy="1882392"/>
                </a:xfrm>
                <a:solidFill>
                  <a:srgbClr val="00A099"/>
                </a:solidFill>
              </p:grpSpPr>
              <p:sp>
                <p:nvSpPr>
                  <p:cNvPr id="63" name="Freeform 75">
                    <a:extLst>
                      <a:ext uri="{FF2B5EF4-FFF2-40B4-BE49-F238E27FC236}">
                        <a16:creationId xmlns:a16="http://schemas.microsoft.com/office/drawing/2014/main" id="{831840EA-6D57-4ED9-3A79-861F8DC015FD}"/>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64" name="Freeform 76">
                    <a:extLst>
                      <a:ext uri="{FF2B5EF4-FFF2-40B4-BE49-F238E27FC236}">
                        <a16:creationId xmlns:a16="http://schemas.microsoft.com/office/drawing/2014/main" id="{3EACBFE2-2F14-F625-7851-C80E0A7D9691}"/>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65" name="Freeform 77">
                    <a:extLst>
                      <a:ext uri="{FF2B5EF4-FFF2-40B4-BE49-F238E27FC236}">
                        <a16:creationId xmlns:a16="http://schemas.microsoft.com/office/drawing/2014/main" id="{76B7E975-73CD-2AB3-601F-CA78A6C623E0}"/>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60" name="Freeform 72">
                  <a:extLst>
                    <a:ext uri="{FF2B5EF4-FFF2-40B4-BE49-F238E27FC236}">
                      <a16:creationId xmlns:a16="http://schemas.microsoft.com/office/drawing/2014/main" id="{86E6F42B-FFF0-8D02-251A-FB950CF2655A}"/>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61" name="Freeform 73">
                  <a:extLst>
                    <a:ext uri="{FF2B5EF4-FFF2-40B4-BE49-F238E27FC236}">
                      <a16:creationId xmlns:a16="http://schemas.microsoft.com/office/drawing/2014/main" id="{D216858B-3506-BA18-7CD0-8C728F450C5E}"/>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62" name="Freeform 74">
                  <a:extLst>
                    <a:ext uri="{FF2B5EF4-FFF2-40B4-BE49-F238E27FC236}">
                      <a16:creationId xmlns:a16="http://schemas.microsoft.com/office/drawing/2014/main" id="{085F44D7-9444-0621-4C92-91459BDA5821}"/>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57" name="Freeform 69">
                <a:extLst>
                  <a:ext uri="{FF2B5EF4-FFF2-40B4-BE49-F238E27FC236}">
                    <a16:creationId xmlns:a16="http://schemas.microsoft.com/office/drawing/2014/main" id="{F01B2B49-8C92-3584-3D31-D97F28EEE56D}"/>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58" name="Freeform 70">
                <a:extLst>
                  <a:ext uri="{FF2B5EF4-FFF2-40B4-BE49-F238E27FC236}">
                    <a16:creationId xmlns:a16="http://schemas.microsoft.com/office/drawing/2014/main" id="{3CFE3DE0-ED12-DFE5-D7BC-3B3F3DDE4B92}"/>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grpSp>
          <p:nvGrpSpPr>
            <p:cNvPr id="53" name="Graphic 2">
              <a:extLst>
                <a:ext uri="{FF2B5EF4-FFF2-40B4-BE49-F238E27FC236}">
                  <a16:creationId xmlns:a16="http://schemas.microsoft.com/office/drawing/2014/main" id="{C63F516A-4780-9D12-DDA0-71E7AD550661}"/>
                </a:ext>
              </a:extLst>
            </p:cNvPr>
            <p:cNvGrpSpPr/>
            <p:nvPr/>
          </p:nvGrpSpPr>
          <p:grpSpPr>
            <a:xfrm>
              <a:off x="9002626" y="5508867"/>
              <a:ext cx="473062" cy="244679"/>
              <a:chOff x="9052805" y="5306649"/>
              <a:chExt cx="473062" cy="244679"/>
            </a:xfrm>
            <a:solidFill>
              <a:schemeClr val="accent4"/>
            </a:solidFill>
          </p:grpSpPr>
          <p:sp>
            <p:nvSpPr>
              <p:cNvPr id="54" name="Freeform 66">
                <a:extLst>
                  <a:ext uri="{FF2B5EF4-FFF2-40B4-BE49-F238E27FC236}">
                    <a16:creationId xmlns:a16="http://schemas.microsoft.com/office/drawing/2014/main" id="{180F3516-6B7C-113E-14EE-DE7FFDF831C7}"/>
                  </a:ext>
                </a:extLst>
              </p:cNvPr>
              <p:cNvSpPr/>
              <p:nvPr/>
            </p:nvSpPr>
            <p:spPr>
              <a:xfrm>
                <a:off x="9052805" y="5306649"/>
                <a:ext cx="183783" cy="244679"/>
              </a:xfrm>
              <a:custGeom>
                <a:avLst/>
                <a:gdLst>
                  <a:gd name="connsiteX0" fmla="*/ 111868 w 183783"/>
                  <a:gd name="connsiteY0" fmla="*/ 244679 h 244679"/>
                  <a:gd name="connsiteX1" fmla="*/ 71915 w 183783"/>
                  <a:gd name="connsiteY1" fmla="*/ 244679 h 244679"/>
                  <a:gd name="connsiteX2" fmla="*/ 71915 w 183783"/>
                  <a:gd name="connsiteY2" fmla="*/ 34274 h 244679"/>
                  <a:gd name="connsiteX3" fmla="*/ 0 w 183783"/>
                  <a:gd name="connsiteY3" fmla="*/ 34274 h 244679"/>
                  <a:gd name="connsiteX4" fmla="*/ 0 w 183783"/>
                  <a:gd name="connsiteY4" fmla="*/ 0 h 244679"/>
                  <a:gd name="connsiteX5" fmla="*/ 183784 w 183783"/>
                  <a:gd name="connsiteY5" fmla="*/ 0 h 244679"/>
                  <a:gd name="connsiteX6" fmla="*/ 183784 w 183783"/>
                  <a:gd name="connsiteY6" fmla="*/ 34274 h 244679"/>
                  <a:gd name="connsiteX7" fmla="*/ 111868 w 183783"/>
                  <a:gd name="connsiteY7" fmla="*/ 34274 h 244679"/>
                  <a:gd name="connsiteX8" fmla="*/ 111868 w 183783"/>
                  <a:gd name="connsiteY8" fmla="*/ 244679 h 2446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3783" h="244679">
                    <a:moveTo>
                      <a:pt x="111868" y="244679"/>
                    </a:moveTo>
                    <a:lnTo>
                      <a:pt x="71915" y="244679"/>
                    </a:lnTo>
                    <a:lnTo>
                      <a:pt x="71915" y="34274"/>
                    </a:lnTo>
                    <a:lnTo>
                      <a:pt x="0" y="34274"/>
                    </a:lnTo>
                    <a:lnTo>
                      <a:pt x="0" y="0"/>
                    </a:lnTo>
                    <a:lnTo>
                      <a:pt x="183784" y="0"/>
                    </a:lnTo>
                    <a:lnTo>
                      <a:pt x="183784" y="34274"/>
                    </a:lnTo>
                    <a:lnTo>
                      <a:pt x="111868" y="34274"/>
                    </a:lnTo>
                    <a:lnTo>
                      <a:pt x="111868" y="244679"/>
                    </a:lnTo>
                    <a:close/>
                  </a:path>
                </a:pathLst>
              </a:custGeom>
              <a:solidFill>
                <a:schemeClr val="bg1"/>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55" name="Freeform 67">
                <a:extLst>
                  <a:ext uri="{FF2B5EF4-FFF2-40B4-BE49-F238E27FC236}">
                    <a16:creationId xmlns:a16="http://schemas.microsoft.com/office/drawing/2014/main" id="{B970DCBA-C981-8774-C9A9-3AB849BD1DFE}"/>
                  </a:ext>
                </a:extLst>
              </p:cNvPr>
              <p:cNvSpPr/>
              <p:nvPr/>
            </p:nvSpPr>
            <p:spPr>
              <a:xfrm>
                <a:off x="9274164" y="5306649"/>
                <a:ext cx="251703" cy="244679"/>
              </a:xfrm>
              <a:custGeom>
                <a:avLst/>
                <a:gdLst>
                  <a:gd name="connsiteX0" fmla="*/ 105590 w 251703"/>
                  <a:gd name="connsiteY0" fmla="*/ 244679 h 244679"/>
                  <a:gd name="connsiteX1" fmla="*/ 34721 w 251703"/>
                  <a:gd name="connsiteY1" fmla="*/ 40368 h 244679"/>
                  <a:gd name="connsiteX2" fmla="*/ 33389 w 251703"/>
                  <a:gd name="connsiteY2" fmla="*/ 40368 h 244679"/>
                  <a:gd name="connsiteX3" fmla="*/ 36243 w 251703"/>
                  <a:gd name="connsiteY3" fmla="*/ 125672 h 244679"/>
                  <a:gd name="connsiteX4" fmla="*/ 36243 w 251703"/>
                  <a:gd name="connsiteY4" fmla="*/ 244679 h 244679"/>
                  <a:gd name="connsiteX5" fmla="*/ 0 w 251703"/>
                  <a:gd name="connsiteY5" fmla="*/ 244679 h 244679"/>
                  <a:gd name="connsiteX6" fmla="*/ 0 w 251703"/>
                  <a:gd name="connsiteY6" fmla="*/ 0 h 244679"/>
                  <a:gd name="connsiteX7" fmla="*/ 56315 w 251703"/>
                  <a:gd name="connsiteY7" fmla="*/ 0 h 244679"/>
                  <a:gd name="connsiteX8" fmla="*/ 124235 w 251703"/>
                  <a:gd name="connsiteY8" fmla="*/ 194601 h 244679"/>
                  <a:gd name="connsiteX9" fmla="*/ 125282 w 251703"/>
                  <a:gd name="connsiteY9" fmla="*/ 194601 h 244679"/>
                  <a:gd name="connsiteX10" fmla="*/ 195199 w 251703"/>
                  <a:gd name="connsiteY10" fmla="*/ 0 h 244679"/>
                  <a:gd name="connsiteX11" fmla="*/ 251704 w 251703"/>
                  <a:gd name="connsiteY11" fmla="*/ 0 h 244679"/>
                  <a:gd name="connsiteX12" fmla="*/ 251704 w 251703"/>
                  <a:gd name="connsiteY12" fmla="*/ 244679 h 244679"/>
                  <a:gd name="connsiteX13" fmla="*/ 213083 w 251703"/>
                  <a:gd name="connsiteY13" fmla="*/ 244679 h 244679"/>
                  <a:gd name="connsiteX14" fmla="*/ 213083 w 251703"/>
                  <a:gd name="connsiteY14" fmla="*/ 123673 h 244679"/>
                  <a:gd name="connsiteX15" fmla="*/ 214034 w 251703"/>
                  <a:gd name="connsiteY15" fmla="*/ 76165 h 244679"/>
                  <a:gd name="connsiteX16" fmla="*/ 215651 w 251703"/>
                  <a:gd name="connsiteY16" fmla="*/ 40653 h 244679"/>
                  <a:gd name="connsiteX17" fmla="*/ 214319 w 251703"/>
                  <a:gd name="connsiteY17" fmla="*/ 40653 h 244679"/>
                  <a:gd name="connsiteX18" fmla="*/ 140882 w 251703"/>
                  <a:gd name="connsiteY18" fmla="*/ 244679 h 244679"/>
                  <a:gd name="connsiteX19" fmla="*/ 105590 w 251703"/>
                  <a:gd name="connsiteY19" fmla="*/ 244679 h 2446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51703" h="244679">
                    <a:moveTo>
                      <a:pt x="105590" y="244679"/>
                    </a:moveTo>
                    <a:lnTo>
                      <a:pt x="34721" y="40368"/>
                    </a:lnTo>
                    <a:lnTo>
                      <a:pt x="33389" y="40368"/>
                    </a:lnTo>
                    <a:cubicBezTo>
                      <a:pt x="35292" y="70738"/>
                      <a:pt x="36243" y="99205"/>
                      <a:pt x="36243" y="125672"/>
                    </a:cubicBezTo>
                    <a:lnTo>
                      <a:pt x="36243" y="244679"/>
                    </a:lnTo>
                    <a:lnTo>
                      <a:pt x="0" y="244679"/>
                    </a:lnTo>
                    <a:lnTo>
                      <a:pt x="0" y="0"/>
                    </a:lnTo>
                    <a:lnTo>
                      <a:pt x="56315" y="0"/>
                    </a:lnTo>
                    <a:lnTo>
                      <a:pt x="124235" y="194601"/>
                    </a:lnTo>
                    <a:lnTo>
                      <a:pt x="125282" y="194601"/>
                    </a:lnTo>
                    <a:lnTo>
                      <a:pt x="195199" y="0"/>
                    </a:lnTo>
                    <a:lnTo>
                      <a:pt x="251704" y="0"/>
                    </a:lnTo>
                    <a:lnTo>
                      <a:pt x="251704" y="244679"/>
                    </a:lnTo>
                    <a:lnTo>
                      <a:pt x="213083" y="244679"/>
                    </a:lnTo>
                    <a:lnTo>
                      <a:pt x="213083" y="123673"/>
                    </a:lnTo>
                    <a:cubicBezTo>
                      <a:pt x="213083" y="111486"/>
                      <a:pt x="213368" y="95682"/>
                      <a:pt x="214034" y="76165"/>
                    </a:cubicBezTo>
                    <a:cubicBezTo>
                      <a:pt x="214605" y="56648"/>
                      <a:pt x="215175" y="44842"/>
                      <a:pt x="215651" y="40653"/>
                    </a:cubicBezTo>
                    <a:lnTo>
                      <a:pt x="214319" y="40653"/>
                    </a:lnTo>
                    <a:lnTo>
                      <a:pt x="140882" y="244679"/>
                    </a:lnTo>
                    <a:lnTo>
                      <a:pt x="105590" y="244679"/>
                    </a:lnTo>
                    <a:close/>
                  </a:path>
                </a:pathLst>
              </a:custGeom>
              <a:solidFill>
                <a:schemeClr val="bg1"/>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FFFFFF"/>
                  </a:solidFill>
                  <a:effectLst/>
                  <a:uLnTx/>
                  <a:uFillTx/>
                  <a:latin typeface="Nexa Book" panose="00000400000000000000" pitchFamily="50" charset="0"/>
                  <a:ea typeface="+mn-ea"/>
                  <a:cs typeface="+mn-cs"/>
                </a:endParaRPr>
              </a:p>
            </p:txBody>
          </p:sp>
        </p:grpSp>
      </p:grpSp>
      <p:sp>
        <p:nvSpPr>
          <p:cNvPr id="78" name="TextBox 77">
            <a:extLst>
              <a:ext uri="{FF2B5EF4-FFF2-40B4-BE49-F238E27FC236}">
                <a16:creationId xmlns:a16="http://schemas.microsoft.com/office/drawing/2014/main" id="{210D67B1-99C8-C8CC-7F4F-B75CAC851D24}"/>
              </a:ext>
            </a:extLst>
          </p:cNvPr>
          <p:cNvSpPr txBox="1"/>
          <p:nvPr/>
        </p:nvSpPr>
        <p:spPr>
          <a:xfrm>
            <a:off x="148009" y="123171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7ECAC4">
                    <a:lumMod val="60000"/>
                    <a:lumOff val="40000"/>
                  </a:srgbClr>
                </a:solidFill>
                <a:effectLst/>
                <a:uLnTx/>
                <a:uFillTx/>
                <a:latin typeface="+mn-lt"/>
                <a:ea typeface="+mn-ea"/>
                <a:cs typeface="+mn-cs"/>
              </a:rPr>
              <a:t>GENEVA | DUBAI | CINCINNATI</a:t>
            </a:r>
          </a:p>
        </p:txBody>
      </p:sp>
    </p:spTree>
    <p:extLst>
      <p:ext uri="{BB962C8B-B14F-4D97-AF65-F5344CB8AC3E}">
        <p14:creationId xmlns:p14="http://schemas.microsoft.com/office/powerpoint/2010/main" val="23717140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164803906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p:txBody>
          <a:bodyPr/>
          <a:lstStyle>
            <a:lvl1pPr>
              <a:defRPr b="0" i="0">
                <a:latin typeface="Nexa Book" panose="00000400000000000000" pitchFamily="50" charset="0"/>
              </a:defRPr>
            </a:lvl1pPr>
          </a:lstStyle>
          <a:p>
            <a:fld id="{93B7D14C-106C-4A28-A54C-ABFAFE88CFF0}" type="datetime1">
              <a:rPr lang="en-US" smtClean="0"/>
              <a:t>7/8/2024</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40000" y="1170000"/>
            <a:ext cx="8100000" cy="3564106"/>
          </a:xfrm>
          <a:prstGeom prst="rect">
            <a:avLst/>
          </a:prstGeom>
        </p:spPr>
        <p:txBody>
          <a:bodyPr/>
          <a:lstStyle>
            <a:lvl1pPr>
              <a:spcBef>
                <a:spcPts val="450"/>
              </a:spcBef>
              <a:defRPr sz="100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40000" y="792000"/>
            <a:ext cx="8100000" cy="360000"/>
          </a:xfrm>
          <a:prstGeom prst="rect">
            <a:avLst/>
          </a:prstGeom>
        </p:spPr>
        <p:txBody>
          <a:bodyPr/>
          <a:lstStyle>
            <a:lvl1pPr marL="0" indent="0">
              <a:spcBef>
                <a:spcPts val="0"/>
              </a:spcBef>
              <a:buNone/>
              <a:defRPr sz="1200" b="0" i="0">
                <a:solidFill>
                  <a:schemeClr val="accent3"/>
                </a:solidFill>
                <a:latin typeface="+mj-lt"/>
              </a:defRPr>
            </a:lvl1pPr>
          </a:lstStyle>
          <a:p>
            <a:pPr lvl="0"/>
            <a:r>
              <a:rPr lang="nl-NL"/>
              <a:t>Subtitle | Chart Title</a:t>
            </a:r>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05907765"/>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53286423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p:txBody>
          <a:bodyPr/>
          <a:lstStyle>
            <a:lvl1pPr>
              <a:defRPr b="0" i="0">
                <a:latin typeface="Nexa Book" panose="00000400000000000000" pitchFamily="50" charset="0"/>
              </a:defRPr>
            </a:lvl1pPr>
          </a:lstStyle>
          <a:p>
            <a:fld id="{93B7D14C-106C-4A28-A54C-ABFAFE88CFF0}" type="datetime1">
              <a:rPr lang="en-US" smtClean="0"/>
              <a:t>7/8/2024</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40000" y="1170000"/>
            <a:ext cx="8100000" cy="3562338"/>
          </a:xfrm>
          <a:prstGeom prst="rect">
            <a:avLst/>
          </a:prstGeom>
        </p:spPr>
        <p:txBody>
          <a:bodyPr/>
          <a:lstStyle>
            <a:lvl1pPr>
              <a:spcBef>
                <a:spcPts val="450"/>
              </a:spcBef>
              <a:defRPr sz="100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1351253598"/>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07496494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p:txBody>
          <a:bodyPr/>
          <a:lstStyle>
            <a:lvl1pPr>
              <a:defRPr b="0" i="0">
                <a:latin typeface="Nexa Book" panose="00000400000000000000" pitchFamily="50" charset="0"/>
              </a:defRPr>
            </a:lvl1pPr>
          </a:lstStyle>
          <a:p>
            <a:fld id="{93B7D14C-106C-4A28-A54C-ABFAFE88CFF0}" type="datetime1">
              <a:rPr lang="en-US" smtClean="0"/>
              <a:t>7/8/2024</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40000" y="1170000"/>
            <a:ext cx="8100000" cy="3564000"/>
          </a:xfrm>
          <a:prstGeom prst="rect">
            <a:avLst/>
          </a:prstGeom>
        </p:spPr>
        <p:txBody>
          <a:bodyPr/>
          <a:lstStyle>
            <a:lvl1pPr>
              <a:spcBef>
                <a:spcPts val="450"/>
              </a:spcBef>
              <a:defRPr sz="100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1639526907"/>
      </p:ext>
    </p:extLst>
  </p:cSld>
  <p:clrMapOvr>
    <a:overrideClrMapping bg1="lt1" tx1="dk1" bg2="lt2" tx2="dk2" accent1="accent1" accent2="accent2" accent3="accent3" accent4="accent4" accent5="accent5" accent6="accent6" hlink="hlink" folHlink="folHlink"/>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388166210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p:txBody>
          <a:bodyPr/>
          <a:lstStyle>
            <a:lvl1pPr>
              <a:defRPr b="0" i="0">
                <a:latin typeface="Nexa Book" panose="00000400000000000000" pitchFamily="50" charset="0"/>
              </a:defRPr>
            </a:lvl1pPr>
          </a:lstStyle>
          <a:p>
            <a:fld id="{71DD4075-0929-457D-A799-576A43438BA2}" type="datetime1">
              <a:rPr lang="en-US" smtClean="0"/>
              <a:t>7/8/2024</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44000" y="792000"/>
            <a:ext cx="3996000" cy="360000"/>
          </a:xfrm>
          <a:prstGeom prst="rect">
            <a:avLst/>
          </a:prstGeom>
        </p:spPr>
        <p:txBody>
          <a:bodyPr anchor="t"/>
          <a:lstStyle>
            <a:lvl1pPr marL="0" indent="0">
              <a:spcBef>
                <a:spcPts val="0"/>
              </a:spcBef>
              <a:buNone/>
              <a:defRPr sz="1200" b="0" i="0">
                <a:solidFill>
                  <a:srgbClr val="009999"/>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40000" y="792000"/>
            <a:ext cx="3996000" cy="360000"/>
          </a:xfrm>
          <a:prstGeom prst="rect">
            <a:avLst/>
          </a:prstGeom>
        </p:spPr>
        <p:txBody>
          <a:bodyPr anchor="t"/>
          <a:lstStyle>
            <a:lvl1pPr marL="0" indent="0">
              <a:spcBef>
                <a:spcPts val="0"/>
              </a:spcBef>
              <a:buNone/>
              <a:defRPr sz="1200" b="0" i="0">
                <a:solidFill>
                  <a:srgbClr val="009999"/>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66F0BCB3-A29A-3BA0-DE6E-5CB8402A35EF}"/>
              </a:ext>
            </a:extLst>
          </p:cNvPr>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293311797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7150856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p:txBody>
          <a:bodyPr/>
          <a:lstStyle>
            <a:lvl1pPr>
              <a:defRPr b="0" i="0">
                <a:latin typeface="Nexa Book" panose="00000400000000000000" pitchFamily="50" charset="0"/>
              </a:defRPr>
            </a:lvl1pPr>
          </a:lstStyle>
          <a:p>
            <a:fld id="{71DD4075-0929-457D-A799-576A43438BA2}" type="datetime1">
              <a:rPr lang="en-US" smtClean="0"/>
              <a:t>7/8/2024</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44000" y="792000"/>
            <a:ext cx="3996000" cy="360000"/>
          </a:xfrm>
          <a:prstGeom prst="rect">
            <a:avLst/>
          </a:prstGeom>
        </p:spPr>
        <p:txBody>
          <a:bodyPr anchor="t"/>
          <a:lstStyle>
            <a:lvl1pPr marL="0" indent="0">
              <a:spcBef>
                <a:spcPts val="0"/>
              </a:spcBef>
              <a:buNone/>
              <a:defRPr sz="1200" b="0" i="0">
                <a:solidFill>
                  <a:srgbClr val="009999"/>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40000" y="792000"/>
            <a:ext cx="3996000" cy="360000"/>
          </a:xfrm>
          <a:prstGeom prst="rect">
            <a:avLst/>
          </a:prstGeom>
        </p:spPr>
        <p:txBody>
          <a:bodyPr anchor="t"/>
          <a:lstStyle>
            <a:lvl1pPr marL="0" indent="0">
              <a:spcBef>
                <a:spcPts val="0"/>
              </a:spcBef>
              <a:buNone/>
              <a:defRPr sz="1200" b="0" i="0">
                <a:solidFill>
                  <a:srgbClr val="009999"/>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185716013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23074124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p:txBody>
          <a:bodyPr/>
          <a:lstStyle>
            <a:lvl1pPr>
              <a:defRPr b="0" i="0">
                <a:latin typeface="Nexa Book" panose="00000400000000000000" pitchFamily="50" charset="0"/>
              </a:defRPr>
            </a:lvl1pPr>
          </a:lstStyle>
          <a:p>
            <a:fld id="{EACD7B18-7D75-4E45-9E57-B98FAE8D3080}" type="datetime1">
              <a:rPr lang="en-US" smtClean="0"/>
              <a:t>7/8/2024</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43999" y="1170000"/>
            <a:ext cx="3996000" cy="3564000"/>
          </a:xfrm>
          <a:prstGeom prst="rect">
            <a:avLst/>
          </a:prstGeom>
        </p:spPr>
        <p:txBody>
          <a:bodyPr/>
          <a:lstStyle>
            <a:lvl1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40000" y="1170000"/>
            <a:ext cx="3996000" cy="3564000"/>
          </a:xfrm>
          <a:prstGeom prst="rect">
            <a:avLst/>
          </a:prstGeom>
        </p:spPr>
        <p:txBody>
          <a:bodyPr/>
          <a:lstStyle>
            <a:lvl1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44000" y="792000"/>
            <a:ext cx="3996000" cy="360000"/>
          </a:xfrm>
          <a:prstGeom prst="rect">
            <a:avLst/>
          </a:prstGeom>
        </p:spPr>
        <p:txBody>
          <a:bodyPr anchor="t"/>
          <a:lstStyle>
            <a:lvl1pPr marL="0" indent="0">
              <a:spcBef>
                <a:spcPts val="0"/>
              </a:spcBef>
              <a:buNone/>
              <a:defRPr sz="1200" b="0" i="0">
                <a:solidFill>
                  <a:srgbClr val="009999"/>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40000" y="792000"/>
            <a:ext cx="3996000" cy="360000"/>
          </a:xfrm>
          <a:prstGeom prst="rect">
            <a:avLst/>
          </a:prstGeom>
        </p:spPr>
        <p:txBody>
          <a:bodyPr anchor="t"/>
          <a:lstStyle>
            <a:lvl1pPr marL="0" indent="0">
              <a:spcBef>
                <a:spcPts val="0"/>
              </a:spcBef>
              <a:buNone/>
              <a:defRPr sz="1200" b="0" i="0">
                <a:solidFill>
                  <a:srgbClr val="009999"/>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354904849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351882373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p:txBody>
          <a:bodyPr/>
          <a:lstStyle>
            <a:lvl1pPr>
              <a:defRPr b="0" i="0">
                <a:latin typeface="Nexa Book" panose="00000400000000000000" pitchFamily="50" charset="0"/>
              </a:defRPr>
            </a:lvl1pPr>
          </a:lstStyle>
          <a:p>
            <a:fld id="{EACD7B18-7D75-4E45-9E57-B98FAE8D3080}" type="datetime1">
              <a:rPr lang="en-US" smtClean="0"/>
              <a:t>7/8/2024</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43999" y="1170000"/>
            <a:ext cx="3996000" cy="3564000"/>
          </a:xfrm>
          <a:prstGeom prst="rect">
            <a:avLst/>
          </a:prstGeom>
        </p:spPr>
        <p:txBody>
          <a:bodyPr/>
          <a:lstStyle>
            <a:lvl1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40000" y="1170000"/>
            <a:ext cx="3996000" cy="3564000"/>
          </a:xfrm>
          <a:prstGeom prst="rect">
            <a:avLst/>
          </a:prstGeom>
        </p:spPr>
        <p:txBody>
          <a:bodyPr/>
          <a:lstStyle>
            <a:lvl1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44000" y="792000"/>
            <a:ext cx="3996000" cy="360000"/>
          </a:xfrm>
          <a:prstGeom prst="rect">
            <a:avLst/>
          </a:prstGeom>
        </p:spPr>
        <p:txBody>
          <a:bodyPr anchor="t"/>
          <a:lstStyle>
            <a:lvl1pPr marL="0" indent="0">
              <a:spcBef>
                <a:spcPts val="0"/>
              </a:spcBef>
              <a:buNone/>
              <a:defRPr sz="1200" b="0" i="0">
                <a:solidFill>
                  <a:srgbClr val="009999"/>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40000" y="792000"/>
            <a:ext cx="3996000" cy="360000"/>
          </a:xfrm>
          <a:prstGeom prst="rect">
            <a:avLst/>
          </a:prstGeom>
        </p:spPr>
        <p:txBody>
          <a:bodyPr anchor="t"/>
          <a:lstStyle>
            <a:lvl1pPr marL="0" indent="0">
              <a:spcBef>
                <a:spcPts val="0"/>
              </a:spcBef>
              <a:buNone/>
              <a:defRPr sz="1200" b="0" i="0">
                <a:solidFill>
                  <a:srgbClr val="009999"/>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24E3F0CE-DD8E-4EC3-5C51-97C93E3C1EB2}"/>
              </a:ext>
            </a:extLst>
          </p:cNvPr>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131904924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229017794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p:txBody>
          <a:bodyPr/>
          <a:lstStyle>
            <a:lvl1pPr>
              <a:defRPr b="0" i="0">
                <a:latin typeface="Nexa Book" panose="00000400000000000000" pitchFamily="50" charset="0"/>
              </a:defRPr>
            </a:lvl1pPr>
          </a:lstStyle>
          <a:p>
            <a:fld id="{EACD7B18-7D75-4E45-9E57-B98FAE8D3080}" type="datetime1">
              <a:rPr lang="en-US" smtClean="0"/>
              <a:t>7/8/2024</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43999" y="1170000"/>
            <a:ext cx="3996000" cy="3564000"/>
          </a:xfrm>
          <a:prstGeom prst="rect">
            <a:avLst/>
          </a:prstGeom>
        </p:spPr>
        <p:txBody>
          <a:bodyPr/>
          <a:lstStyle>
            <a:lvl1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40000" y="1170000"/>
            <a:ext cx="3996000" cy="3564000"/>
          </a:xfrm>
          <a:prstGeom prst="rect">
            <a:avLst/>
          </a:prstGeom>
        </p:spPr>
        <p:txBody>
          <a:bodyPr/>
          <a:lstStyle>
            <a:lvl1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304351160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404501497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p:txBody>
          <a:bodyPr/>
          <a:lstStyle>
            <a:lvl1pPr>
              <a:defRPr b="0" i="0">
                <a:latin typeface="Nexa Book" panose="00000400000000000000" pitchFamily="50" charset="0"/>
              </a:defRPr>
            </a:lvl1pPr>
          </a:lstStyle>
          <a:p>
            <a:fld id="{EACD7B18-7D75-4E45-9E57-B98FAE8D3080}" type="datetime1">
              <a:rPr lang="en-US" smtClean="0"/>
              <a:t>7/8/2024</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43999" y="1170000"/>
            <a:ext cx="3996000" cy="3564000"/>
          </a:xfrm>
          <a:prstGeom prst="rect">
            <a:avLst/>
          </a:prstGeom>
        </p:spPr>
        <p:txBody>
          <a:bodyPr/>
          <a:lstStyle>
            <a:lvl1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40000" y="1170000"/>
            <a:ext cx="3996000" cy="3564000"/>
          </a:xfrm>
          <a:prstGeom prst="rect">
            <a:avLst/>
          </a:prstGeom>
        </p:spPr>
        <p:txBody>
          <a:bodyPr/>
          <a:lstStyle>
            <a:lvl1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402326798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p:txBody>
          <a:bodyPr/>
          <a:lstStyle>
            <a:lvl1pPr>
              <a:defRPr b="0" i="0">
                <a:latin typeface="Nexa Book" panose="00000400000000000000" pitchFamily="50" charset="0"/>
              </a:defRPr>
            </a:lvl1pPr>
          </a:lstStyle>
          <a:p>
            <a:fld id="{92F7F175-3676-4F2E-8335-0DA3DCA9F548}" type="datetime1">
              <a:rPr lang="en-US" smtClean="0"/>
              <a:t>7/8/2024</a:t>
            </a:fld>
            <a:endParaRPr lang="en-US"/>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Rectangle 3">
            <a:extLst>
              <a:ext uri="{FF2B5EF4-FFF2-40B4-BE49-F238E27FC236}">
                <a16:creationId xmlns:a16="http://schemas.microsoft.com/office/drawing/2014/main" id="{5B500120-DEA7-2D41-C308-0727387FE75E}"/>
              </a:ext>
            </a:extLst>
          </p:cNvPr>
          <p:cNvSpPr/>
          <p:nvPr/>
        </p:nvSpPr>
        <p:spPr>
          <a:xfrm>
            <a:off x="521495" y="753627"/>
            <a:ext cx="8182891" cy="1205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37ABD646-1E0B-3FBE-22E5-80CC40B4CFA0}"/>
              </a:ext>
            </a:extLst>
          </p:cNvPr>
          <p:cNvSpPr/>
          <p:nvPr/>
        </p:nvSpPr>
        <p:spPr>
          <a:xfrm>
            <a:off x="521495" y="753627"/>
            <a:ext cx="8182891" cy="1205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408426185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secHead" preserve="1">
  <p:cSld name="Do Not Use">
    <p:spTree>
      <p:nvGrpSpPr>
        <p:cNvPr id="1" name=""/>
        <p:cNvGrpSpPr/>
        <p:nvPr/>
      </p:nvGrpSpPr>
      <p:grpSpPr>
        <a:xfrm>
          <a:off x="0" y="0"/>
          <a:ext cx="0" cy="0"/>
          <a:chOff x="0" y="0"/>
          <a:chExt cx="0" cy="0"/>
        </a:xfrm>
      </p:grpSpPr>
      <p:pic>
        <p:nvPicPr>
          <p:cNvPr id="8" name="Picture Placeholder 14">
            <a:extLst>
              <a:ext uri="{FF2B5EF4-FFF2-40B4-BE49-F238E27FC236}">
                <a16:creationId xmlns:a16="http://schemas.microsoft.com/office/drawing/2014/main" id="{F43B1177-EE3F-37B2-D435-8F8EEBF4A0DE}"/>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4889" y="-2727"/>
            <a:ext cx="9153693" cy="5148952"/>
          </a:xfrm>
          <a:prstGeom prst="rect">
            <a:avLst/>
          </a:prstGeom>
          <a:noFill/>
        </p:spPr>
      </p:pic>
      <p:grpSp>
        <p:nvGrpSpPr>
          <p:cNvPr id="9" name="Graphic 2">
            <a:extLst>
              <a:ext uri="{FF2B5EF4-FFF2-40B4-BE49-F238E27FC236}">
                <a16:creationId xmlns:a16="http://schemas.microsoft.com/office/drawing/2014/main" id="{629D7DF9-2FFB-CA9B-D0E1-CD0F4E78F8CB}"/>
              </a:ext>
            </a:extLst>
          </p:cNvPr>
          <p:cNvGrpSpPr>
            <a:grpSpLocks noChangeAspect="1"/>
          </p:cNvGrpSpPr>
          <p:nvPr/>
        </p:nvGrpSpPr>
        <p:grpSpPr>
          <a:xfrm>
            <a:off x="4804" y="2"/>
            <a:ext cx="468178" cy="756000"/>
            <a:chOff x="4425584" y="267785"/>
            <a:chExt cx="2950814" cy="4756864"/>
          </a:xfrm>
          <a:solidFill>
            <a:schemeClr val="accent1"/>
          </a:solidFill>
        </p:grpSpPr>
        <p:grpSp>
          <p:nvGrpSpPr>
            <p:cNvPr id="10" name="Graphic 2">
              <a:extLst>
                <a:ext uri="{FF2B5EF4-FFF2-40B4-BE49-F238E27FC236}">
                  <a16:creationId xmlns:a16="http://schemas.microsoft.com/office/drawing/2014/main" id="{63854936-3707-C179-ED0A-C3178706CFDE}"/>
                </a:ext>
              </a:extLst>
            </p:cNvPr>
            <p:cNvGrpSpPr/>
            <p:nvPr/>
          </p:nvGrpSpPr>
          <p:grpSpPr>
            <a:xfrm>
              <a:off x="5720269" y="2764575"/>
              <a:ext cx="1656129" cy="1882392"/>
              <a:chOff x="5720269" y="2764575"/>
              <a:chExt cx="1656129" cy="1882392"/>
            </a:xfrm>
            <a:solidFill>
              <a:schemeClr val="accent1"/>
            </a:solidFill>
          </p:grpSpPr>
          <p:grpSp>
            <p:nvGrpSpPr>
              <p:cNvPr id="13" name="Graphic 2">
                <a:extLst>
                  <a:ext uri="{FF2B5EF4-FFF2-40B4-BE49-F238E27FC236}">
                    <a16:creationId xmlns:a16="http://schemas.microsoft.com/office/drawing/2014/main" id="{A7E7E6A8-212F-B2F6-B689-DE5392E9A650}"/>
                  </a:ext>
                </a:extLst>
              </p:cNvPr>
              <p:cNvGrpSpPr/>
              <p:nvPr/>
            </p:nvGrpSpPr>
            <p:grpSpPr>
              <a:xfrm>
                <a:off x="5720269" y="2764575"/>
                <a:ext cx="1656129" cy="1882392"/>
                <a:chOff x="5720269" y="2764575"/>
                <a:chExt cx="1656129" cy="1882392"/>
              </a:xfrm>
              <a:solidFill>
                <a:srgbClr val="00A099"/>
              </a:solidFill>
            </p:grpSpPr>
            <p:sp>
              <p:nvSpPr>
                <p:cNvPr id="17" name="Freeform 75">
                  <a:extLst>
                    <a:ext uri="{FF2B5EF4-FFF2-40B4-BE49-F238E27FC236}">
                      <a16:creationId xmlns:a16="http://schemas.microsoft.com/office/drawing/2014/main" id="{E8DF4AF7-11ED-705B-8D7C-92BF33AFCFF1}"/>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6">
                  <a:extLst>
                    <a:ext uri="{FF2B5EF4-FFF2-40B4-BE49-F238E27FC236}">
                      <a16:creationId xmlns:a16="http://schemas.microsoft.com/office/drawing/2014/main" id="{CEA1F491-23EA-A95A-5186-B16499A0534B}"/>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Freeform 77">
                  <a:extLst>
                    <a:ext uri="{FF2B5EF4-FFF2-40B4-BE49-F238E27FC236}">
                      <a16:creationId xmlns:a16="http://schemas.microsoft.com/office/drawing/2014/main" id="{FE9A57D5-2AEE-950A-9E9D-C2530527BEBD}"/>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4" name="Freeform 72">
                <a:extLst>
                  <a:ext uri="{FF2B5EF4-FFF2-40B4-BE49-F238E27FC236}">
                    <a16:creationId xmlns:a16="http://schemas.microsoft.com/office/drawing/2014/main" id="{D4439610-ABFF-850C-DB57-C92AE4670F78}"/>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3">
                <a:extLst>
                  <a:ext uri="{FF2B5EF4-FFF2-40B4-BE49-F238E27FC236}">
                    <a16:creationId xmlns:a16="http://schemas.microsoft.com/office/drawing/2014/main" id="{F2E99D1C-7A3E-362C-5368-A22764FD0A2D}"/>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Freeform 74">
                <a:extLst>
                  <a:ext uri="{FF2B5EF4-FFF2-40B4-BE49-F238E27FC236}">
                    <a16:creationId xmlns:a16="http://schemas.microsoft.com/office/drawing/2014/main" id="{57B39A8B-4C2E-E73B-2939-F44C5C8945DB}"/>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1" name="Freeform 69">
              <a:extLst>
                <a:ext uri="{FF2B5EF4-FFF2-40B4-BE49-F238E27FC236}">
                  <a16:creationId xmlns:a16="http://schemas.microsoft.com/office/drawing/2014/main" id="{B01CFC8D-EAAB-072D-666C-B7D3E1B97F1C}"/>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0">
              <a:extLst>
                <a:ext uri="{FF2B5EF4-FFF2-40B4-BE49-F238E27FC236}">
                  <a16:creationId xmlns:a16="http://schemas.microsoft.com/office/drawing/2014/main" id="{365F49D4-B7AD-09E3-423E-6B7FBB9562D4}"/>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pic>
        <p:nvPicPr>
          <p:cNvPr id="20" name="Picture 19">
            <a:extLst>
              <a:ext uri="{FF2B5EF4-FFF2-40B4-BE49-F238E27FC236}">
                <a16:creationId xmlns:a16="http://schemas.microsoft.com/office/drawing/2014/main" id="{CC1F151B-8AE3-1C6A-A9DE-541335FA1F34}"/>
              </a:ext>
            </a:extLst>
          </p:cNvPr>
          <p:cNvPicPr>
            <a:picLocks noChangeAspect="1"/>
          </p:cNvPicPr>
          <p:nvPr/>
        </p:nvPicPr>
        <p:blipFill rotWithShape="1">
          <a:blip r:embed="rId3" cstate="email">
            <a:extLst>
              <a:ext uri="{BEBA8EAE-BF5A-486C-A8C5-ECC9F3942E4B}">
                <a14:imgProps xmlns:a14="http://schemas.microsoft.com/office/drawing/2010/main">
                  <a14:imgLayer r:embed="rId4">
                    <a14:imgEffect>
                      <a14:artisticBlur radius="30"/>
                    </a14:imgEffect>
                  </a14:imgLayer>
                </a14:imgProps>
              </a:ext>
              <a:ext uri="{28A0092B-C50C-407E-A947-70E740481C1C}">
                <a14:useLocalDpi xmlns:a14="http://schemas.microsoft.com/office/drawing/2010/main"/>
              </a:ext>
            </a:extLst>
          </a:blip>
          <a:srcRect t="-126"/>
          <a:stretch/>
        </p:blipFill>
        <p:spPr>
          <a:xfrm>
            <a:off x="5759872" y="1"/>
            <a:ext cx="3384128" cy="5142476"/>
          </a:xfrm>
          <a:custGeom>
            <a:avLst/>
            <a:gdLst>
              <a:gd name="connsiteX0" fmla="*/ 1105105 w 4512171"/>
              <a:gd name="connsiteY0" fmla="*/ 0 h 6846621"/>
              <a:gd name="connsiteX1" fmla="*/ 4512171 w 4512171"/>
              <a:gd name="connsiteY1" fmla="*/ 0 h 6846621"/>
              <a:gd name="connsiteX2" fmla="*/ 4512171 w 4512171"/>
              <a:gd name="connsiteY2" fmla="*/ 6846621 h 6846621"/>
              <a:gd name="connsiteX3" fmla="*/ 563823 w 4512171"/>
              <a:gd name="connsiteY3" fmla="*/ 6846621 h 6846621"/>
              <a:gd name="connsiteX4" fmla="*/ 568538 w 4512171"/>
              <a:gd name="connsiteY4" fmla="*/ 6843623 h 6846621"/>
              <a:gd name="connsiteX5" fmla="*/ 568537 w 4512171"/>
              <a:gd name="connsiteY5" fmla="*/ 6843623 h 6846621"/>
              <a:gd name="connsiteX6" fmla="*/ 563822 w 4512171"/>
              <a:gd name="connsiteY6" fmla="*/ 6846621 h 6846621"/>
              <a:gd name="connsiteX7" fmla="*/ 0 w 4512171"/>
              <a:gd name="connsiteY7" fmla="*/ 6846621 h 6846621"/>
              <a:gd name="connsiteX8" fmla="*/ 167413 w 4512171"/>
              <a:gd name="connsiteY8" fmla="*/ 5809420 h 6846621"/>
              <a:gd name="connsiteX9" fmla="*/ 925593 w 4512171"/>
              <a:gd name="connsiteY9" fmla="*/ 5809420 h 6846621"/>
              <a:gd name="connsiteX10" fmla="*/ 925593 w 4512171"/>
              <a:gd name="connsiteY10" fmla="*/ 5809419 h 6846621"/>
              <a:gd name="connsiteX11" fmla="*/ 167413 w 4512171"/>
              <a:gd name="connsiteY11" fmla="*/ 5809419 h 6846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512171" h="6846621">
                <a:moveTo>
                  <a:pt x="1105105" y="0"/>
                </a:moveTo>
                <a:lnTo>
                  <a:pt x="4512171" y="0"/>
                </a:lnTo>
                <a:lnTo>
                  <a:pt x="4512171" y="6846621"/>
                </a:lnTo>
                <a:lnTo>
                  <a:pt x="563823" y="6846621"/>
                </a:lnTo>
                <a:lnTo>
                  <a:pt x="568538" y="6843623"/>
                </a:lnTo>
                <a:lnTo>
                  <a:pt x="568537" y="6843623"/>
                </a:lnTo>
                <a:lnTo>
                  <a:pt x="563822" y="6846621"/>
                </a:lnTo>
                <a:lnTo>
                  <a:pt x="0" y="6846621"/>
                </a:lnTo>
                <a:lnTo>
                  <a:pt x="167413" y="5809420"/>
                </a:lnTo>
                <a:lnTo>
                  <a:pt x="925593" y="5809420"/>
                </a:lnTo>
                <a:lnTo>
                  <a:pt x="925593" y="5809419"/>
                </a:lnTo>
                <a:lnTo>
                  <a:pt x="167413" y="5809419"/>
                </a:lnTo>
                <a:close/>
              </a:path>
            </a:pathLst>
          </a:custGeom>
          <a:noFill/>
          <a:effectLst>
            <a:outerShdw blurRad="190500" dist="63500" dir="10800000" algn="r" rotWithShape="0">
              <a:prstClr val="black">
                <a:alpha val="40000"/>
              </a:prstClr>
            </a:outerShdw>
          </a:effectLst>
        </p:spPr>
      </p:pic>
      <p:sp>
        <p:nvSpPr>
          <p:cNvPr id="21" name="Freeform 8">
            <a:extLst>
              <a:ext uri="{FF2B5EF4-FFF2-40B4-BE49-F238E27FC236}">
                <a16:creationId xmlns:a16="http://schemas.microsoft.com/office/drawing/2014/main" id="{446F043B-249B-6492-7BBD-7C2766E2E242}"/>
              </a:ext>
            </a:extLst>
          </p:cNvPr>
          <p:cNvSpPr/>
          <p:nvPr/>
        </p:nvSpPr>
        <p:spPr>
          <a:xfrm>
            <a:off x="5754984" y="0"/>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cxnSp>
        <p:nvCxnSpPr>
          <p:cNvPr id="22" name="Straight Connector 21">
            <a:extLst>
              <a:ext uri="{FF2B5EF4-FFF2-40B4-BE49-F238E27FC236}">
                <a16:creationId xmlns:a16="http://schemas.microsoft.com/office/drawing/2014/main" id="{0723795D-9378-7FB7-C711-11F7C20ADEDF}"/>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BF9CBF70-D70A-FEF8-91EC-8B6050371200}"/>
              </a:ext>
            </a:extLst>
          </p:cNvPr>
          <p:cNvSpPr>
            <a:spLocks noGrp="1"/>
          </p:cNvSpPr>
          <p:nvPr>
            <p:ph type="title"/>
          </p:nvPr>
        </p:nvSpPr>
        <p:spPr>
          <a:xfrm>
            <a:off x="6597254" y="2122169"/>
            <a:ext cx="2025253" cy="1392380"/>
          </a:xfrm>
        </p:spPr>
        <p:txBody>
          <a:bodyPr anchor="b">
            <a:normAutofit/>
          </a:bodyPr>
          <a:lstStyle>
            <a:lvl1pPr>
              <a:defRPr sz="2000"/>
            </a:lvl1pPr>
          </a:lstStyle>
          <a:p>
            <a:r>
              <a:rPr lang="en-US"/>
              <a:t>Click to edit Master title style</a:t>
            </a:r>
            <a:endParaRPr lang="en-AE"/>
          </a:p>
        </p:txBody>
      </p:sp>
      <p:sp>
        <p:nvSpPr>
          <p:cNvPr id="3" name="Text Placeholder 2">
            <a:extLst>
              <a:ext uri="{FF2B5EF4-FFF2-40B4-BE49-F238E27FC236}">
                <a16:creationId xmlns:a16="http://schemas.microsoft.com/office/drawing/2014/main" id="{3CF23CEE-D176-2ACA-AFD6-3460F2D4CC4A}"/>
              </a:ext>
            </a:extLst>
          </p:cNvPr>
          <p:cNvSpPr>
            <a:spLocks noGrp="1"/>
          </p:cNvSpPr>
          <p:nvPr>
            <p:ph type="body" idx="1"/>
          </p:nvPr>
        </p:nvSpPr>
        <p:spPr>
          <a:xfrm>
            <a:off x="6597254" y="3646169"/>
            <a:ext cx="2025253" cy="921069"/>
          </a:xfrm>
        </p:spPr>
        <p:txBody>
          <a:bodyPr>
            <a:normAutofit/>
          </a:bodyPr>
          <a:lstStyle>
            <a:lvl1pPr marL="0" indent="0">
              <a:buNone/>
              <a:defRPr sz="1600">
                <a:solidFill>
                  <a:schemeClr val="accent3"/>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6D101FA7-7D28-FDAD-48FE-E07FB61C5D2D}"/>
              </a:ext>
            </a:extLst>
          </p:cNvPr>
          <p:cNvSpPr>
            <a:spLocks noGrp="1"/>
          </p:cNvSpPr>
          <p:nvPr>
            <p:ph type="dt" sz="half" idx="10"/>
          </p:nvPr>
        </p:nvSpPr>
        <p:spPr>
          <a:xfrm>
            <a:off x="7632340" y="4972050"/>
            <a:ext cx="609508" cy="171450"/>
          </a:xfrm>
        </p:spPr>
        <p:txBody>
          <a:bodyPr/>
          <a:lstStyle/>
          <a:p>
            <a:fld id="{BB4FBCEC-0432-4BBA-82CE-63BEF708474E}" type="datetimeFigureOut">
              <a:rPr lang="en-AE" smtClean="0"/>
              <a:t>08/07/2024</a:t>
            </a:fld>
            <a:endParaRPr lang="en-AE"/>
          </a:p>
        </p:txBody>
      </p:sp>
      <p:sp>
        <p:nvSpPr>
          <p:cNvPr id="5" name="Footer Placeholder 4">
            <a:extLst>
              <a:ext uri="{FF2B5EF4-FFF2-40B4-BE49-F238E27FC236}">
                <a16:creationId xmlns:a16="http://schemas.microsoft.com/office/drawing/2014/main" id="{AD0C0B73-0DB1-780D-7425-9640441AB632}"/>
              </a:ext>
            </a:extLst>
          </p:cNvPr>
          <p:cNvSpPr>
            <a:spLocks noGrp="1"/>
          </p:cNvSpPr>
          <p:nvPr>
            <p:ph type="ftr" sz="quarter" idx="11"/>
          </p:nvPr>
        </p:nvSpPr>
        <p:spPr>
          <a:xfrm>
            <a:off x="10468" y="4970700"/>
            <a:ext cx="6451742" cy="174151"/>
          </a:xfrm>
        </p:spPr>
        <p:txBody>
          <a:bodyPr/>
          <a:lstStyle/>
          <a:p>
            <a:endParaRPr lang="en-AE"/>
          </a:p>
        </p:txBody>
      </p:sp>
      <p:sp>
        <p:nvSpPr>
          <p:cNvPr id="6" name="Slide Number Placeholder 5">
            <a:extLst>
              <a:ext uri="{FF2B5EF4-FFF2-40B4-BE49-F238E27FC236}">
                <a16:creationId xmlns:a16="http://schemas.microsoft.com/office/drawing/2014/main" id="{24D63120-A813-93F1-01F3-776638B9173A}"/>
              </a:ext>
            </a:extLst>
          </p:cNvPr>
          <p:cNvSpPr>
            <a:spLocks noGrp="1"/>
          </p:cNvSpPr>
          <p:nvPr>
            <p:ph type="sldNum" sz="quarter" idx="12"/>
          </p:nvPr>
        </p:nvSpPr>
        <p:spPr>
          <a:xfrm>
            <a:off x="8246921" y="4972050"/>
            <a:ext cx="400722" cy="172800"/>
          </a:xfrm>
        </p:spPr>
        <p:txBody>
          <a:bodyPr/>
          <a:lstStyle/>
          <a:p>
            <a:fld id="{94EAE7B1-68BD-4D2B-934C-E322FB164993}" type="slidenum">
              <a:rPr lang="en-AE" smtClean="0"/>
              <a:t>‹#›</a:t>
            </a:fld>
            <a:endParaRPr lang="en-AE"/>
          </a:p>
        </p:txBody>
      </p:sp>
    </p:spTree>
    <p:extLst>
      <p:ext uri="{BB962C8B-B14F-4D97-AF65-F5344CB8AC3E}">
        <p14:creationId xmlns:p14="http://schemas.microsoft.com/office/powerpoint/2010/main" val="242743145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p:txBody>
          <a:bodyPr/>
          <a:lstStyle/>
          <a:p>
            <a:fld id="{BB4FBCEC-0432-4BBA-82CE-63BEF708474E}" type="datetimeFigureOut">
              <a:rPr lang="en-AE" smtClean="0"/>
              <a:t>08/07/2024</a:t>
            </a:fld>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p>
            <a:fld id="{94EAE7B1-68BD-4D2B-934C-E322FB164993}" type="slidenum">
              <a:rPr lang="en-AE" smtClean="0"/>
              <a:t>‹#›</a:t>
            </a:fld>
            <a:endParaRPr lang="en-AE"/>
          </a:p>
        </p:txBody>
      </p:sp>
      <p:sp>
        <p:nvSpPr>
          <p:cNvPr id="8" name="Rectangle 7">
            <a:extLst>
              <a:ext uri="{FF2B5EF4-FFF2-40B4-BE49-F238E27FC236}">
                <a16:creationId xmlns:a16="http://schemas.microsoft.com/office/drawing/2014/main" id="{874B915C-2BD4-24F2-64EC-C6844A8180FD}"/>
              </a:ext>
            </a:extLst>
          </p:cNvPr>
          <p:cNvSpPr/>
          <p:nvPr/>
        </p:nvSpPr>
        <p:spPr>
          <a:xfrm>
            <a:off x="521495" y="753627"/>
            <a:ext cx="8182891" cy="1205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a:lvl1pPr>
            <a:lvl2pPr>
              <a:defRPr sz="1000"/>
            </a:lvl2pPr>
            <a:lvl3pPr>
              <a:defRPr sz="900"/>
            </a:lvl3pPr>
            <a:lvl4pPr>
              <a:defRPr sz="800"/>
            </a:lvl4pPr>
            <a:lvl5pPr>
              <a:defRPr sz="8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263224346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p:txBody>
          <a:bodyPr/>
          <a:lstStyle/>
          <a:p>
            <a:fld id="{BB4FBCEC-0432-4BBA-82CE-63BEF708474E}" type="datetimeFigureOut">
              <a:rPr lang="en-AE" smtClean="0"/>
              <a:t>08/07/2024</a:t>
            </a:fld>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p>
            <a:fld id="{94EAE7B1-68BD-4D2B-934C-E322FB164993}" type="slidenum">
              <a:rPr lang="en-AE" smtClean="0"/>
              <a:t>‹#›</a:t>
            </a:fld>
            <a:endParaRPr lang="en-AE"/>
          </a:p>
        </p:txBody>
      </p:sp>
      <p:sp>
        <p:nvSpPr>
          <p:cNvPr id="8" name="Rectangle 7">
            <a:extLst>
              <a:ext uri="{FF2B5EF4-FFF2-40B4-BE49-F238E27FC236}">
                <a16:creationId xmlns:a16="http://schemas.microsoft.com/office/drawing/2014/main" id="{3EC7A3A5-41C2-4360-F048-23818B219F71}"/>
              </a:ext>
            </a:extLst>
          </p:cNvPr>
          <p:cNvSpPr/>
          <p:nvPr/>
        </p:nvSpPr>
        <p:spPr>
          <a:xfrm>
            <a:off x="521495" y="753627"/>
            <a:ext cx="8182891" cy="1205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188298832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07464045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p:txBody>
          <a:bodyPr/>
          <a:lstStyle/>
          <a:p>
            <a:fld id="{BB4FBCEC-0432-4BBA-82CE-63BEF708474E}" type="datetimeFigureOut">
              <a:rPr lang="en-AE" smtClean="0"/>
              <a:t>08/07/2024</a:t>
            </a:fld>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427050691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p:txBody>
          <a:bodyPr/>
          <a:lstStyle/>
          <a:p>
            <a:fld id="{BB4FBCEC-0432-4BBA-82CE-63BEF708474E}" type="datetimeFigureOut">
              <a:rPr lang="en-AE" smtClean="0"/>
              <a:t>08/07/2024</a:t>
            </a:fld>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p>
            <a:fld id="{94EAE7B1-68BD-4D2B-934C-E322FB164993}" type="slidenum">
              <a:rPr lang="en-AE" smtClean="0"/>
              <a:t>‹#›</a:t>
            </a:fld>
            <a:endParaRPr lang="en-AE"/>
          </a:p>
        </p:txBody>
      </p:sp>
      <p:sp>
        <p:nvSpPr>
          <p:cNvPr id="7" name="Rectangle 6">
            <a:extLst>
              <a:ext uri="{FF2B5EF4-FFF2-40B4-BE49-F238E27FC236}">
                <a16:creationId xmlns:a16="http://schemas.microsoft.com/office/drawing/2014/main" id="{B87DA450-A697-524F-0871-5E0366A37E4B}"/>
              </a:ext>
            </a:extLst>
          </p:cNvPr>
          <p:cNvSpPr/>
          <p:nvPr/>
        </p:nvSpPr>
        <p:spPr>
          <a:xfrm>
            <a:off x="521495" y="753627"/>
            <a:ext cx="8182891" cy="1205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372695620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8_Title slide">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D9BAD769-40C0-FE34-B5C5-38375D7E11EE}"/>
              </a:ext>
            </a:extLst>
          </p:cNvPr>
          <p:cNvGraphicFramePr>
            <a:graphicFrameLocks noChangeAspect="1"/>
          </p:cNvGraphicFramePr>
          <p:nvPr>
            <p:custDataLst>
              <p:tags r:id="rId1"/>
            </p:custDataLst>
            <p:extLst>
              <p:ext uri="{D42A27DB-BD31-4B8C-83A1-F6EECF244321}">
                <p14:modId xmlns:p14="http://schemas.microsoft.com/office/powerpoint/2010/main" val="3108271182"/>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6" name="think-cell data - do not delete" hidden="1">
                        <a:extLst>
                          <a:ext uri="{FF2B5EF4-FFF2-40B4-BE49-F238E27FC236}">
                            <a16:creationId xmlns:a16="http://schemas.microsoft.com/office/drawing/2014/main" id="{D9BAD769-40C0-FE34-B5C5-38375D7E11EE}"/>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18" name="Rectangle 17">
            <a:extLst>
              <a:ext uri="{FF2B5EF4-FFF2-40B4-BE49-F238E27FC236}">
                <a16:creationId xmlns:a16="http://schemas.microsoft.com/office/drawing/2014/main" id="{FB3D5F40-8217-F2B1-6CC4-EE9EE40B6100}"/>
              </a:ext>
            </a:extLst>
          </p:cNvPr>
          <p:cNvSpPr/>
          <p:nvPr/>
        </p:nvSpPr>
        <p:spPr>
          <a:xfrm flipV="1">
            <a:off x="298174" y="753949"/>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cxnSp>
        <p:nvCxnSpPr>
          <p:cNvPr id="14" name="Straight Connector 13">
            <a:extLst>
              <a:ext uri="{FF2B5EF4-FFF2-40B4-BE49-F238E27FC236}">
                <a16:creationId xmlns:a16="http://schemas.microsoft.com/office/drawing/2014/main" id="{DB7E9558-4D47-3767-4686-EB7258B7F7D8}"/>
              </a:ext>
            </a:extLst>
          </p:cNvPr>
          <p:cNvCxnSpPr>
            <a:cxnSpLocks/>
          </p:cNvCxnSpPr>
          <p:nvPr/>
        </p:nvCxnSpPr>
        <p:spPr>
          <a:xfrm>
            <a:off x="1683349" y="2990851"/>
            <a:ext cx="2902873" cy="0"/>
          </a:xfrm>
          <a:prstGeom prst="line">
            <a:avLst/>
          </a:prstGeom>
          <a:ln w="57150" cap="rnd">
            <a:solidFill>
              <a:schemeClr val="accent1"/>
            </a:solidFill>
            <a:round/>
          </a:ln>
        </p:spPr>
        <p:style>
          <a:lnRef idx="1">
            <a:schemeClr val="accent1"/>
          </a:lnRef>
          <a:fillRef idx="0">
            <a:schemeClr val="accent1"/>
          </a:fillRef>
          <a:effectRef idx="0">
            <a:schemeClr val="accent1"/>
          </a:effectRef>
          <a:fontRef idx="minor">
            <a:schemeClr val="tx1"/>
          </a:fontRef>
        </p:style>
      </p:cxnSp>
      <p:pic>
        <p:nvPicPr>
          <p:cNvPr id="3" name="Picture 2">
            <a:extLst>
              <a:ext uri="{FF2B5EF4-FFF2-40B4-BE49-F238E27FC236}">
                <a16:creationId xmlns:a16="http://schemas.microsoft.com/office/drawing/2014/main" id="{96722100-8CAE-E97B-B308-61A1A7041CF5}"/>
              </a:ext>
            </a:extLst>
          </p:cNvPr>
          <p:cNvPicPr>
            <a:picLocks noChangeAspect="1"/>
          </p:cNvPicPr>
          <p:nvPr/>
        </p:nvPicPr>
        <p:blipFill rotWithShape="1">
          <a:blip r:embed="rId5" cstate="email">
            <a:extLst>
              <a:ext uri="{BEBA8EAE-BF5A-486C-A8C5-ECC9F3942E4B}">
                <a14:imgProps xmlns:a14="http://schemas.microsoft.com/office/drawing/2010/main">
                  <a14:imgLayer r:embed="rId6">
                    <a14:imgEffect>
                      <a14:artisticBlur radius="20"/>
                    </a14:imgEffect>
                  </a14:imgLayer>
                </a14:imgProps>
              </a:ext>
              <a:ext uri="{28A0092B-C50C-407E-A947-70E740481C1C}">
                <a14:useLocalDpi xmlns:a14="http://schemas.microsoft.com/office/drawing/2010/main"/>
              </a:ext>
            </a:extLst>
          </a:blip>
          <a:srcRect/>
          <a:stretch/>
        </p:blipFill>
        <p:spPr>
          <a:xfrm>
            <a:off x="1" y="2"/>
            <a:ext cx="1988357" cy="5143499"/>
          </a:xfrm>
          <a:custGeom>
            <a:avLst/>
            <a:gdLst>
              <a:gd name="connsiteX0" fmla="*/ 0 w 2651142"/>
              <a:gd name="connsiteY0" fmla="*/ 0 h 6857999"/>
              <a:gd name="connsiteX1" fmla="*/ 2651142 w 2651142"/>
              <a:gd name="connsiteY1" fmla="*/ 0 h 6857999"/>
              <a:gd name="connsiteX2" fmla="*/ 2407857 w 2651142"/>
              <a:gd name="connsiteY2" fmla="*/ 1021264 h 6857999"/>
              <a:gd name="connsiteX3" fmla="*/ 2407856 w 2651142"/>
              <a:gd name="connsiteY3" fmla="*/ 1021263 h 6857999"/>
              <a:gd name="connsiteX4" fmla="*/ 1017425 w 2651142"/>
              <a:gd name="connsiteY4" fmla="*/ 6857999 h 6857999"/>
              <a:gd name="connsiteX5" fmla="*/ 0 w 2651142"/>
              <a:gd name="connsiteY5" fmla="*/ 6857999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51142" h="6857999">
                <a:moveTo>
                  <a:pt x="0" y="0"/>
                </a:moveTo>
                <a:lnTo>
                  <a:pt x="2651142" y="0"/>
                </a:lnTo>
                <a:lnTo>
                  <a:pt x="2407857" y="1021264"/>
                </a:lnTo>
                <a:lnTo>
                  <a:pt x="2407856" y="1021263"/>
                </a:lnTo>
                <a:lnTo>
                  <a:pt x="1017425" y="6857999"/>
                </a:lnTo>
                <a:lnTo>
                  <a:pt x="0" y="6857999"/>
                </a:lnTo>
                <a:close/>
              </a:path>
            </a:pathLst>
          </a:custGeom>
          <a:effectLst>
            <a:outerShdw blurRad="190500" dist="63500" algn="l" rotWithShape="0">
              <a:prstClr val="black">
                <a:alpha val="40000"/>
              </a:prstClr>
            </a:outerShdw>
          </a:effectLst>
        </p:spPr>
      </p:pic>
      <p:sp>
        <p:nvSpPr>
          <p:cNvPr id="4" name="Freeform 3">
            <a:extLst>
              <a:ext uri="{FF2B5EF4-FFF2-40B4-BE49-F238E27FC236}">
                <a16:creationId xmlns:a16="http://schemas.microsoft.com/office/drawing/2014/main" id="{83DCC929-4FEB-3B38-06E1-E3D49DC8AFB4}"/>
              </a:ext>
            </a:extLst>
          </p:cNvPr>
          <p:cNvSpPr/>
          <p:nvPr/>
        </p:nvSpPr>
        <p:spPr>
          <a:xfrm>
            <a:off x="1" y="1"/>
            <a:ext cx="1988357" cy="5147264"/>
          </a:xfrm>
          <a:custGeom>
            <a:avLst/>
            <a:gdLst>
              <a:gd name="connsiteX0" fmla="*/ 2671508 w 2671508"/>
              <a:gd name="connsiteY0" fmla="*/ 0 h 6863018"/>
              <a:gd name="connsiteX1" fmla="*/ 2427625 w 2671508"/>
              <a:gd name="connsiteY1" fmla="*/ 1023774 h 6863018"/>
              <a:gd name="connsiteX2" fmla="*/ 2427624 w 2671508"/>
              <a:gd name="connsiteY2" fmla="*/ 1023773 h 6863018"/>
              <a:gd name="connsiteX3" fmla="*/ 1036595 w 2671508"/>
              <a:gd name="connsiteY3" fmla="*/ 6863018 h 6863018"/>
              <a:gd name="connsiteX4" fmla="*/ 0 w 2671508"/>
              <a:gd name="connsiteY4" fmla="*/ 6863018 h 6863018"/>
              <a:gd name="connsiteX5" fmla="*/ 0 w 2671508"/>
              <a:gd name="connsiteY5" fmla="*/ 1 h 6863018"/>
              <a:gd name="connsiteX6" fmla="*/ 2668167 w 2671508"/>
              <a:gd name="connsiteY6" fmla="*/ 1 h 6863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71508" h="6863018">
                <a:moveTo>
                  <a:pt x="2671508" y="0"/>
                </a:moveTo>
                <a:lnTo>
                  <a:pt x="2427625" y="1023774"/>
                </a:lnTo>
                <a:lnTo>
                  <a:pt x="2427624" y="1023773"/>
                </a:lnTo>
                <a:lnTo>
                  <a:pt x="1036595" y="6863018"/>
                </a:lnTo>
                <a:lnTo>
                  <a:pt x="0" y="6863018"/>
                </a:lnTo>
                <a:lnTo>
                  <a:pt x="0" y="1"/>
                </a:lnTo>
                <a:lnTo>
                  <a:pt x="2668167" y="1"/>
                </a:lnTo>
                <a:close/>
              </a:path>
            </a:pathLst>
          </a:custGeom>
          <a:solidFill>
            <a:schemeClr val="accent1">
              <a:alpha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AE" sz="1200" b="0" i="0">
              <a:solidFill>
                <a:schemeClr val="bg1"/>
              </a:solidFill>
              <a:latin typeface="Nexa Book" pitchFamily="2" charset="77"/>
              <a:ea typeface="Open Sans" panose="020B0606030504020204" pitchFamily="34" charset="0"/>
              <a:cs typeface="Open Sans" panose="020B0606030504020204" pitchFamily="34" charset="0"/>
            </a:endParaRPr>
          </a:p>
        </p:txBody>
      </p:sp>
      <p:pic>
        <p:nvPicPr>
          <p:cNvPr id="5" name="Picture 4">
            <a:extLst>
              <a:ext uri="{FF2B5EF4-FFF2-40B4-BE49-F238E27FC236}">
                <a16:creationId xmlns:a16="http://schemas.microsoft.com/office/drawing/2014/main" id="{6D94320F-F81C-BDE2-973C-917BEC531509}"/>
              </a:ext>
            </a:extLst>
          </p:cNvPr>
          <p:cNvPicPr>
            <a:picLocks noChangeAspect="1"/>
          </p:cNvPicPr>
          <p:nvPr/>
        </p:nvPicPr>
        <p:blipFill rotWithShape="1">
          <a:blip r:embed="rId7" cstate="email">
            <a:extLst>
              <a:ext uri="{BEBA8EAE-BF5A-486C-A8C5-ECC9F3942E4B}">
                <a14:imgProps xmlns:a14="http://schemas.microsoft.com/office/drawing/2010/main">
                  <a14:imgLayer r:embed="rId8">
                    <a14:imgEffect>
                      <a14:artisticBlur/>
                    </a14:imgEffect>
                  </a14:imgLayer>
                </a14:imgProps>
              </a:ext>
              <a:ext uri="{28A0092B-C50C-407E-A947-70E740481C1C}">
                <a14:useLocalDpi xmlns:a14="http://schemas.microsoft.com/office/drawing/2010/main"/>
              </a:ext>
            </a:extLst>
          </a:blip>
          <a:srcRect/>
          <a:stretch/>
        </p:blipFill>
        <p:spPr>
          <a:xfrm>
            <a:off x="4850202" y="-1"/>
            <a:ext cx="4291172" cy="5138737"/>
          </a:xfrm>
          <a:custGeom>
            <a:avLst/>
            <a:gdLst>
              <a:gd name="connsiteX0" fmla="*/ 1105916 w 5721563"/>
              <a:gd name="connsiteY0" fmla="*/ 0 h 6851649"/>
              <a:gd name="connsiteX1" fmla="*/ 5721563 w 5721563"/>
              <a:gd name="connsiteY1" fmla="*/ 0 h 6851649"/>
              <a:gd name="connsiteX2" fmla="*/ 5721563 w 5721563"/>
              <a:gd name="connsiteY2" fmla="*/ 6851649 h 6851649"/>
              <a:gd name="connsiteX3" fmla="*/ 563823 w 5721563"/>
              <a:gd name="connsiteY3" fmla="*/ 6851649 h 6851649"/>
              <a:gd name="connsiteX4" fmla="*/ 568538 w 5721563"/>
              <a:gd name="connsiteY4" fmla="*/ 6848651 h 6851649"/>
              <a:gd name="connsiteX5" fmla="*/ 568537 w 5721563"/>
              <a:gd name="connsiteY5" fmla="*/ 6848651 h 6851649"/>
              <a:gd name="connsiteX6" fmla="*/ 563822 w 5721563"/>
              <a:gd name="connsiteY6" fmla="*/ 6851649 h 6851649"/>
              <a:gd name="connsiteX7" fmla="*/ 0 w 5721563"/>
              <a:gd name="connsiteY7" fmla="*/ 6851649 h 6851649"/>
              <a:gd name="connsiteX8" fmla="*/ 167413 w 5721563"/>
              <a:gd name="connsiteY8" fmla="*/ 5814448 h 6851649"/>
              <a:gd name="connsiteX9" fmla="*/ 925593 w 5721563"/>
              <a:gd name="connsiteY9" fmla="*/ 5814448 h 6851649"/>
              <a:gd name="connsiteX10" fmla="*/ 925593 w 5721563"/>
              <a:gd name="connsiteY10" fmla="*/ 5814447 h 6851649"/>
              <a:gd name="connsiteX11" fmla="*/ 167413 w 5721563"/>
              <a:gd name="connsiteY11" fmla="*/ 5814447 h 68516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721563" h="6851649">
                <a:moveTo>
                  <a:pt x="1105916" y="0"/>
                </a:moveTo>
                <a:lnTo>
                  <a:pt x="5721563" y="0"/>
                </a:lnTo>
                <a:lnTo>
                  <a:pt x="5721563" y="6851649"/>
                </a:lnTo>
                <a:lnTo>
                  <a:pt x="563823" y="6851649"/>
                </a:lnTo>
                <a:lnTo>
                  <a:pt x="568538" y="6848651"/>
                </a:lnTo>
                <a:lnTo>
                  <a:pt x="568537" y="6848651"/>
                </a:lnTo>
                <a:lnTo>
                  <a:pt x="563822" y="6851649"/>
                </a:lnTo>
                <a:lnTo>
                  <a:pt x="0" y="6851649"/>
                </a:lnTo>
                <a:lnTo>
                  <a:pt x="167413" y="5814448"/>
                </a:lnTo>
                <a:lnTo>
                  <a:pt x="925593" y="5814448"/>
                </a:lnTo>
                <a:lnTo>
                  <a:pt x="925593" y="5814447"/>
                </a:lnTo>
                <a:lnTo>
                  <a:pt x="167413" y="5814447"/>
                </a:lnTo>
                <a:close/>
              </a:path>
            </a:pathLst>
          </a:custGeom>
          <a:effectLst>
            <a:outerShdw blurRad="190500" dist="63500" dir="10800000" algn="r" rotWithShape="0">
              <a:prstClr val="black">
                <a:alpha val="40000"/>
              </a:prstClr>
            </a:outerShdw>
          </a:effectLst>
        </p:spPr>
      </p:pic>
      <p:sp>
        <p:nvSpPr>
          <p:cNvPr id="6" name="Freeform 5">
            <a:extLst>
              <a:ext uri="{FF2B5EF4-FFF2-40B4-BE49-F238E27FC236}">
                <a16:creationId xmlns:a16="http://schemas.microsoft.com/office/drawing/2014/main" id="{0788466C-26E7-8520-BF63-2D2A302D8236}"/>
              </a:ext>
            </a:extLst>
          </p:cNvPr>
          <p:cNvSpPr/>
          <p:nvPr/>
        </p:nvSpPr>
        <p:spPr>
          <a:xfrm>
            <a:off x="4850202" y="1025"/>
            <a:ext cx="4291172" cy="5145940"/>
          </a:xfrm>
          <a:custGeom>
            <a:avLst/>
            <a:gdLst>
              <a:gd name="connsiteX0" fmla="*/ 1107467 w 5721563"/>
              <a:gd name="connsiteY0" fmla="*/ 0 h 6861253"/>
              <a:gd name="connsiteX1" fmla="*/ 5721563 w 5721563"/>
              <a:gd name="connsiteY1" fmla="*/ 0 h 6861253"/>
              <a:gd name="connsiteX2" fmla="*/ 5721563 w 5721563"/>
              <a:gd name="connsiteY2" fmla="*/ 6861253 h 6861253"/>
              <a:gd name="connsiteX3" fmla="*/ 563823 w 5721563"/>
              <a:gd name="connsiteY3" fmla="*/ 6861253 h 6861253"/>
              <a:gd name="connsiteX4" fmla="*/ 568538 w 5721563"/>
              <a:gd name="connsiteY4" fmla="*/ 6858255 h 6861253"/>
              <a:gd name="connsiteX5" fmla="*/ 568537 w 5721563"/>
              <a:gd name="connsiteY5" fmla="*/ 6858255 h 6861253"/>
              <a:gd name="connsiteX6" fmla="*/ 563822 w 5721563"/>
              <a:gd name="connsiteY6" fmla="*/ 6861253 h 6861253"/>
              <a:gd name="connsiteX7" fmla="*/ 0 w 5721563"/>
              <a:gd name="connsiteY7" fmla="*/ 6861253 h 6861253"/>
              <a:gd name="connsiteX8" fmla="*/ 167413 w 5721563"/>
              <a:gd name="connsiteY8" fmla="*/ 5824052 h 6861253"/>
              <a:gd name="connsiteX9" fmla="*/ 925593 w 5721563"/>
              <a:gd name="connsiteY9" fmla="*/ 5824052 h 6861253"/>
              <a:gd name="connsiteX10" fmla="*/ 925593 w 5721563"/>
              <a:gd name="connsiteY10" fmla="*/ 5824051 h 6861253"/>
              <a:gd name="connsiteX11" fmla="*/ 167413 w 5721563"/>
              <a:gd name="connsiteY11" fmla="*/ 5824051 h 6861253"/>
              <a:gd name="connsiteX12" fmla="*/ 1107466 w 5721563"/>
              <a:gd name="connsiteY12" fmla="*/ 2 h 6861253"/>
              <a:gd name="connsiteX13" fmla="*/ 1635383 w 5721563"/>
              <a:gd name="connsiteY13" fmla="*/ 2 h 6861253"/>
              <a:gd name="connsiteX14" fmla="*/ 1697942 w 5721563"/>
              <a:gd name="connsiteY14" fmla="*/ 8479 h 6861253"/>
              <a:gd name="connsiteX15" fmla="*/ 1697942 w 5721563"/>
              <a:gd name="connsiteY15" fmla="*/ 8478 h 6861253"/>
              <a:gd name="connsiteX16" fmla="*/ 1635383 w 5721563"/>
              <a:gd name="connsiteY16" fmla="*/ 1 h 6861253"/>
              <a:gd name="connsiteX17" fmla="*/ 1107466 w 5721563"/>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721563" h="6861253">
                <a:moveTo>
                  <a:pt x="1107467" y="0"/>
                </a:moveTo>
                <a:lnTo>
                  <a:pt x="5721563" y="0"/>
                </a:lnTo>
                <a:lnTo>
                  <a:pt x="5721563"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accent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7" name="Group 6">
            <a:extLst>
              <a:ext uri="{FF2B5EF4-FFF2-40B4-BE49-F238E27FC236}">
                <a16:creationId xmlns:a16="http://schemas.microsoft.com/office/drawing/2014/main" id="{87CB412D-5EC5-9211-8366-91E46B9AC972}"/>
              </a:ext>
            </a:extLst>
          </p:cNvPr>
          <p:cNvGrpSpPr>
            <a:grpSpLocks noChangeAspect="1"/>
          </p:cNvGrpSpPr>
          <p:nvPr/>
        </p:nvGrpSpPr>
        <p:grpSpPr>
          <a:xfrm>
            <a:off x="250461" y="210563"/>
            <a:ext cx="1188566" cy="1011018"/>
            <a:chOff x="2716311" y="648027"/>
            <a:chExt cx="6759377" cy="5739971"/>
          </a:xfrm>
        </p:grpSpPr>
        <p:grpSp>
          <p:nvGrpSpPr>
            <p:cNvPr id="8" name="Graphic 2">
              <a:extLst>
                <a:ext uri="{FF2B5EF4-FFF2-40B4-BE49-F238E27FC236}">
                  <a16:creationId xmlns:a16="http://schemas.microsoft.com/office/drawing/2014/main" id="{6662BBD5-F492-4C22-0B67-B55642E4DA2A}"/>
                </a:ext>
              </a:extLst>
            </p:cNvPr>
            <p:cNvGrpSpPr/>
            <p:nvPr/>
          </p:nvGrpSpPr>
          <p:grpSpPr>
            <a:xfrm>
              <a:off x="2716311" y="5613022"/>
              <a:ext cx="6269002" cy="774976"/>
              <a:chOff x="2766490" y="5410804"/>
              <a:chExt cx="6269002" cy="774976"/>
            </a:xfrm>
            <a:solidFill>
              <a:schemeClr val="accent1"/>
            </a:solidFill>
          </p:grpSpPr>
          <p:grpSp>
            <p:nvGrpSpPr>
              <p:cNvPr id="57" name="Graphic 2">
                <a:extLst>
                  <a:ext uri="{FF2B5EF4-FFF2-40B4-BE49-F238E27FC236}">
                    <a16:creationId xmlns:a16="http://schemas.microsoft.com/office/drawing/2014/main" id="{CD42DCB9-2FF2-C97C-8693-DE5C6B017E04}"/>
                  </a:ext>
                </a:extLst>
              </p:cNvPr>
              <p:cNvGrpSpPr/>
              <p:nvPr/>
            </p:nvGrpSpPr>
            <p:grpSpPr>
              <a:xfrm>
                <a:off x="2766490" y="5426323"/>
                <a:ext cx="3923857" cy="759457"/>
                <a:chOff x="2766490" y="5426323"/>
                <a:chExt cx="3923857" cy="759457"/>
              </a:xfrm>
              <a:solidFill>
                <a:srgbClr val="FFFFFF"/>
              </a:solidFill>
            </p:grpSpPr>
            <p:sp>
              <p:nvSpPr>
                <p:cNvPr id="62" name="Freeform 83">
                  <a:extLst>
                    <a:ext uri="{FF2B5EF4-FFF2-40B4-BE49-F238E27FC236}">
                      <a16:creationId xmlns:a16="http://schemas.microsoft.com/office/drawing/2014/main" id="{098C45A0-DB7D-8377-902A-9F2672B41C02}"/>
                    </a:ext>
                  </a:extLst>
                </p:cNvPr>
                <p:cNvSpPr/>
                <p:nvPr/>
              </p:nvSpPr>
              <p:spPr>
                <a:xfrm>
                  <a:off x="2766490" y="5436796"/>
                  <a:ext cx="564644" cy="739368"/>
                </a:xfrm>
                <a:custGeom>
                  <a:avLst/>
                  <a:gdLst>
                    <a:gd name="connsiteX0" fmla="*/ 56981 w 564644"/>
                    <a:gd name="connsiteY0" fmla="*/ 483741 h 739368"/>
                    <a:gd name="connsiteX1" fmla="*/ 56981 w 564644"/>
                    <a:gd name="connsiteY1" fmla="*/ 739368 h 739368"/>
                    <a:gd name="connsiteX2" fmla="*/ 0 w 564644"/>
                    <a:gd name="connsiteY2" fmla="*/ 739368 h 739368"/>
                    <a:gd name="connsiteX3" fmla="*/ 0 w 564644"/>
                    <a:gd name="connsiteY3" fmla="*/ 0 h 739368"/>
                    <a:gd name="connsiteX4" fmla="*/ 324000 w 564644"/>
                    <a:gd name="connsiteY4" fmla="*/ 0 h 739368"/>
                    <a:gd name="connsiteX5" fmla="*/ 324000 w 564644"/>
                    <a:gd name="connsiteY5" fmla="*/ 483741 h 739368"/>
                    <a:gd name="connsiteX6" fmla="*/ 56981 w 564644"/>
                    <a:gd name="connsiteY6" fmla="*/ 483741 h 739368"/>
                    <a:gd name="connsiteX7" fmla="*/ 56981 w 564644"/>
                    <a:gd name="connsiteY7" fmla="*/ 52839 h 739368"/>
                    <a:gd name="connsiteX8" fmla="*/ 56981 w 564644"/>
                    <a:gd name="connsiteY8" fmla="*/ 432044 h 739368"/>
                    <a:gd name="connsiteX9" fmla="*/ 324000 w 564644"/>
                    <a:gd name="connsiteY9" fmla="*/ 432044 h 739368"/>
                    <a:gd name="connsiteX10" fmla="*/ 324000 w 564644"/>
                    <a:gd name="connsiteY10" fmla="*/ 52839 h 739368"/>
                    <a:gd name="connsiteX11" fmla="*/ 56981 w 564644"/>
                    <a:gd name="connsiteY11" fmla="*/ 52839 h 739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64644" h="739368">
                      <a:moveTo>
                        <a:pt x="56981" y="483741"/>
                      </a:moveTo>
                      <a:lnTo>
                        <a:pt x="56981" y="739368"/>
                      </a:lnTo>
                      <a:lnTo>
                        <a:pt x="0" y="739368"/>
                      </a:lnTo>
                      <a:lnTo>
                        <a:pt x="0" y="0"/>
                      </a:lnTo>
                      <a:cubicBezTo>
                        <a:pt x="107683" y="0"/>
                        <a:pt x="216317" y="0"/>
                        <a:pt x="324000" y="0"/>
                      </a:cubicBezTo>
                      <a:cubicBezTo>
                        <a:pt x="644860" y="0"/>
                        <a:pt x="644860" y="483741"/>
                        <a:pt x="324000" y="483741"/>
                      </a:cubicBezTo>
                      <a:lnTo>
                        <a:pt x="56981" y="483741"/>
                      </a:lnTo>
                      <a:close/>
                      <a:moveTo>
                        <a:pt x="56981" y="52839"/>
                      </a:moveTo>
                      <a:lnTo>
                        <a:pt x="56981" y="432044"/>
                      </a:lnTo>
                      <a:lnTo>
                        <a:pt x="324000" y="432044"/>
                      </a:lnTo>
                      <a:cubicBezTo>
                        <a:pt x="569901" y="432044"/>
                        <a:pt x="569901" y="52839"/>
                        <a:pt x="324000" y="52839"/>
                      </a:cubicBezTo>
                      <a:lnTo>
                        <a:pt x="56981" y="52839"/>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63" name="Freeform 84">
                  <a:extLst>
                    <a:ext uri="{FF2B5EF4-FFF2-40B4-BE49-F238E27FC236}">
                      <a16:creationId xmlns:a16="http://schemas.microsoft.com/office/drawing/2014/main" id="{95BD3218-5044-95E6-AB2B-4178B1877736}"/>
                    </a:ext>
                  </a:extLst>
                </p:cNvPr>
                <p:cNvSpPr/>
                <p:nvPr/>
              </p:nvSpPr>
              <p:spPr>
                <a:xfrm>
                  <a:off x="3457771" y="5436796"/>
                  <a:ext cx="588925" cy="739368"/>
                </a:xfrm>
                <a:custGeom>
                  <a:avLst/>
                  <a:gdLst>
                    <a:gd name="connsiteX0" fmla="*/ 588926 w 588925"/>
                    <a:gd name="connsiteY0" fmla="*/ 739368 h 739368"/>
                    <a:gd name="connsiteX1" fmla="*/ 513967 w 588925"/>
                    <a:gd name="connsiteY1" fmla="*/ 739368 h 739368"/>
                    <a:gd name="connsiteX2" fmla="*/ 258553 w 588925"/>
                    <a:gd name="connsiteY2" fmla="*/ 459463 h 739368"/>
                    <a:gd name="connsiteX3" fmla="*/ 56981 w 588925"/>
                    <a:gd name="connsiteY3" fmla="*/ 459463 h 739368"/>
                    <a:gd name="connsiteX4" fmla="*/ 56981 w 588925"/>
                    <a:gd name="connsiteY4" fmla="*/ 739368 h 739368"/>
                    <a:gd name="connsiteX5" fmla="*/ 0 w 588925"/>
                    <a:gd name="connsiteY5" fmla="*/ 739368 h 739368"/>
                    <a:gd name="connsiteX6" fmla="*/ 0 w 588925"/>
                    <a:gd name="connsiteY6" fmla="*/ 0 h 739368"/>
                    <a:gd name="connsiteX7" fmla="*/ 325046 w 588925"/>
                    <a:gd name="connsiteY7" fmla="*/ 0 h 739368"/>
                    <a:gd name="connsiteX8" fmla="*/ 567808 w 588925"/>
                    <a:gd name="connsiteY8" fmla="*/ 230303 h 739368"/>
                    <a:gd name="connsiteX9" fmla="*/ 328185 w 588925"/>
                    <a:gd name="connsiteY9" fmla="*/ 456322 h 739368"/>
                    <a:gd name="connsiteX10" fmla="*/ 588926 w 588925"/>
                    <a:gd name="connsiteY10" fmla="*/ 739368 h 739368"/>
                    <a:gd name="connsiteX11" fmla="*/ 56981 w 588925"/>
                    <a:gd name="connsiteY11" fmla="*/ 405577 h 739368"/>
                    <a:gd name="connsiteX12" fmla="*/ 318673 w 588925"/>
                    <a:gd name="connsiteY12" fmla="*/ 405577 h 739368"/>
                    <a:gd name="connsiteX13" fmla="*/ 505500 w 588925"/>
                    <a:gd name="connsiteY13" fmla="*/ 229161 h 739368"/>
                    <a:gd name="connsiteX14" fmla="*/ 325046 w 588925"/>
                    <a:gd name="connsiteY14" fmla="*/ 52744 h 739368"/>
                    <a:gd name="connsiteX15" fmla="*/ 56981 w 588925"/>
                    <a:gd name="connsiteY15" fmla="*/ 52744 h 739368"/>
                    <a:gd name="connsiteX16" fmla="*/ 56981 w 588925"/>
                    <a:gd name="connsiteY16" fmla="*/ 405577 h 739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88925" h="739368">
                      <a:moveTo>
                        <a:pt x="588926" y="739368"/>
                      </a:moveTo>
                      <a:lnTo>
                        <a:pt x="513967" y="739368"/>
                      </a:lnTo>
                      <a:lnTo>
                        <a:pt x="258553" y="459463"/>
                      </a:lnTo>
                      <a:lnTo>
                        <a:pt x="56981" y="459463"/>
                      </a:lnTo>
                      <a:lnTo>
                        <a:pt x="56981" y="739368"/>
                      </a:lnTo>
                      <a:lnTo>
                        <a:pt x="0" y="739368"/>
                      </a:lnTo>
                      <a:lnTo>
                        <a:pt x="0" y="0"/>
                      </a:lnTo>
                      <a:cubicBezTo>
                        <a:pt x="108729" y="0"/>
                        <a:pt x="216317" y="0"/>
                        <a:pt x="325046" y="0"/>
                      </a:cubicBezTo>
                      <a:cubicBezTo>
                        <a:pt x="485429" y="0"/>
                        <a:pt x="566762" y="115104"/>
                        <a:pt x="567808" y="230303"/>
                      </a:cubicBezTo>
                      <a:cubicBezTo>
                        <a:pt x="568854" y="350738"/>
                        <a:pt x="489709" y="456322"/>
                        <a:pt x="328185" y="456322"/>
                      </a:cubicBezTo>
                      <a:lnTo>
                        <a:pt x="588926" y="739368"/>
                      </a:lnTo>
                      <a:close/>
                      <a:moveTo>
                        <a:pt x="56981" y="405577"/>
                      </a:moveTo>
                      <a:lnTo>
                        <a:pt x="318673" y="405577"/>
                      </a:lnTo>
                      <a:cubicBezTo>
                        <a:pt x="447473" y="405577"/>
                        <a:pt x="504454" y="332745"/>
                        <a:pt x="505500" y="229161"/>
                      </a:cubicBezTo>
                      <a:cubicBezTo>
                        <a:pt x="506547" y="142523"/>
                        <a:pt x="447473" y="52744"/>
                        <a:pt x="325046" y="52744"/>
                      </a:cubicBezTo>
                      <a:lnTo>
                        <a:pt x="56981" y="52744"/>
                      </a:lnTo>
                      <a:lnTo>
                        <a:pt x="56981" y="40557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64" name="Freeform 85">
                  <a:extLst>
                    <a:ext uri="{FF2B5EF4-FFF2-40B4-BE49-F238E27FC236}">
                      <a16:creationId xmlns:a16="http://schemas.microsoft.com/office/drawing/2014/main" id="{F46FE32A-4DFC-F4D6-F372-053F948A5814}"/>
                    </a:ext>
                  </a:extLst>
                </p:cNvPr>
                <p:cNvSpPr/>
                <p:nvPr/>
              </p:nvSpPr>
              <p:spPr>
                <a:xfrm>
                  <a:off x="4142679" y="5436796"/>
                  <a:ext cx="55934" cy="739368"/>
                </a:xfrm>
                <a:custGeom>
                  <a:avLst/>
                  <a:gdLst>
                    <a:gd name="connsiteX0" fmla="*/ 0 w 55934"/>
                    <a:gd name="connsiteY0" fmla="*/ 739368 h 739368"/>
                    <a:gd name="connsiteX1" fmla="*/ 0 w 55934"/>
                    <a:gd name="connsiteY1" fmla="*/ 0 h 739368"/>
                    <a:gd name="connsiteX2" fmla="*/ 55934 w 55934"/>
                    <a:gd name="connsiteY2" fmla="*/ 0 h 739368"/>
                    <a:gd name="connsiteX3" fmla="*/ 55934 w 55934"/>
                    <a:gd name="connsiteY3" fmla="*/ 739368 h 739368"/>
                    <a:gd name="connsiteX4" fmla="*/ 0 w 55934"/>
                    <a:gd name="connsiteY4" fmla="*/ 739368 h 7393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934" h="739368">
                      <a:moveTo>
                        <a:pt x="0" y="739368"/>
                      </a:moveTo>
                      <a:lnTo>
                        <a:pt x="0" y="0"/>
                      </a:lnTo>
                      <a:lnTo>
                        <a:pt x="55934" y="0"/>
                      </a:lnTo>
                      <a:lnTo>
                        <a:pt x="55934" y="739368"/>
                      </a:lnTo>
                      <a:lnTo>
                        <a:pt x="0" y="73936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65" name="Freeform 86">
                  <a:extLst>
                    <a:ext uri="{FF2B5EF4-FFF2-40B4-BE49-F238E27FC236}">
                      <a16:creationId xmlns:a16="http://schemas.microsoft.com/office/drawing/2014/main" id="{C9A4E959-983D-2D0E-50BB-11956BE6D0F7}"/>
                    </a:ext>
                  </a:extLst>
                </p:cNvPr>
                <p:cNvSpPr/>
                <p:nvPr/>
              </p:nvSpPr>
              <p:spPr>
                <a:xfrm>
                  <a:off x="4322062" y="5428322"/>
                  <a:ext cx="649070" cy="756315"/>
                </a:xfrm>
                <a:custGeom>
                  <a:avLst/>
                  <a:gdLst>
                    <a:gd name="connsiteX0" fmla="*/ 649071 w 649070"/>
                    <a:gd name="connsiteY0" fmla="*/ 645400 h 756315"/>
                    <a:gd name="connsiteX1" fmla="*/ 379959 w 649070"/>
                    <a:gd name="connsiteY1" fmla="*/ 756315 h 756315"/>
                    <a:gd name="connsiteX2" fmla="*/ 25 w 649070"/>
                    <a:gd name="connsiteY2" fmla="*/ 382346 h 756315"/>
                    <a:gd name="connsiteX3" fmla="*/ 379959 w 649070"/>
                    <a:gd name="connsiteY3" fmla="*/ 0 h 756315"/>
                    <a:gd name="connsiteX4" fmla="*/ 649071 w 649070"/>
                    <a:gd name="connsiteY4" fmla="*/ 110915 h 756315"/>
                    <a:gd name="connsiteX5" fmla="*/ 610069 w 649070"/>
                    <a:gd name="connsiteY5" fmla="*/ 144713 h 756315"/>
                    <a:gd name="connsiteX6" fmla="*/ 379959 w 649070"/>
                    <a:gd name="connsiteY6" fmla="*/ 50745 h 756315"/>
                    <a:gd name="connsiteX7" fmla="*/ 54913 w 649070"/>
                    <a:gd name="connsiteY7" fmla="*/ 380347 h 756315"/>
                    <a:gd name="connsiteX8" fmla="*/ 379959 w 649070"/>
                    <a:gd name="connsiteY8" fmla="*/ 703571 h 756315"/>
                    <a:gd name="connsiteX9" fmla="*/ 611116 w 649070"/>
                    <a:gd name="connsiteY9" fmla="*/ 609508 h 756315"/>
                    <a:gd name="connsiteX10" fmla="*/ 649071 w 649070"/>
                    <a:gd name="connsiteY10" fmla="*/ 645400 h 756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49070" h="756315">
                      <a:moveTo>
                        <a:pt x="649071" y="645400"/>
                      </a:moveTo>
                      <a:cubicBezTo>
                        <a:pt x="575158" y="719375"/>
                        <a:pt x="477083" y="756315"/>
                        <a:pt x="379959" y="756315"/>
                      </a:cubicBezTo>
                      <a:cubicBezTo>
                        <a:pt x="130919" y="756315"/>
                        <a:pt x="1072" y="581993"/>
                        <a:pt x="25" y="382346"/>
                      </a:cubicBezTo>
                      <a:cubicBezTo>
                        <a:pt x="-2068" y="184794"/>
                        <a:pt x="126638" y="0"/>
                        <a:pt x="379959" y="0"/>
                      </a:cubicBezTo>
                      <a:cubicBezTo>
                        <a:pt x="477083" y="0"/>
                        <a:pt x="575253" y="36940"/>
                        <a:pt x="649071" y="110915"/>
                      </a:cubicBezTo>
                      <a:lnTo>
                        <a:pt x="610069" y="144713"/>
                      </a:lnTo>
                      <a:cubicBezTo>
                        <a:pt x="546715" y="81306"/>
                        <a:pt x="463384" y="50745"/>
                        <a:pt x="379959" y="50745"/>
                      </a:cubicBezTo>
                      <a:cubicBezTo>
                        <a:pt x="164688" y="50745"/>
                        <a:pt x="53866" y="202884"/>
                        <a:pt x="54913" y="380347"/>
                      </a:cubicBezTo>
                      <a:cubicBezTo>
                        <a:pt x="57006" y="553622"/>
                        <a:pt x="166781" y="703571"/>
                        <a:pt x="379959" y="703571"/>
                      </a:cubicBezTo>
                      <a:cubicBezTo>
                        <a:pt x="463384" y="703571"/>
                        <a:pt x="547761" y="671868"/>
                        <a:pt x="611116" y="609508"/>
                      </a:cubicBezTo>
                      <a:lnTo>
                        <a:pt x="649071" y="64540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67" name="Freeform 87">
                  <a:extLst>
                    <a:ext uri="{FF2B5EF4-FFF2-40B4-BE49-F238E27FC236}">
                      <a16:creationId xmlns:a16="http://schemas.microsoft.com/office/drawing/2014/main" id="{575EE56F-2C3A-B3F8-721C-39BBB728B3D4}"/>
                    </a:ext>
                  </a:extLst>
                </p:cNvPr>
                <p:cNvSpPr/>
                <p:nvPr/>
              </p:nvSpPr>
              <p:spPr>
                <a:xfrm>
                  <a:off x="5106212" y="5436796"/>
                  <a:ext cx="55933" cy="739368"/>
                </a:xfrm>
                <a:custGeom>
                  <a:avLst/>
                  <a:gdLst>
                    <a:gd name="connsiteX0" fmla="*/ 0 w 55933"/>
                    <a:gd name="connsiteY0" fmla="*/ 739368 h 739368"/>
                    <a:gd name="connsiteX1" fmla="*/ 0 w 55933"/>
                    <a:gd name="connsiteY1" fmla="*/ 0 h 739368"/>
                    <a:gd name="connsiteX2" fmla="*/ 55934 w 55933"/>
                    <a:gd name="connsiteY2" fmla="*/ 0 h 739368"/>
                    <a:gd name="connsiteX3" fmla="*/ 55934 w 55933"/>
                    <a:gd name="connsiteY3" fmla="*/ 739368 h 739368"/>
                    <a:gd name="connsiteX4" fmla="*/ 0 w 55933"/>
                    <a:gd name="connsiteY4" fmla="*/ 739368 h 7393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933" h="739368">
                      <a:moveTo>
                        <a:pt x="0" y="739368"/>
                      </a:moveTo>
                      <a:lnTo>
                        <a:pt x="0" y="0"/>
                      </a:lnTo>
                      <a:lnTo>
                        <a:pt x="55934" y="0"/>
                      </a:lnTo>
                      <a:lnTo>
                        <a:pt x="55934" y="739368"/>
                      </a:lnTo>
                      <a:lnTo>
                        <a:pt x="0" y="73936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68" name="Freeform 88">
                  <a:extLst>
                    <a:ext uri="{FF2B5EF4-FFF2-40B4-BE49-F238E27FC236}">
                      <a16:creationId xmlns:a16="http://schemas.microsoft.com/office/drawing/2014/main" id="{CA76DB0E-96C8-A173-9103-376B0B33D753}"/>
                    </a:ext>
                  </a:extLst>
                </p:cNvPr>
                <p:cNvSpPr/>
                <p:nvPr/>
              </p:nvSpPr>
              <p:spPr>
                <a:xfrm>
                  <a:off x="5325763" y="5436796"/>
                  <a:ext cx="577320" cy="739368"/>
                </a:xfrm>
                <a:custGeom>
                  <a:avLst/>
                  <a:gdLst>
                    <a:gd name="connsiteX0" fmla="*/ 24257 w 577320"/>
                    <a:gd name="connsiteY0" fmla="*/ 0 h 739368"/>
                    <a:gd name="connsiteX1" fmla="*/ 521386 w 577320"/>
                    <a:gd name="connsiteY1" fmla="*/ 611602 h 739368"/>
                    <a:gd name="connsiteX2" fmla="*/ 521386 w 577320"/>
                    <a:gd name="connsiteY2" fmla="*/ 0 h 739368"/>
                    <a:gd name="connsiteX3" fmla="*/ 577321 w 577320"/>
                    <a:gd name="connsiteY3" fmla="*/ 0 h 739368"/>
                    <a:gd name="connsiteX4" fmla="*/ 577321 w 577320"/>
                    <a:gd name="connsiteY4" fmla="*/ 739368 h 739368"/>
                    <a:gd name="connsiteX5" fmla="*/ 555156 w 577320"/>
                    <a:gd name="connsiteY5" fmla="*/ 739368 h 739368"/>
                    <a:gd name="connsiteX6" fmla="*/ 56980 w 577320"/>
                    <a:gd name="connsiteY6" fmla="*/ 128813 h 739368"/>
                    <a:gd name="connsiteX7" fmla="*/ 56980 w 577320"/>
                    <a:gd name="connsiteY7" fmla="*/ 739368 h 739368"/>
                    <a:gd name="connsiteX8" fmla="*/ 0 w 577320"/>
                    <a:gd name="connsiteY8" fmla="*/ 739368 h 739368"/>
                    <a:gd name="connsiteX9" fmla="*/ 0 w 577320"/>
                    <a:gd name="connsiteY9" fmla="*/ 0 h 739368"/>
                    <a:gd name="connsiteX10" fmla="*/ 24257 w 577320"/>
                    <a:gd name="connsiteY10" fmla="*/ 0 h 739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77320" h="739368">
                      <a:moveTo>
                        <a:pt x="24257" y="0"/>
                      </a:moveTo>
                      <a:lnTo>
                        <a:pt x="521386" y="611602"/>
                      </a:lnTo>
                      <a:lnTo>
                        <a:pt x="521386" y="0"/>
                      </a:lnTo>
                      <a:lnTo>
                        <a:pt x="577321" y="0"/>
                      </a:lnTo>
                      <a:lnTo>
                        <a:pt x="577321" y="739368"/>
                      </a:lnTo>
                      <a:lnTo>
                        <a:pt x="555156" y="739368"/>
                      </a:lnTo>
                      <a:lnTo>
                        <a:pt x="56980" y="128813"/>
                      </a:lnTo>
                      <a:lnTo>
                        <a:pt x="56980" y="739368"/>
                      </a:lnTo>
                      <a:lnTo>
                        <a:pt x="0" y="739368"/>
                      </a:lnTo>
                      <a:lnTo>
                        <a:pt x="0" y="0"/>
                      </a:lnTo>
                      <a:lnTo>
                        <a:pt x="24257"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69" name="Freeform 89">
                  <a:extLst>
                    <a:ext uri="{FF2B5EF4-FFF2-40B4-BE49-F238E27FC236}">
                      <a16:creationId xmlns:a16="http://schemas.microsoft.com/office/drawing/2014/main" id="{819901E0-017D-C922-0F6A-54CEF0DDAFA2}"/>
                    </a:ext>
                  </a:extLst>
                </p:cNvPr>
                <p:cNvSpPr/>
                <p:nvPr/>
              </p:nvSpPr>
              <p:spPr>
                <a:xfrm>
                  <a:off x="6030738" y="5426323"/>
                  <a:ext cx="659609" cy="759457"/>
                </a:xfrm>
                <a:custGeom>
                  <a:avLst/>
                  <a:gdLst>
                    <a:gd name="connsiteX0" fmla="*/ 618420 w 659609"/>
                    <a:gd name="connsiteY0" fmla="*/ 146713 h 759457"/>
                    <a:gd name="connsiteX1" fmla="*/ 380985 w 659609"/>
                    <a:gd name="connsiteY1" fmla="*/ 51697 h 759457"/>
                    <a:gd name="connsiteX2" fmla="*/ 54893 w 659609"/>
                    <a:gd name="connsiteY2" fmla="*/ 381300 h 759457"/>
                    <a:gd name="connsiteX3" fmla="*/ 380985 w 659609"/>
                    <a:gd name="connsiteY3" fmla="*/ 705571 h 759457"/>
                    <a:gd name="connsiteX4" fmla="*/ 605768 w 659609"/>
                    <a:gd name="connsiteY4" fmla="*/ 619980 h 759457"/>
                    <a:gd name="connsiteX5" fmla="*/ 605768 w 659609"/>
                    <a:gd name="connsiteY5" fmla="*/ 412908 h 759457"/>
                    <a:gd name="connsiteX6" fmla="*/ 348262 w 659609"/>
                    <a:gd name="connsiteY6" fmla="*/ 412908 h 759457"/>
                    <a:gd name="connsiteX7" fmla="*/ 348262 w 659609"/>
                    <a:gd name="connsiteY7" fmla="*/ 363306 h 759457"/>
                    <a:gd name="connsiteX8" fmla="*/ 659610 w 659609"/>
                    <a:gd name="connsiteY8" fmla="*/ 363306 h 759457"/>
                    <a:gd name="connsiteX9" fmla="*/ 659610 w 659609"/>
                    <a:gd name="connsiteY9" fmla="*/ 640069 h 759457"/>
                    <a:gd name="connsiteX10" fmla="*/ 380985 w 659609"/>
                    <a:gd name="connsiteY10" fmla="*/ 759457 h 759457"/>
                    <a:gd name="connsiteX11" fmla="*/ 5 w 659609"/>
                    <a:gd name="connsiteY11" fmla="*/ 382347 h 759457"/>
                    <a:gd name="connsiteX12" fmla="*/ 380985 w 659609"/>
                    <a:gd name="connsiteY12" fmla="*/ 0 h 759457"/>
                    <a:gd name="connsiteX13" fmla="*/ 651143 w 659609"/>
                    <a:gd name="connsiteY13" fmla="*/ 110915 h 759457"/>
                    <a:gd name="connsiteX14" fmla="*/ 618420 w 659609"/>
                    <a:gd name="connsiteY14" fmla="*/ 146713 h 759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59609" h="759457">
                      <a:moveTo>
                        <a:pt x="618420" y="146713"/>
                      </a:moveTo>
                      <a:cubicBezTo>
                        <a:pt x="554020" y="83305"/>
                        <a:pt x="464316" y="51697"/>
                        <a:pt x="380985" y="51697"/>
                      </a:cubicBezTo>
                      <a:cubicBezTo>
                        <a:pt x="164669" y="51697"/>
                        <a:pt x="53846" y="210119"/>
                        <a:pt x="54893" y="381300"/>
                      </a:cubicBezTo>
                      <a:cubicBezTo>
                        <a:pt x="54893" y="555622"/>
                        <a:pt x="165715" y="705571"/>
                        <a:pt x="380985" y="705571"/>
                      </a:cubicBezTo>
                      <a:cubicBezTo>
                        <a:pt x="460130" y="705571"/>
                        <a:pt x="542414" y="678152"/>
                        <a:pt x="605768" y="619980"/>
                      </a:cubicBezTo>
                      <a:lnTo>
                        <a:pt x="605768" y="412908"/>
                      </a:lnTo>
                      <a:lnTo>
                        <a:pt x="348262" y="412908"/>
                      </a:lnTo>
                      <a:lnTo>
                        <a:pt x="348262" y="363306"/>
                      </a:lnTo>
                      <a:lnTo>
                        <a:pt x="659610" y="363306"/>
                      </a:lnTo>
                      <a:lnTo>
                        <a:pt x="659610" y="640069"/>
                      </a:lnTo>
                      <a:cubicBezTo>
                        <a:pt x="582558" y="717186"/>
                        <a:pt x="490761" y="759457"/>
                        <a:pt x="380985" y="759457"/>
                      </a:cubicBezTo>
                      <a:cubicBezTo>
                        <a:pt x="129757" y="759457"/>
                        <a:pt x="5" y="584088"/>
                        <a:pt x="5" y="382347"/>
                      </a:cubicBezTo>
                      <a:cubicBezTo>
                        <a:pt x="-1041" y="150997"/>
                        <a:pt x="156202" y="0"/>
                        <a:pt x="380985" y="0"/>
                      </a:cubicBezTo>
                      <a:cubicBezTo>
                        <a:pt x="478109" y="0"/>
                        <a:pt x="576279" y="36940"/>
                        <a:pt x="651143" y="110915"/>
                      </a:cubicBezTo>
                      <a:lnTo>
                        <a:pt x="618420" y="146713"/>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grpSp>
            <p:nvGrpSpPr>
              <p:cNvPr id="58" name="Graphic 2">
                <a:extLst>
                  <a:ext uri="{FF2B5EF4-FFF2-40B4-BE49-F238E27FC236}">
                    <a16:creationId xmlns:a16="http://schemas.microsoft.com/office/drawing/2014/main" id="{2E4296B1-AC57-D498-8F39-EC75483EA371}"/>
                  </a:ext>
                </a:extLst>
              </p:cNvPr>
              <p:cNvGrpSpPr/>
              <p:nvPr/>
            </p:nvGrpSpPr>
            <p:grpSpPr>
              <a:xfrm>
                <a:off x="6870802" y="5410804"/>
                <a:ext cx="2164690" cy="771262"/>
                <a:chOff x="6870802" y="5410804"/>
                <a:chExt cx="2164690" cy="771262"/>
              </a:xfrm>
              <a:solidFill>
                <a:srgbClr val="00A099"/>
              </a:solidFill>
            </p:grpSpPr>
            <p:sp>
              <p:nvSpPr>
                <p:cNvPr id="59" name="Freeform 80">
                  <a:extLst>
                    <a:ext uri="{FF2B5EF4-FFF2-40B4-BE49-F238E27FC236}">
                      <a16:creationId xmlns:a16="http://schemas.microsoft.com/office/drawing/2014/main" id="{A9D03C93-2A1A-B1A3-C4A3-55BAE0558E36}"/>
                    </a:ext>
                  </a:extLst>
                </p:cNvPr>
                <p:cNvSpPr/>
                <p:nvPr/>
              </p:nvSpPr>
              <p:spPr>
                <a:xfrm>
                  <a:off x="6870802" y="5410804"/>
                  <a:ext cx="758943" cy="771262"/>
                </a:xfrm>
                <a:custGeom>
                  <a:avLst/>
                  <a:gdLst>
                    <a:gd name="connsiteX0" fmla="*/ 758916 w 758943"/>
                    <a:gd name="connsiteY0" fmla="*/ 388821 h 771262"/>
                    <a:gd name="connsiteX1" fmla="*/ 379934 w 758943"/>
                    <a:gd name="connsiteY1" fmla="*/ 771263 h 771262"/>
                    <a:gd name="connsiteX2" fmla="*/ 0 w 758943"/>
                    <a:gd name="connsiteY2" fmla="*/ 389868 h 771262"/>
                    <a:gd name="connsiteX3" fmla="*/ 379934 w 758943"/>
                    <a:gd name="connsiteY3" fmla="*/ 0 h 771262"/>
                    <a:gd name="connsiteX4" fmla="*/ 758916 w 758943"/>
                    <a:gd name="connsiteY4" fmla="*/ 388821 h 771262"/>
                    <a:gd name="connsiteX5" fmla="*/ 137267 w 758943"/>
                    <a:gd name="connsiteY5" fmla="*/ 392058 h 771262"/>
                    <a:gd name="connsiteX6" fmla="*/ 380029 w 758943"/>
                    <a:gd name="connsiteY6" fmla="*/ 643497 h 771262"/>
                    <a:gd name="connsiteX7" fmla="*/ 621744 w 758943"/>
                    <a:gd name="connsiteY7" fmla="*/ 391010 h 771262"/>
                    <a:gd name="connsiteX8" fmla="*/ 380029 w 758943"/>
                    <a:gd name="connsiteY8" fmla="*/ 126910 h 771262"/>
                    <a:gd name="connsiteX9" fmla="*/ 137267 w 758943"/>
                    <a:gd name="connsiteY9" fmla="*/ 392058 h 771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58943" h="771262">
                      <a:moveTo>
                        <a:pt x="758916" y="388821"/>
                      </a:moveTo>
                      <a:cubicBezTo>
                        <a:pt x="756824" y="579994"/>
                        <a:pt x="639628" y="771263"/>
                        <a:pt x="379934" y="771263"/>
                      </a:cubicBezTo>
                      <a:cubicBezTo>
                        <a:pt x="120239" y="771263"/>
                        <a:pt x="0" y="584279"/>
                        <a:pt x="0" y="389868"/>
                      </a:cubicBezTo>
                      <a:cubicBezTo>
                        <a:pt x="0" y="195458"/>
                        <a:pt x="124520" y="0"/>
                        <a:pt x="379934" y="0"/>
                      </a:cubicBezTo>
                      <a:cubicBezTo>
                        <a:pt x="634396" y="95"/>
                        <a:pt x="761104" y="195553"/>
                        <a:pt x="758916" y="388821"/>
                      </a:cubicBezTo>
                      <a:close/>
                      <a:moveTo>
                        <a:pt x="137267" y="392058"/>
                      </a:moveTo>
                      <a:cubicBezTo>
                        <a:pt x="140406" y="513540"/>
                        <a:pt x="205853" y="643497"/>
                        <a:pt x="380029" y="643497"/>
                      </a:cubicBezTo>
                      <a:cubicBezTo>
                        <a:pt x="554205" y="643497"/>
                        <a:pt x="619652" y="512493"/>
                        <a:pt x="621744" y="391010"/>
                      </a:cubicBezTo>
                      <a:cubicBezTo>
                        <a:pt x="623837" y="266291"/>
                        <a:pt x="554205" y="126910"/>
                        <a:pt x="380029" y="126910"/>
                      </a:cubicBezTo>
                      <a:cubicBezTo>
                        <a:pt x="205758" y="126910"/>
                        <a:pt x="134033" y="267338"/>
                        <a:pt x="137267" y="392058"/>
                      </a:cubicBezTo>
                      <a:close/>
                    </a:path>
                  </a:pathLst>
                </a:custGeom>
                <a:solidFill>
                  <a:srgbClr val="00A099"/>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60" name="Freeform 81">
                  <a:extLst>
                    <a:ext uri="{FF2B5EF4-FFF2-40B4-BE49-F238E27FC236}">
                      <a16:creationId xmlns:a16="http://schemas.microsoft.com/office/drawing/2014/main" id="{47D82C5E-6BEE-B699-B446-230D29046116}"/>
                    </a:ext>
                  </a:extLst>
                </p:cNvPr>
                <p:cNvSpPr/>
                <p:nvPr/>
              </p:nvSpPr>
              <p:spPr>
                <a:xfrm>
                  <a:off x="7742443" y="5424609"/>
                  <a:ext cx="614419" cy="741653"/>
                </a:xfrm>
                <a:custGeom>
                  <a:avLst/>
                  <a:gdLst>
                    <a:gd name="connsiteX0" fmla="*/ 475060 w 614419"/>
                    <a:gd name="connsiteY0" fmla="*/ 0 h 741653"/>
                    <a:gd name="connsiteX1" fmla="*/ 614419 w 614419"/>
                    <a:gd name="connsiteY1" fmla="*/ 0 h 741653"/>
                    <a:gd name="connsiteX2" fmla="*/ 614419 w 614419"/>
                    <a:gd name="connsiteY2" fmla="*/ 740607 h 741653"/>
                    <a:gd name="connsiteX3" fmla="*/ 527855 w 614419"/>
                    <a:gd name="connsiteY3" fmla="*/ 740607 h 741653"/>
                    <a:gd name="connsiteX4" fmla="*/ 527855 w 614419"/>
                    <a:gd name="connsiteY4" fmla="*/ 741654 h 741653"/>
                    <a:gd name="connsiteX5" fmla="*/ 139359 w 614419"/>
                    <a:gd name="connsiteY5" fmla="*/ 241918 h 741653"/>
                    <a:gd name="connsiteX6" fmla="*/ 139359 w 614419"/>
                    <a:gd name="connsiteY6" fmla="*/ 740607 h 741653"/>
                    <a:gd name="connsiteX7" fmla="*/ 0 w 614419"/>
                    <a:gd name="connsiteY7" fmla="*/ 740607 h 741653"/>
                    <a:gd name="connsiteX8" fmla="*/ 0 w 614419"/>
                    <a:gd name="connsiteY8" fmla="*/ 1047 h 741653"/>
                    <a:gd name="connsiteX9" fmla="*/ 113010 w 614419"/>
                    <a:gd name="connsiteY9" fmla="*/ 1047 h 741653"/>
                    <a:gd name="connsiteX10" fmla="*/ 475060 w 614419"/>
                    <a:gd name="connsiteY10" fmla="*/ 459559 h 741653"/>
                    <a:gd name="connsiteX11" fmla="*/ 475060 w 614419"/>
                    <a:gd name="connsiteY11" fmla="*/ 0 h 741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14419" h="741653">
                      <a:moveTo>
                        <a:pt x="475060" y="0"/>
                      </a:moveTo>
                      <a:lnTo>
                        <a:pt x="614419" y="0"/>
                      </a:lnTo>
                      <a:lnTo>
                        <a:pt x="614419" y="740607"/>
                      </a:lnTo>
                      <a:lnTo>
                        <a:pt x="527855" y="740607"/>
                      </a:lnTo>
                      <a:lnTo>
                        <a:pt x="527855" y="741654"/>
                      </a:lnTo>
                      <a:lnTo>
                        <a:pt x="139359" y="241918"/>
                      </a:lnTo>
                      <a:lnTo>
                        <a:pt x="139359" y="740607"/>
                      </a:lnTo>
                      <a:lnTo>
                        <a:pt x="0" y="740607"/>
                      </a:lnTo>
                      <a:lnTo>
                        <a:pt x="0" y="1047"/>
                      </a:lnTo>
                      <a:lnTo>
                        <a:pt x="113010" y="1047"/>
                      </a:lnTo>
                      <a:lnTo>
                        <a:pt x="475060" y="459559"/>
                      </a:lnTo>
                      <a:lnTo>
                        <a:pt x="475060" y="0"/>
                      </a:lnTo>
                      <a:close/>
                    </a:path>
                  </a:pathLst>
                </a:custGeom>
                <a:solidFill>
                  <a:srgbClr val="00A099"/>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61" name="Freeform 82">
                  <a:extLst>
                    <a:ext uri="{FF2B5EF4-FFF2-40B4-BE49-F238E27FC236}">
                      <a16:creationId xmlns:a16="http://schemas.microsoft.com/office/drawing/2014/main" id="{B8C008A3-5B3B-95D8-17BE-1DE8F9777BBA}"/>
                    </a:ext>
                  </a:extLst>
                </p:cNvPr>
                <p:cNvSpPr/>
                <p:nvPr/>
              </p:nvSpPr>
              <p:spPr>
                <a:xfrm>
                  <a:off x="8482429" y="5425656"/>
                  <a:ext cx="553063" cy="739559"/>
                </a:xfrm>
                <a:custGeom>
                  <a:avLst/>
                  <a:gdLst>
                    <a:gd name="connsiteX0" fmla="*/ 553064 w 553063"/>
                    <a:gd name="connsiteY0" fmla="*/ 739560 h 739559"/>
                    <a:gd name="connsiteX1" fmla="*/ 0 w 553063"/>
                    <a:gd name="connsiteY1" fmla="*/ 739560 h 739559"/>
                    <a:gd name="connsiteX2" fmla="*/ 0 w 553063"/>
                    <a:gd name="connsiteY2" fmla="*/ 0 h 739559"/>
                    <a:gd name="connsiteX3" fmla="*/ 553064 w 553063"/>
                    <a:gd name="connsiteY3" fmla="*/ 0 h 739559"/>
                    <a:gd name="connsiteX4" fmla="*/ 553064 w 553063"/>
                    <a:gd name="connsiteY4" fmla="*/ 135288 h 739559"/>
                    <a:gd name="connsiteX5" fmla="*/ 138219 w 553063"/>
                    <a:gd name="connsiteY5" fmla="*/ 135288 h 739559"/>
                    <a:gd name="connsiteX6" fmla="*/ 138219 w 553063"/>
                    <a:gd name="connsiteY6" fmla="*/ 305325 h 739559"/>
                    <a:gd name="connsiteX7" fmla="*/ 538224 w 553063"/>
                    <a:gd name="connsiteY7" fmla="*/ 305325 h 739559"/>
                    <a:gd name="connsiteX8" fmla="*/ 538224 w 553063"/>
                    <a:gd name="connsiteY8" fmla="*/ 435281 h 739559"/>
                    <a:gd name="connsiteX9" fmla="*/ 138219 w 553063"/>
                    <a:gd name="connsiteY9" fmla="*/ 435281 h 739559"/>
                    <a:gd name="connsiteX10" fmla="*/ 138219 w 553063"/>
                    <a:gd name="connsiteY10" fmla="*/ 602177 h 739559"/>
                    <a:gd name="connsiteX11" fmla="*/ 553064 w 553063"/>
                    <a:gd name="connsiteY11" fmla="*/ 602177 h 739559"/>
                    <a:gd name="connsiteX12" fmla="*/ 553064 w 553063"/>
                    <a:gd name="connsiteY12" fmla="*/ 739560 h 7395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53063" h="739559">
                      <a:moveTo>
                        <a:pt x="553064" y="739560"/>
                      </a:moveTo>
                      <a:lnTo>
                        <a:pt x="0" y="739560"/>
                      </a:lnTo>
                      <a:cubicBezTo>
                        <a:pt x="0" y="493452"/>
                        <a:pt x="0" y="246203"/>
                        <a:pt x="0" y="0"/>
                      </a:cubicBezTo>
                      <a:lnTo>
                        <a:pt x="553064" y="0"/>
                      </a:lnTo>
                      <a:lnTo>
                        <a:pt x="553064" y="135288"/>
                      </a:lnTo>
                      <a:lnTo>
                        <a:pt x="138219" y="135288"/>
                      </a:lnTo>
                      <a:lnTo>
                        <a:pt x="138219" y="305325"/>
                      </a:lnTo>
                      <a:lnTo>
                        <a:pt x="538224" y="305325"/>
                      </a:lnTo>
                      <a:lnTo>
                        <a:pt x="538224" y="435281"/>
                      </a:lnTo>
                      <a:lnTo>
                        <a:pt x="138219" y="435281"/>
                      </a:lnTo>
                      <a:lnTo>
                        <a:pt x="138219" y="602177"/>
                      </a:lnTo>
                      <a:lnTo>
                        <a:pt x="553064" y="602177"/>
                      </a:lnTo>
                      <a:lnTo>
                        <a:pt x="553064" y="739560"/>
                      </a:lnTo>
                      <a:close/>
                    </a:path>
                  </a:pathLst>
                </a:custGeom>
                <a:solidFill>
                  <a:srgbClr val="00A099"/>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grpSp>
        <p:grpSp>
          <p:nvGrpSpPr>
            <p:cNvPr id="9" name="Graphic 2">
              <a:extLst>
                <a:ext uri="{FF2B5EF4-FFF2-40B4-BE49-F238E27FC236}">
                  <a16:creationId xmlns:a16="http://schemas.microsoft.com/office/drawing/2014/main" id="{AC1E6581-9202-548E-3A46-2E00B0E43CE0}"/>
                </a:ext>
              </a:extLst>
            </p:cNvPr>
            <p:cNvGrpSpPr/>
            <p:nvPr/>
          </p:nvGrpSpPr>
          <p:grpSpPr>
            <a:xfrm>
              <a:off x="2716311" y="648027"/>
              <a:ext cx="2950814" cy="4756864"/>
              <a:chOff x="4425584" y="267785"/>
              <a:chExt cx="2950814" cy="4756864"/>
            </a:xfrm>
            <a:solidFill>
              <a:schemeClr val="accent1"/>
            </a:solidFill>
          </p:grpSpPr>
          <p:grpSp>
            <p:nvGrpSpPr>
              <p:cNvPr id="13" name="Graphic 2">
                <a:extLst>
                  <a:ext uri="{FF2B5EF4-FFF2-40B4-BE49-F238E27FC236}">
                    <a16:creationId xmlns:a16="http://schemas.microsoft.com/office/drawing/2014/main" id="{B3C34F64-B814-586E-09E7-735289381ED9}"/>
                  </a:ext>
                </a:extLst>
              </p:cNvPr>
              <p:cNvGrpSpPr/>
              <p:nvPr/>
            </p:nvGrpSpPr>
            <p:grpSpPr>
              <a:xfrm>
                <a:off x="5720269" y="2764575"/>
                <a:ext cx="1656129" cy="1882392"/>
                <a:chOff x="5720269" y="2764575"/>
                <a:chExt cx="1656129" cy="1882392"/>
              </a:xfrm>
              <a:solidFill>
                <a:schemeClr val="accent1"/>
              </a:solidFill>
            </p:grpSpPr>
            <p:grpSp>
              <p:nvGrpSpPr>
                <p:cNvPr id="49" name="Graphic 2">
                  <a:extLst>
                    <a:ext uri="{FF2B5EF4-FFF2-40B4-BE49-F238E27FC236}">
                      <a16:creationId xmlns:a16="http://schemas.microsoft.com/office/drawing/2014/main" id="{FEC1D4B0-8210-A283-56E3-9B98A679E56F}"/>
                    </a:ext>
                  </a:extLst>
                </p:cNvPr>
                <p:cNvGrpSpPr/>
                <p:nvPr/>
              </p:nvGrpSpPr>
              <p:grpSpPr>
                <a:xfrm>
                  <a:off x="5720269" y="2764575"/>
                  <a:ext cx="1656129" cy="1882392"/>
                  <a:chOff x="5720269" y="2764575"/>
                  <a:chExt cx="1656129" cy="1882392"/>
                </a:xfrm>
                <a:solidFill>
                  <a:srgbClr val="00A099"/>
                </a:solidFill>
              </p:grpSpPr>
              <p:sp>
                <p:nvSpPr>
                  <p:cNvPr id="53" name="Freeform 75">
                    <a:extLst>
                      <a:ext uri="{FF2B5EF4-FFF2-40B4-BE49-F238E27FC236}">
                        <a16:creationId xmlns:a16="http://schemas.microsoft.com/office/drawing/2014/main" id="{9E749119-8665-1500-E66B-6B2DDDA1E27A}"/>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54" name="Freeform 76">
                    <a:extLst>
                      <a:ext uri="{FF2B5EF4-FFF2-40B4-BE49-F238E27FC236}">
                        <a16:creationId xmlns:a16="http://schemas.microsoft.com/office/drawing/2014/main" id="{539838BC-5FD5-22C3-7D06-16DA65B26FD0}"/>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55" name="Freeform 77">
                    <a:extLst>
                      <a:ext uri="{FF2B5EF4-FFF2-40B4-BE49-F238E27FC236}">
                        <a16:creationId xmlns:a16="http://schemas.microsoft.com/office/drawing/2014/main" id="{2FB5CBB3-4DDA-3E0D-D21F-CDCA418251A4}"/>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50" name="Freeform 72">
                  <a:extLst>
                    <a:ext uri="{FF2B5EF4-FFF2-40B4-BE49-F238E27FC236}">
                      <a16:creationId xmlns:a16="http://schemas.microsoft.com/office/drawing/2014/main" id="{CA63F685-9852-7E11-D539-3CDE0B67CD9F}"/>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51" name="Freeform 73">
                  <a:extLst>
                    <a:ext uri="{FF2B5EF4-FFF2-40B4-BE49-F238E27FC236}">
                      <a16:creationId xmlns:a16="http://schemas.microsoft.com/office/drawing/2014/main" id="{B14B1232-4700-6BB7-D2F4-2EB5B2B4FF89}"/>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52" name="Freeform 74">
                  <a:extLst>
                    <a:ext uri="{FF2B5EF4-FFF2-40B4-BE49-F238E27FC236}">
                      <a16:creationId xmlns:a16="http://schemas.microsoft.com/office/drawing/2014/main" id="{D0D1CCA1-F291-D360-CBF5-4AA2D2535358}"/>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47" name="Freeform 69">
                <a:extLst>
                  <a:ext uri="{FF2B5EF4-FFF2-40B4-BE49-F238E27FC236}">
                    <a16:creationId xmlns:a16="http://schemas.microsoft.com/office/drawing/2014/main" id="{18DAB975-CEA7-95E3-D5D3-714D97E4AE7B}"/>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48" name="Freeform 70">
                <a:extLst>
                  <a:ext uri="{FF2B5EF4-FFF2-40B4-BE49-F238E27FC236}">
                    <a16:creationId xmlns:a16="http://schemas.microsoft.com/office/drawing/2014/main" id="{7536147C-99EC-769D-3BA6-256E3D395B2C}"/>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grpSp>
          <p:nvGrpSpPr>
            <p:cNvPr id="10" name="Graphic 2">
              <a:extLst>
                <a:ext uri="{FF2B5EF4-FFF2-40B4-BE49-F238E27FC236}">
                  <a16:creationId xmlns:a16="http://schemas.microsoft.com/office/drawing/2014/main" id="{C4983454-3055-6F80-9BE0-0D357D2F69C2}"/>
                </a:ext>
              </a:extLst>
            </p:cNvPr>
            <p:cNvGrpSpPr/>
            <p:nvPr/>
          </p:nvGrpSpPr>
          <p:grpSpPr>
            <a:xfrm>
              <a:off x="9002626" y="5508867"/>
              <a:ext cx="473062" cy="244679"/>
              <a:chOff x="9052805" y="5306649"/>
              <a:chExt cx="473062" cy="244679"/>
            </a:xfrm>
            <a:solidFill>
              <a:schemeClr val="accent4"/>
            </a:solidFill>
          </p:grpSpPr>
          <p:sp>
            <p:nvSpPr>
              <p:cNvPr id="11" name="Freeform 66">
                <a:extLst>
                  <a:ext uri="{FF2B5EF4-FFF2-40B4-BE49-F238E27FC236}">
                    <a16:creationId xmlns:a16="http://schemas.microsoft.com/office/drawing/2014/main" id="{3CCCE990-B202-A185-43DF-2576F0FA4C0A}"/>
                  </a:ext>
                </a:extLst>
              </p:cNvPr>
              <p:cNvSpPr/>
              <p:nvPr/>
            </p:nvSpPr>
            <p:spPr>
              <a:xfrm>
                <a:off x="9052805" y="5306649"/>
                <a:ext cx="183783" cy="244679"/>
              </a:xfrm>
              <a:custGeom>
                <a:avLst/>
                <a:gdLst>
                  <a:gd name="connsiteX0" fmla="*/ 111868 w 183783"/>
                  <a:gd name="connsiteY0" fmla="*/ 244679 h 244679"/>
                  <a:gd name="connsiteX1" fmla="*/ 71915 w 183783"/>
                  <a:gd name="connsiteY1" fmla="*/ 244679 h 244679"/>
                  <a:gd name="connsiteX2" fmla="*/ 71915 w 183783"/>
                  <a:gd name="connsiteY2" fmla="*/ 34274 h 244679"/>
                  <a:gd name="connsiteX3" fmla="*/ 0 w 183783"/>
                  <a:gd name="connsiteY3" fmla="*/ 34274 h 244679"/>
                  <a:gd name="connsiteX4" fmla="*/ 0 w 183783"/>
                  <a:gd name="connsiteY4" fmla="*/ 0 h 244679"/>
                  <a:gd name="connsiteX5" fmla="*/ 183784 w 183783"/>
                  <a:gd name="connsiteY5" fmla="*/ 0 h 244679"/>
                  <a:gd name="connsiteX6" fmla="*/ 183784 w 183783"/>
                  <a:gd name="connsiteY6" fmla="*/ 34274 h 244679"/>
                  <a:gd name="connsiteX7" fmla="*/ 111868 w 183783"/>
                  <a:gd name="connsiteY7" fmla="*/ 34274 h 244679"/>
                  <a:gd name="connsiteX8" fmla="*/ 111868 w 183783"/>
                  <a:gd name="connsiteY8" fmla="*/ 244679 h 2446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3783" h="244679">
                    <a:moveTo>
                      <a:pt x="111868" y="244679"/>
                    </a:moveTo>
                    <a:lnTo>
                      <a:pt x="71915" y="244679"/>
                    </a:lnTo>
                    <a:lnTo>
                      <a:pt x="71915" y="34274"/>
                    </a:lnTo>
                    <a:lnTo>
                      <a:pt x="0" y="34274"/>
                    </a:lnTo>
                    <a:lnTo>
                      <a:pt x="0" y="0"/>
                    </a:lnTo>
                    <a:lnTo>
                      <a:pt x="183784" y="0"/>
                    </a:lnTo>
                    <a:lnTo>
                      <a:pt x="183784" y="34274"/>
                    </a:lnTo>
                    <a:lnTo>
                      <a:pt x="111868" y="34274"/>
                    </a:lnTo>
                    <a:lnTo>
                      <a:pt x="111868" y="244679"/>
                    </a:lnTo>
                    <a:close/>
                  </a:path>
                </a:pathLst>
              </a:custGeom>
              <a:solidFill>
                <a:schemeClr val="bg1"/>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67">
                <a:extLst>
                  <a:ext uri="{FF2B5EF4-FFF2-40B4-BE49-F238E27FC236}">
                    <a16:creationId xmlns:a16="http://schemas.microsoft.com/office/drawing/2014/main" id="{14F4C2B6-DA2F-342D-B104-A98312D394EB}"/>
                  </a:ext>
                </a:extLst>
              </p:cNvPr>
              <p:cNvSpPr/>
              <p:nvPr/>
            </p:nvSpPr>
            <p:spPr>
              <a:xfrm>
                <a:off x="9274164" y="5306649"/>
                <a:ext cx="251703" cy="244679"/>
              </a:xfrm>
              <a:custGeom>
                <a:avLst/>
                <a:gdLst>
                  <a:gd name="connsiteX0" fmla="*/ 105590 w 251703"/>
                  <a:gd name="connsiteY0" fmla="*/ 244679 h 244679"/>
                  <a:gd name="connsiteX1" fmla="*/ 34721 w 251703"/>
                  <a:gd name="connsiteY1" fmla="*/ 40368 h 244679"/>
                  <a:gd name="connsiteX2" fmla="*/ 33389 w 251703"/>
                  <a:gd name="connsiteY2" fmla="*/ 40368 h 244679"/>
                  <a:gd name="connsiteX3" fmla="*/ 36243 w 251703"/>
                  <a:gd name="connsiteY3" fmla="*/ 125672 h 244679"/>
                  <a:gd name="connsiteX4" fmla="*/ 36243 w 251703"/>
                  <a:gd name="connsiteY4" fmla="*/ 244679 h 244679"/>
                  <a:gd name="connsiteX5" fmla="*/ 0 w 251703"/>
                  <a:gd name="connsiteY5" fmla="*/ 244679 h 244679"/>
                  <a:gd name="connsiteX6" fmla="*/ 0 w 251703"/>
                  <a:gd name="connsiteY6" fmla="*/ 0 h 244679"/>
                  <a:gd name="connsiteX7" fmla="*/ 56315 w 251703"/>
                  <a:gd name="connsiteY7" fmla="*/ 0 h 244679"/>
                  <a:gd name="connsiteX8" fmla="*/ 124235 w 251703"/>
                  <a:gd name="connsiteY8" fmla="*/ 194601 h 244679"/>
                  <a:gd name="connsiteX9" fmla="*/ 125282 w 251703"/>
                  <a:gd name="connsiteY9" fmla="*/ 194601 h 244679"/>
                  <a:gd name="connsiteX10" fmla="*/ 195199 w 251703"/>
                  <a:gd name="connsiteY10" fmla="*/ 0 h 244679"/>
                  <a:gd name="connsiteX11" fmla="*/ 251704 w 251703"/>
                  <a:gd name="connsiteY11" fmla="*/ 0 h 244679"/>
                  <a:gd name="connsiteX12" fmla="*/ 251704 w 251703"/>
                  <a:gd name="connsiteY12" fmla="*/ 244679 h 244679"/>
                  <a:gd name="connsiteX13" fmla="*/ 213083 w 251703"/>
                  <a:gd name="connsiteY13" fmla="*/ 244679 h 244679"/>
                  <a:gd name="connsiteX14" fmla="*/ 213083 w 251703"/>
                  <a:gd name="connsiteY14" fmla="*/ 123673 h 244679"/>
                  <a:gd name="connsiteX15" fmla="*/ 214034 w 251703"/>
                  <a:gd name="connsiteY15" fmla="*/ 76165 h 244679"/>
                  <a:gd name="connsiteX16" fmla="*/ 215651 w 251703"/>
                  <a:gd name="connsiteY16" fmla="*/ 40653 h 244679"/>
                  <a:gd name="connsiteX17" fmla="*/ 214319 w 251703"/>
                  <a:gd name="connsiteY17" fmla="*/ 40653 h 244679"/>
                  <a:gd name="connsiteX18" fmla="*/ 140882 w 251703"/>
                  <a:gd name="connsiteY18" fmla="*/ 244679 h 244679"/>
                  <a:gd name="connsiteX19" fmla="*/ 105590 w 251703"/>
                  <a:gd name="connsiteY19" fmla="*/ 244679 h 2446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51703" h="244679">
                    <a:moveTo>
                      <a:pt x="105590" y="244679"/>
                    </a:moveTo>
                    <a:lnTo>
                      <a:pt x="34721" y="40368"/>
                    </a:lnTo>
                    <a:lnTo>
                      <a:pt x="33389" y="40368"/>
                    </a:lnTo>
                    <a:cubicBezTo>
                      <a:pt x="35292" y="70738"/>
                      <a:pt x="36243" y="99205"/>
                      <a:pt x="36243" y="125672"/>
                    </a:cubicBezTo>
                    <a:lnTo>
                      <a:pt x="36243" y="244679"/>
                    </a:lnTo>
                    <a:lnTo>
                      <a:pt x="0" y="244679"/>
                    </a:lnTo>
                    <a:lnTo>
                      <a:pt x="0" y="0"/>
                    </a:lnTo>
                    <a:lnTo>
                      <a:pt x="56315" y="0"/>
                    </a:lnTo>
                    <a:lnTo>
                      <a:pt x="124235" y="194601"/>
                    </a:lnTo>
                    <a:lnTo>
                      <a:pt x="125282" y="194601"/>
                    </a:lnTo>
                    <a:lnTo>
                      <a:pt x="195199" y="0"/>
                    </a:lnTo>
                    <a:lnTo>
                      <a:pt x="251704" y="0"/>
                    </a:lnTo>
                    <a:lnTo>
                      <a:pt x="251704" y="244679"/>
                    </a:lnTo>
                    <a:lnTo>
                      <a:pt x="213083" y="244679"/>
                    </a:lnTo>
                    <a:lnTo>
                      <a:pt x="213083" y="123673"/>
                    </a:lnTo>
                    <a:cubicBezTo>
                      <a:pt x="213083" y="111486"/>
                      <a:pt x="213368" y="95682"/>
                      <a:pt x="214034" y="76165"/>
                    </a:cubicBezTo>
                    <a:cubicBezTo>
                      <a:pt x="214605" y="56648"/>
                      <a:pt x="215175" y="44842"/>
                      <a:pt x="215651" y="40653"/>
                    </a:cubicBezTo>
                    <a:lnTo>
                      <a:pt x="214319" y="40653"/>
                    </a:lnTo>
                    <a:lnTo>
                      <a:pt x="140882" y="244679"/>
                    </a:lnTo>
                    <a:lnTo>
                      <a:pt x="105590" y="244679"/>
                    </a:lnTo>
                    <a:close/>
                  </a:path>
                </a:pathLst>
              </a:custGeom>
              <a:solidFill>
                <a:schemeClr val="bg1"/>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FFFFFF"/>
                  </a:solidFill>
                  <a:effectLst/>
                  <a:uLnTx/>
                  <a:uFillTx/>
                  <a:latin typeface="Nexa Book" panose="00000400000000000000" pitchFamily="50" charset="0"/>
                  <a:ea typeface="+mn-ea"/>
                  <a:cs typeface="+mn-cs"/>
                </a:endParaRPr>
              </a:p>
            </p:txBody>
          </p:sp>
        </p:grpSp>
      </p:grpSp>
      <p:sp>
        <p:nvSpPr>
          <p:cNvPr id="15" name="TextBox 14">
            <a:extLst>
              <a:ext uri="{FF2B5EF4-FFF2-40B4-BE49-F238E27FC236}">
                <a16:creationId xmlns:a16="http://schemas.microsoft.com/office/drawing/2014/main" id="{F271CF6B-1425-57AD-B28D-FB20D16CD64C}"/>
              </a:ext>
            </a:extLst>
          </p:cNvPr>
          <p:cNvSpPr txBox="1"/>
          <p:nvPr/>
        </p:nvSpPr>
        <p:spPr>
          <a:xfrm>
            <a:off x="148009" y="123171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7ECAC4">
                    <a:lumMod val="60000"/>
                    <a:lumOff val="40000"/>
                  </a:srgbClr>
                </a:solidFill>
                <a:effectLst/>
                <a:uLnTx/>
                <a:uFillTx/>
                <a:latin typeface="+mn-lt"/>
                <a:ea typeface="+mn-ea"/>
                <a:cs typeface="+mn-cs"/>
              </a:rPr>
              <a:t>GENEVA | DUBAI | CINCINNATI</a:t>
            </a:r>
          </a:p>
        </p:txBody>
      </p:sp>
      <p:sp>
        <p:nvSpPr>
          <p:cNvPr id="46" name="Text Placeholder 44">
            <a:extLst>
              <a:ext uri="{FF2B5EF4-FFF2-40B4-BE49-F238E27FC236}">
                <a16:creationId xmlns:a16="http://schemas.microsoft.com/office/drawing/2014/main" id="{F5A63814-E592-0442-BECD-60BEA74EA64D}"/>
              </a:ext>
            </a:extLst>
          </p:cNvPr>
          <p:cNvSpPr>
            <a:spLocks noGrp="1"/>
          </p:cNvSpPr>
          <p:nvPr>
            <p:ph type="body" sz="quarter" idx="11"/>
          </p:nvPr>
        </p:nvSpPr>
        <p:spPr>
          <a:xfrm>
            <a:off x="1311461" y="4224132"/>
            <a:ext cx="3257550" cy="507413"/>
          </a:xfrm>
          <a:prstGeom prst="rect">
            <a:avLst/>
          </a:prstGeom>
        </p:spPr>
        <p:txBody>
          <a:bodyPr anchor="b"/>
          <a:lstStyle>
            <a:lvl1pPr marL="0" indent="0" algn="r">
              <a:buNone/>
              <a:defRPr sz="1200">
                <a:solidFill>
                  <a:schemeClr val="tx1"/>
                </a:solidFill>
              </a:defRPr>
            </a:lvl1pPr>
            <a:lvl2pPr algn="r">
              <a:defRPr sz="1050">
                <a:solidFill>
                  <a:schemeClr val="bg1"/>
                </a:solidFill>
              </a:defRPr>
            </a:lvl2pPr>
            <a:lvl3pPr algn="r">
              <a:defRPr sz="900">
                <a:solidFill>
                  <a:schemeClr val="bg1"/>
                </a:solidFill>
              </a:defRPr>
            </a:lvl3pPr>
            <a:lvl4pPr algn="r">
              <a:defRPr sz="825">
                <a:solidFill>
                  <a:schemeClr val="bg1"/>
                </a:solidFill>
              </a:defRPr>
            </a:lvl4pPr>
            <a:lvl5pPr algn="r">
              <a:defRPr sz="825">
                <a:solidFill>
                  <a:schemeClr val="bg1"/>
                </a:solidFill>
              </a:defRPr>
            </a:lvl5pPr>
          </a:lstStyle>
          <a:p>
            <a:pPr lvl="0"/>
            <a:r>
              <a:rPr lang="en-US"/>
              <a:t>Click to edit Master text styles</a:t>
            </a:r>
          </a:p>
        </p:txBody>
      </p:sp>
      <p:sp>
        <p:nvSpPr>
          <p:cNvPr id="45" name="Text Placeholder 44">
            <a:extLst>
              <a:ext uri="{FF2B5EF4-FFF2-40B4-BE49-F238E27FC236}">
                <a16:creationId xmlns:a16="http://schemas.microsoft.com/office/drawing/2014/main" id="{8D0392F9-FB9B-2459-6D5C-3381EF959846}"/>
              </a:ext>
            </a:extLst>
          </p:cNvPr>
          <p:cNvSpPr>
            <a:spLocks noGrp="1"/>
          </p:cNvSpPr>
          <p:nvPr>
            <p:ph type="body" sz="quarter" idx="10"/>
          </p:nvPr>
        </p:nvSpPr>
        <p:spPr>
          <a:xfrm>
            <a:off x="1314450" y="3098008"/>
            <a:ext cx="3257550" cy="777479"/>
          </a:xfrm>
          <a:prstGeom prst="rect">
            <a:avLst/>
          </a:prstGeom>
        </p:spPr>
        <p:txBody>
          <a:bodyPr/>
          <a:lstStyle>
            <a:lvl1pPr marL="0" indent="0" algn="r">
              <a:buNone/>
              <a:defRPr>
                <a:solidFill>
                  <a:schemeClr val="accent3"/>
                </a:solidFill>
              </a:defRPr>
            </a:lvl1pPr>
            <a:lvl2pPr marL="342892" indent="0" algn="r">
              <a:buNone/>
              <a:defRPr>
                <a:solidFill>
                  <a:schemeClr val="bg1"/>
                </a:solidFill>
              </a:defRPr>
            </a:lvl2pPr>
            <a:lvl3pPr algn="r">
              <a:defRPr>
                <a:solidFill>
                  <a:schemeClr val="bg1"/>
                </a:solidFill>
              </a:defRPr>
            </a:lvl3pPr>
            <a:lvl4pPr algn="r">
              <a:defRPr>
                <a:solidFill>
                  <a:schemeClr val="bg1"/>
                </a:solidFill>
              </a:defRPr>
            </a:lvl4pPr>
            <a:lvl5pPr algn="r">
              <a:defRPr>
                <a:solidFill>
                  <a:schemeClr val="bg1"/>
                </a:solidFill>
              </a:defRPr>
            </a:lvl5pPr>
          </a:lstStyle>
          <a:p>
            <a:pPr lvl="0"/>
            <a:r>
              <a:rPr lang="en-US"/>
              <a:t>Click to edit Master text styles</a:t>
            </a:r>
          </a:p>
        </p:txBody>
      </p:sp>
      <p:sp>
        <p:nvSpPr>
          <p:cNvPr id="2" name="Title 1">
            <a:extLst>
              <a:ext uri="{FF2B5EF4-FFF2-40B4-BE49-F238E27FC236}">
                <a16:creationId xmlns:a16="http://schemas.microsoft.com/office/drawing/2014/main" id="{5184292B-F56D-B8BD-D4C7-AA10DE993E8F}"/>
              </a:ext>
            </a:extLst>
          </p:cNvPr>
          <p:cNvSpPr>
            <a:spLocks noGrp="1"/>
          </p:cNvSpPr>
          <p:nvPr>
            <p:ph type="title"/>
          </p:nvPr>
        </p:nvSpPr>
        <p:spPr>
          <a:xfrm>
            <a:off x="1922014" y="1588336"/>
            <a:ext cx="2646997" cy="1287066"/>
          </a:xfrm>
          <a:prstGeom prst="rect">
            <a:avLst/>
          </a:prstGeom>
        </p:spPr>
        <p:txBody>
          <a:bodyPr vert="horz" anchor="b"/>
          <a:lstStyle>
            <a:lvl1pPr algn="r">
              <a:defRPr>
                <a:solidFill>
                  <a:schemeClr val="accent1"/>
                </a:solidFill>
              </a:defRPr>
            </a:lvl1pPr>
          </a:lstStyle>
          <a:p>
            <a:r>
              <a:rPr lang="en-US"/>
              <a:t>Click to edit Master title style</a:t>
            </a:r>
          </a:p>
        </p:txBody>
      </p:sp>
    </p:spTree>
    <p:extLst>
      <p:ext uri="{BB962C8B-B14F-4D97-AF65-F5344CB8AC3E}">
        <p14:creationId xmlns:p14="http://schemas.microsoft.com/office/powerpoint/2010/main" val="336166094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Seperator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5B0A7C1D-2DA4-4797-ABE4-CFE498A90DFE}"/>
              </a:ext>
            </a:extLst>
          </p:cNvPr>
          <p:cNvGraphicFramePr>
            <a:graphicFrameLocks noChangeAspect="1"/>
          </p:cNvGraphicFramePr>
          <p:nvPr>
            <p:custDataLst>
              <p:tags r:id="rId1"/>
            </p:custDataLst>
            <p:extLst>
              <p:ext uri="{D42A27DB-BD31-4B8C-83A1-F6EECF244321}">
                <p14:modId xmlns:p14="http://schemas.microsoft.com/office/powerpoint/2010/main" val="2893122697"/>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5B0A7C1D-2DA4-4797-ABE4-CFE498A90DFE}"/>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18" name="Rectangle 17">
            <a:extLst>
              <a:ext uri="{FF2B5EF4-FFF2-40B4-BE49-F238E27FC236}">
                <a16:creationId xmlns:a16="http://schemas.microsoft.com/office/drawing/2014/main" id="{492BFA05-2342-B8F2-47B2-4B05F5E36194}"/>
              </a:ext>
            </a:extLst>
          </p:cNvPr>
          <p:cNvSpPr/>
          <p:nvPr/>
        </p:nvSpPr>
        <p:spPr>
          <a:xfrm flipV="1">
            <a:off x="298174" y="753949"/>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5" name="Picture 4">
            <a:extLst>
              <a:ext uri="{FF2B5EF4-FFF2-40B4-BE49-F238E27FC236}">
                <a16:creationId xmlns:a16="http://schemas.microsoft.com/office/drawing/2014/main" id="{F14168CB-5AC7-29DA-0147-7803D6F82ECF}"/>
              </a:ext>
            </a:extLst>
          </p:cNvPr>
          <p:cNvPicPr>
            <a:picLocks noChangeAspect="1"/>
          </p:cNvPicPr>
          <p:nvPr/>
        </p:nvPicPr>
        <p:blipFill rotWithShape="1">
          <a:blip r:embed="rId5" cstate="print">
            <a:alphaModFix/>
            <a:extLst>
              <a:ext uri="{BEBA8EAE-BF5A-486C-A8C5-ECC9F3942E4B}">
                <a14:imgProps xmlns:a14="http://schemas.microsoft.com/office/drawing/2010/main">
                  <a14:imgLayer r:embed="rId6">
                    <a14:imgEffect>
                      <a14:artisticBlur radius="20"/>
                    </a14:imgEffect>
                  </a14:imgLayer>
                </a14:imgProps>
              </a:ext>
              <a:ext uri="{28A0092B-C50C-407E-A947-70E740481C1C}">
                <a14:useLocalDpi xmlns:a14="http://schemas.microsoft.com/office/drawing/2010/main"/>
              </a:ext>
            </a:extLst>
          </a:blip>
          <a:srcRect/>
          <a:stretch/>
        </p:blipFill>
        <p:spPr>
          <a:xfrm>
            <a:off x="1" y="2"/>
            <a:ext cx="2001645" cy="5138927"/>
          </a:xfrm>
          <a:custGeom>
            <a:avLst/>
            <a:gdLst>
              <a:gd name="connsiteX0" fmla="*/ 0 w 2668860"/>
              <a:gd name="connsiteY0" fmla="*/ 0 h 6851903"/>
              <a:gd name="connsiteX1" fmla="*/ 2668860 w 2668860"/>
              <a:gd name="connsiteY1" fmla="*/ 0 h 6851903"/>
              <a:gd name="connsiteX2" fmla="*/ 2427625 w 2668860"/>
              <a:gd name="connsiteY2" fmla="*/ 1012659 h 6851903"/>
              <a:gd name="connsiteX3" fmla="*/ 2427624 w 2668860"/>
              <a:gd name="connsiteY3" fmla="*/ 1012658 h 6851903"/>
              <a:gd name="connsiteX4" fmla="*/ 1036595 w 2668860"/>
              <a:gd name="connsiteY4" fmla="*/ 6851903 h 6851903"/>
              <a:gd name="connsiteX5" fmla="*/ 0 w 2668860"/>
              <a:gd name="connsiteY5" fmla="*/ 6851903 h 68519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68860" h="6851903">
                <a:moveTo>
                  <a:pt x="0" y="0"/>
                </a:moveTo>
                <a:lnTo>
                  <a:pt x="2668860" y="0"/>
                </a:lnTo>
                <a:lnTo>
                  <a:pt x="2427625" y="1012659"/>
                </a:lnTo>
                <a:lnTo>
                  <a:pt x="2427624" y="1012658"/>
                </a:lnTo>
                <a:lnTo>
                  <a:pt x="1036595" y="6851903"/>
                </a:lnTo>
                <a:lnTo>
                  <a:pt x="0" y="6851903"/>
                </a:lnTo>
                <a:close/>
              </a:path>
            </a:pathLst>
          </a:custGeom>
          <a:effectLst>
            <a:outerShdw blurRad="190500" dist="63500" algn="l" rotWithShape="0">
              <a:prstClr val="black">
                <a:alpha val="40000"/>
              </a:prstClr>
            </a:outerShdw>
          </a:effectLst>
        </p:spPr>
      </p:pic>
      <p:sp>
        <p:nvSpPr>
          <p:cNvPr id="6" name="Freeform 5">
            <a:extLst>
              <a:ext uri="{FF2B5EF4-FFF2-40B4-BE49-F238E27FC236}">
                <a16:creationId xmlns:a16="http://schemas.microsoft.com/office/drawing/2014/main" id="{19BE8E17-09BA-D515-CD46-7946938584FF}"/>
              </a:ext>
            </a:extLst>
          </p:cNvPr>
          <p:cNvSpPr/>
          <p:nvPr/>
        </p:nvSpPr>
        <p:spPr>
          <a:xfrm>
            <a:off x="1" y="1"/>
            <a:ext cx="2003631" cy="5147264"/>
          </a:xfrm>
          <a:custGeom>
            <a:avLst/>
            <a:gdLst>
              <a:gd name="connsiteX0" fmla="*/ 2671508 w 2671508"/>
              <a:gd name="connsiteY0" fmla="*/ 0 h 6863018"/>
              <a:gd name="connsiteX1" fmla="*/ 2427625 w 2671508"/>
              <a:gd name="connsiteY1" fmla="*/ 1023774 h 6863018"/>
              <a:gd name="connsiteX2" fmla="*/ 2427624 w 2671508"/>
              <a:gd name="connsiteY2" fmla="*/ 1023773 h 6863018"/>
              <a:gd name="connsiteX3" fmla="*/ 1036595 w 2671508"/>
              <a:gd name="connsiteY3" fmla="*/ 6863018 h 6863018"/>
              <a:gd name="connsiteX4" fmla="*/ 0 w 2671508"/>
              <a:gd name="connsiteY4" fmla="*/ 6863018 h 6863018"/>
              <a:gd name="connsiteX5" fmla="*/ 0 w 2671508"/>
              <a:gd name="connsiteY5" fmla="*/ 1 h 6863018"/>
              <a:gd name="connsiteX6" fmla="*/ 2668167 w 2671508"/>
              <a:gd name="connsiteY6" fmla="*/ 1 h 6863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71508" h="6863018">
                <a:moveTo>
                  <a:pt x="2671508" y="0"/>
                </a:moveTo>
                <a:lnTo>
                  <a:pt x="2427625" y="1023774"/>
                </a:lnTo>
                <a:lnTo>
                  <a:pt x="2427624" y="1023773"/>
                </a:lnTo>
                <a:lnTo>
                  <a:pt x="1036595" y="6863018"/>
                </a:lnTo>
                <a:lnTo>
                  <a:pt x="0" y="6863018"/>
                </a:lnTo>
                <a:lnTo>
                  <a:pt x="0" y="1"/>
                </a:lnTo>
                <a:lnTo>
                  <a:pt x="2668167" y="1"/>
                </a:lnTo>
                <a:close/>
              </a:path>
            </a:pathLst>
          </a:custGeom>
          <a:solidFill>
            <a:schemeClr val="accent1">
              <a:alpha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AE"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7" name="Graphic 2">
            <a:extLst>
              <a:ext uri="{FF2B5EF4-FFF2-40B4-BE49-F238E27FC236}">
                <a16:creationId xmlns:a16="http://schemas.microsoft.com/office/drawing/2014/main" id="{784BE723-070E-A274-AA6F-B440F5580766}"/>
              </a:ext>
            </a:extLst>
          </p:cNvPr>
          <p:cNvGrpSpPr>
            <a:grpSpLocks noChangeAspect="1"/>
          </p:cNvGrpSpPr>
          <p:nvPr/>
        </p:nvGrpSpPr>
        <p:grpSpPr>
          <a:xfrm>
            <a:off x="4804" y="2"/>
            <a:ext cx="468178" cy="756000"/>
            <a:chOff x="4425584" y="267785"/>
            <a:chExt cx="2950814" cy="4756864"/>
          </a:xfrm>
          <a:solidFill>
            <a:schemeClr val="accent1"/>
          </a:solidFill>
        </p:grpSpPr>
        <p:grpSp>
          <p:nvGrpSpPr>
            <p:cNvPr id="8" name="Graphic 2">
              <a:extLst>
                <a:ext uri="{FF2B5EF4-FFF2-40B4-BE49-F238E27FC236}">
                  <a16:creationId xmlns:a16="http://schemas.microsoft.com/office/drawing/2014/main" id="{C43329F1-6902-CECE-46BF-B0CB0D4264FB}"/>
                </a:ext>
              </a:extLst>
            </p:cNvPr>
            <p:cNvGrpSpPr/>
            <p:nvPr/>
          </p:nvGrpSpPr>
          <p:grpSpPr>
            <a:xfrm>
              <a:off x="5720269" y="2764575"/>
              <a:ext cx="1656129" cy="1882392"/>
              <a:chOff x="5720269" y="2764575"/>
              <a:chExt cx="1656129" cy="1882392"/>
            </a:xfrm>
            <a:solidFill>
              <a:schemeClr val="accent1"/>
            </a:solidFill>
          </p:grpSpPr>
          <p:grpSp>
            <p:nvGrpSpPr>
              <p:cNvPr id="11" name="Graphic 2">
                <a:extLst>
                  <a:ext uri="{FF2B5EF4-FFF2-40B4-BE49-F238E27FC236}">
                    <a16:creationId xmlns:a16="http://schemas.microsoft.com/office/drawing/2014/main" id="{8D6240C3-7E1B-2DD6-99C6-6ABF81667E09}"/>
                  </a:ext>
                </a:extLst>
              </p:cNvPr>
              <p:cNvGrpSpPr/>
              <p:nvPr/>
            </p:nvGrpSpPr>
            <p:grpSpPr>
              <a:xfrm>
                <a:off x="5720269" y="2764575"/>
                <a:ext cx="1656129" cy="1882392"/>
                <a:chOff x="5720269" y="2764575"/>
                <a:chExt cx="1656129" cy="1882392"/>
              </a:xfrm>
              <a:solidFill>
                <a:srgbClr val="00A099"/>
              </a:solidFill>
            </p:grpSpPr>
            <p:sp>
              <p:nvSpPr>
                <p:cNvPr id="15" name="Freeform 75">
                  <a:extLst>
                    <a:ext uri="{FF2B5EF4-FFF2-40B4-BE49-F238E27FC236}">
                      <a16:creationId xmlns:a16="http://schemas.microsoft.com/office/drawing/2014/main" id="{3944EB51-0C93-C620-8063-E61F0F300F53}"/>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Freeform 76">
                  <a:extLst>
                    <a:ext uri="{FF2B5EF4-FFF2-40B4-BE49-F238E27FC236}">
                      <a16:creationId xmlns:a16="http://schemas.microsoft.com/office/drawing/2014/main" id="{5697203F-AD89-6D4B-6AFE-ADB78D739072}"/>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7">
                  <a:extLst>
                    <a:ext uri="{FF2B5EF4-FFF2-40B4-BE49-F238E27FC236}">
                      <a16:creationId xmlns:a16="http://schemas.microsoft.com/office/drawing/2014/main" id="{C781CD1B-FC1C-7ED5-0A4D-7348694FF3E9}"/>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2" name="Freeform 72">
                <a:extLst>
                  <a:ext uri="{FF2B5EF4-FFF2-40B4-BE49-F238E27FC236}">
                    <a16:creationId xmlns:a16="http://schemas.microsoft.com/office/drawing/2014/main" id="{6E12481A-73D6-AAB3-5728-AA939977EAE9}"/>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3" name="Freeform 73">
                <a:extLst>
                  <a:ext uri="{FF2B5EF4-FFF2-40B4-BE49-F238E27FC236}">
                    <a16:creationId xmlns:a16="http://schemas.microsoft.com/office/drawing/2014/main" id="{E9823D54-2EAB-880A-0B17-97B466DC2401}"/>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4" name="Freeform 74">
                <a:extLst>
                  <a:ext uri="{FF2B5EF4-FFF2-40B4-BE49-F238E27FC236}">
                    <a16:creationId xmlns:a16="http://schemas.microsoft.com/office/drawing/2014/main" id="{471B8E08-25FE-D4D0-1084-9DAED7CBBAD6}"/>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9" name="Freeform 69">
              <a:extLst>
                <a:ext uri="{FF2B5EF4-FFF2-40B4-BE49-F238E27FC236}">
                  <a16:creationId xmlns:a16="http://schemas.microsoft.com/office/drawing/2014/main" id="{BF92EB4E-F633-02E7-FD6D-7F5E2AC849D3}"/>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0" name="Freeform 70">
              <a:extLst>
                <a:ext uri="{FF2B5EF4-FFF2-40B4-BE49-F238E27FC236}">
                  <a16:creationId xmlns:a16="http://schemas.microsoft.com/office/drawing/2014/main" id="{9113308F-C702-C2B6-2EAE-B39DC3CD1274}"/>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2" name="Title 1">
            <a:extLst>
              <a:ext uri="{FF2B5EF4-FFF2-40B4-BE49-F238E27FC236}">
                <a16:creationId xmlns:a16="http://schemas.microsoft.com/office/drawing/2014/main" id="{965C2C78-3441-50E1-9A6D-A6F258B1F3E6}"/>
              </a:ext>
            </a:extLst>
          </p:cNvPr>
          <p:cNvSpPr>
            <a:spLocks noGrp="1"/>
          </p:cNvSpPr>
          <p:nvPr>
            <p:ph type="title"/>
          </p:nvPr>
        </p:nvSpPr>
        <p:spPr>
          <a:xfrm>
            <a:off x="1878839" y="1982392"/>
            <a:ext cx="5411371" cy="994172"/>
          </a:xfrm>
          <a:prstGeom prst="rect">
            <a:avLst/>
          </a:prstGeom>
        </p:spPr>
        <p:txBody>
          <a:bodyPr vert="horz" anchor="ctr">
            <a:normAutofit/>
          </a:bodyPr>
          <a:lstStyle>
            <a:lvl1pPr algn="ctr">
              <a:defRPr sz="1800"/>
            </a:lvl1pPr>
          </a:lstStyle>
          <a:p>
            <a:r>
              <a:rPr lang="en-US"/>
              <a:t>Click to edit Master title style</a:t>
            </a:r>
          </a:p>
        </p:txBody>
      </p:sp>
    </p:spTree>
    <p:extLst>
      <p:ext uri="{BB962C8B-B14F-4D97-AF65-F5344CB8AC3E}">
        <p14:creationId xmlns:p14="http://schemas.microsoft.com/office/powerpoint/2010/main" val="337353664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Lunch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C81CAE90-6B78-674F-0597-50DF0BF795F2}"/>
              </a:ext>
            </a:extLst>
          </p:cNvPr>
          <p:cNvGraphicFramePr>
            <a:graphicFrameLocks noChangeAspect="1"/>
          </p:cNvGraphicFramePr>
          <p:nvPr>
            <p:custDataLst>
              <p:tags r:id="rId1"/>
            </p:custDataLst>
            <p:extLst>
              <p:ext uri="{D42A27DB-BD31-4B8C-83A1-F6EECF244321}">
                <p14:modId xmlns:p14="http://schemas.microsoft.com/office/powerpoint/2010/main" val="2914838017"/>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C81CAE90-6B78-674F-0597-50DF0BF795F2}"/>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3" name="Picture 2" descr="People eating salads at bountiful table">
            <a:extLst>
              <a:ext uri="{FF2B5EF4-FFF2-40B4-BE49-F238E27FC236}">
                <a16:creationId xmlns:a16="http://schemas.microsoft.com/office/drawing/2014/main" id="{96F4ED9F-A6CD-2075-E5C6-BD9EEA8E34EC}"/>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1" y="-1"/>
            <a:ext cx="9144001" cy="5143501"/>
          </a:xfrm>
          <a:prstGeom prst="rect">
            <a:avLst/>
          </a:prstGeom>
        </p:spPr>
      </p:pic>
      <p:pic>
        <p:nvPicPr>
          <p:cNvPr id="8" name="Picture 7" descr="People eating salads at bountiful table">
            <a:extLst>
              <a:ext uri="{FF2B5EF4-FFF2-40B4-BE49-F238E27FC236}">
                <a16:creationId xmlns:a16="http://schemas.microsoft.com/office/drawing/2014/main" id="{124C0130-C8AD-159E-0AF8-FFA52C869E55}"/>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30"/>
                    </a14:imgEffect>
                  </a14:imgLayer>
                </a14:imgProps>
              </a:ext>
              <a:ext uri="{28A0092B-C50C-407E-A947-70E740481C1C}">
                <a14:useLocalDpi xmlns:a14="http://schemas.microsoft.com/office/drawing/2010/main"/>
              </a:ext>
            </a:extLst>
          </a:blip>
          <a:srcRect/>
          <a:stretch/>
        </p:blipFill>
        <p:spPr>
          <a:xfrm>
            <a:off x="1" y="-3764"/>
            <a:ext cx="2003631" cy="5143500"/>
          </a:xfrm>
          <a:custGeom>
            <a:avLst/>
            <a:gdLst>
              <a:gd name="connsiteX0" fmla="*/ 2671508 w 2671508"/>
              <a:gd name="connsiteY0" fmla="*/ 0 h 6858000"/>
              <a:gd name="connsiteX1" fmla="*/ 2427625 w 2671508"/>
              <a:gd name="connsiteY1" fmla="*/ 1023774 h 6858000"/>
              <a:gd name="connsiteX2" fmla="*/ 2427624 w 2671508"/>
              <a:gd name="connsiteY2" fmla="*/ 1023773 h 6858000"/>
              <a:gd name="connsiteX3" fmla="*/ 1037791 w 2671508"/>
              <a:gd name="connsiteY3" fmla="*/ 6858000 h 6858000"/>
              <a:gd name="connsiteX4" fmla="*/ 0 w 2671508"/>
              <a:gd name="connsiteY4" fmla="*/ 6858000 h 6858000"/>
              <a:gd name="connsiteX5" fmla="*/ 0 w 2671508"/>
              <a:gd name="connsiteY5" fmla="*/ 1 h 6858000"/>
              <a:gd name="connsiteX6" fmla="*/ 2668167 w 2671508"/>
              <a:gd name="connsiteY6" fmla="*/ 1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71508" h="6858000">
                <a:moveTo>
                  <a:pt x="2671508" y="0"/>
                </a:moveTo>
                <a:lnTo>
                  <a:pt x="2427625" y="1023774"/>
                </a:lnTo>
                <a:lnTo>
                  <a:pt x="2427624" y="1023773"/>
                </a:lnTo>
                <a:lnTo>
                  <a:pt x="1037791" y="6858000"/>
                </a:lnTo>
                <a:lnTo>
                  <a:pt x="0" y="6858000"/>
                </a:lnTo>
                <a:lnTo>
                  <a:pt x="0" y="1"/>
                </a:lnTo>
                <a:lnTo>
                  <a:pt x="2668167" y="1"/>
                </a:lnTo>
                <a:close/>
              </a:path>
            </a:pathLst>
          </a:custGeom>
          <a:effectLst>
            <a:outerShdw blurRad="190500" dist="63500" algn="l" rotWithShape="0">
              <a:prstClr val="black">
                <a:alpha val="40000"/>
              </a:prstClr>
            </a:outerShdw>
          </a:effectLst>
        </p:spPr>
      </p:pic>
      <p:sp>
        <p:nvSpPr>
          <p:cNvPr id="2" name="Freeform 1">
            <a:extLst>
              <a:ext uri="{FF2B5EF4-FFF2-40B4-BE49-F238E27FC236}">
                <a16:creationId xmlns:a16="http://schemas.microsoft.com/office/drawing/2014/main" id="{2E34AD8A-8364-82BD-1D0A-BDB1AFE5B0BB}"/>
              </a:ext>
            </a:extLst>
          </p:cNvPr>
          <p:cNvSpPr/>
          <p:nvPr/>
        </p:nvSpPr>
        <p:spPr>
          <a:xfrm>
            <a:off x="1" y="1"/>
            <a:ext cx="2003631" cy="5147264"/>
          </a:xfrm>
          <a:custGeom>
            <a:avLst/>
            <a:gdLst>
              <a:gd name="connsiteX0" fmla="*/ 2671508 w 2671508"/>
              <a:gd name="connsiteY0" fmla="*/ 0 h 6863018"/>
              <a:gd name="connsiteX1" fmla="*/ 2427625 w 2671508"/>
              <a:gd name="connsiteY1" fmla="*/ 1023774 h 6863018"/>
              <a:gd name="connsiteX2" fmla="*/ 2427624 w 2671508"/>
              <a:gd name="connsiteY2" fmla="*/ 1023773 h 6863018"/>
              <a:gd name="connsiteX3" fmla="*/ 1036595 w 2671508"/>
              <a:gd name="connsiteY3" fmla="*/ 6863018 h 6863018"/>
              <a:gd name="connsiteX4" fmla="*/ 0 w 2671508"/>
              <a:gd name="connsiteY4" fmla="*/ 6863018 h 6863018"/>
              <a:gd name="connsiteX5" fmla="*/ 0 w 2671508"/>
              <a:gd name="connsiteY5" fmla="*/ 1 h 6863018"/>
              <a:gd name="connsiteX6" fmla="*/ 2668167 w 2671508"/>
              <a:gd name="connsiteY6" fmla="*/ 1 h 6863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71508" h="6863018">
                <a:moveTo>
                  <a:pt x="2671508" y="0"/>
                </a:moveTo>
                <a:lnTo>
                  <a:pt x="2427625" y="1023774"/>
                </a:lnTo>
                <a:lnTo>
                  <a:pt x="2427624" y="1023773"/>
                </a:lnTo>
                <a:lnTo>
                  <a:pt x="1036595" y="6863018"/>
                </a:lnTo>
                <a:lnTo>
                  <a:pt x="0" y="6863018"/>
                </a:lnTo>
                <a:lnTo>
                  <a:pt x="0" y="1"/>
                </a:lnTo>
                <a:lnTo>
                  <a:pt x="2668167" y="1"/>
                </a:lnTo>
                <a:close/>
              </a:path>
            </a:pathLst>
          </a:custGeom>
          <a:solidFill>
            <a:schemeClr val="accent1">
              <a:alpha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AE"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5" name="Graphic 2">
            <a:extLst>
              <a:ext uri="{FF2B5EF4-FFF2-40B4-BE49-F238E27FC236}">
                <a16:creationId xmlns:a16="http://schemas.microsoft.com/office/drawing/2014/main" id="{0AD7B962-0C7E-42E2-BBA3-EAE42ADC7810}"/>
              </a:ext>
            </a:extLst>
          </p:cNvPr>
          <p:cNvGrpSpPr>
            <a:grpSpLocks noChangeAspect="1"/>
          </p:cNvGrpSpPr>
          <p:nvPr/>
        </p:nvGrpSpPr>
        <p:grpSpPr>
          <a:xfrm>
            <a:off x="4804" y="2"/>
            <a:ext cx="468178" cy="756000"/>
            <a:chOff x="4425584" y="267785"/>
            <a:chExt cx="2950814" cy="4756864"/>
          </a:xfrm>
          <a:solidFill>
            <a:schemeClr val="accent1"/>
          </a:solidFill>
        </p:grpSpPr>
        <p:grpSp>
          <p:nvGrpSpPr>
            <p:cNvPr id="6" name="Graphic 2">
              <a:extLst>
                <a:ext uri="{FF2B5EF4-FFF2-40B4-BE49-F238E27FC236}">
                  <a16:creationId xmlns:a16="http://schemas.microsoft.com/office/drawing/2014/main" id="{AEA7211F-4DD3-E517-0790-5494590D2C38}"/>
                </a:ext>
              </a:extLst>
            </p:cNvPr>
            <p:cNvGrpSpPr/>
            <p:nvPr/>
          </p:nvGrpSpPr>
          <p:grpSpPr>
            <a:xfrm>
              <a:off x="5720269" y="2764575"/>
              <a:ext cx="1656129" cy="1882392"/>
              <a:chOff x="5720269" y="2764575"/>
              <a:chExt cx="1656129" cy="1882392"/>
            </a:xfrm>
            <a:solidFill>
              <a:schemeClr val="accent1"/>
            </a:solidFill>
          </p:grpSpPr>
          <p:grpSp>
            <p:nvGrpSpPr>
              <p:cNvPr id="10" name="Graphic 2">
                <a:extLst>
                  <a:ext uri="{FF2B5EF4-FFF2-40B4-BE49-F238E27FC236}">
                    <a16:creationId xmlns:a16="http://schemas.microsoft.com/office/drawing/2014/main" id="{34E2D65F-BA6C-24AF-F2E9-10BB889673A2}"/>
                  </a:ext>
                </a:extLst>
              </p:cNvPr>
              <p:cNvGrpSpPr/>
              <p:nvPr/>
            </p:nvGrpSpPr>
            <p:grpSpPr>
              <a:xfrm>
                <a:off x="5720269" y="2764575"/>
                <a:ext cx="1656129" cy="1882392"/>
                <a:chOff x="5720269" y="2764575"/>
                <a:chExt cx="1656129" cy="1882392"/>
              </a:xfrm>
              <a:solidFill>
                <a:srgbClr val="00A099"/>
              </a:solidFill>
            </p:grpSpPr>
            <p:sp>
              <p:nvSpPr>
                <p:cNvPr id="14" name="Freeform 75">
                  <a:extLst>
                    <a:ext uri="{FF2B5EF4-FFF2-40B4-BE49-F238E27FC236}">
                      <a16:creationId xmlns:a16="http://schemas.microsoft.com/office/drawing/2014/main" id="{E0E43A5F-B7B5-9A9B-C386-777A4F761EBC}"/>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6">
                  <a:extLst>
                    <a:ext uri="{FF2B5EF4-FFF2-40B4-BE49-F238E27FC236}">
                      <a16:creationId xmlns:a16="http://schemas.microsoft.com/office/drawing/2014/main" id="{87258541-1620-A3F5-4FE5-9DAB5DE452B0}"/>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Freeform 77">
                  <a:extLst>
                    <a:ext uri="{FF2B5EF4-FFF2-40B4-BE49-F238E27FC236}">
                      <a16:creationId xmlns:a16="http://schemas.microsoft.com/office/drawing/2014/main" id="{D1DDB787-8729-C44D-D14E-79E85369EDDB}"/>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1" name="Freeform 72">
                <a:extLst>
                  <a:ext uri="{FF2B5EF4-FFF2-40B4-BE49-F238E27FC236}">
                    <a16:creationId xmlns:a16="http://schemas.microsoft.com/office/drawing/2014/main" id="{4493B8BB-748E-77AD-D21B-1095677610D7}"/>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3">
                <a:extLst>
                  <a:ext uri="{FF2B5EF4-FFF2-40B4-BE49-F238E27FC236}">
                    <a16:creationId xmlns:a16="http://schemas.microsoft.com/office/drawing/2014/main" id="{6021405B-BD1B-6020-CD51-6D8446D73166}"/>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3" name="Freeform 74">
                <a:extLst>
                  <a:ext uri="{FF2B5EF4-FFF2-40B4-BE49-F238E27FC236}">
                    <a16:creationId xmlns:a16="http://schemas.microsoft.com/office/drawing/2014/main" id="{E9D5F0C5-F91F-8124-9BDA-0AA564546B11}"/>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7" name="Freeform 69">
              <a:extLst>
                <a:ext uri="{FF2B5EF4-FFF2-40B4-BE49-F238E27FC236}">
                  <a16:creationId xmlns:a16="http://schemas.microsoft.com/office/drawing/2014/main" id="{AF448A04-A2ED-C540-0F7B-FCD602CE6787}"/>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9" name="Freeform 70">
              <a:extLst>
                <a:ext uri="{FF2B5EF4-FFF2-40B4-BE49-F238E27FC236}">
                  <a16:creationId xmlns:a16="http://schemas.microsoft.com/office/drawing/2014/main" id="{508E4752-7B30-85DF-D704-5318F5AF695B}"/>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3955968543"/>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1_Lunch slide">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B590B2B0-3B49-F9C6-696B-77AF96B297A3}"/>
              </a:ext>
            </a:extLst>
          </p:cNvPr>
          <p:cNvGraphicFramePr>
            <a:graphicFrameLocks noChangeAspect="1"/>
          </p:cNvGraphicFramePr>
          <p:nvPr>
            <p:custDataLst>
              <p:tags r:id="rId1"/>
            </p:custDataLst>
            <p:extLst>
              <p:ext uri="{D42A27DB-BD31-4B8C-83A1-F6EECF244321}">
                <p14:modId xmlns:p14="http://schemas.microsoft.com/office/powerpoint/2010/main" val="2090217170"/>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B590B2B0-3B49-F9C6-696B-77AF96B297A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2" name="Picture 1" descr="A cup of coffee on a table&#10;&#10;Description automatically generated">
            <a:extLst>
              <a:ext uri="{FF2B5EF4-FFF2-40B4-BE49-F238E27FC236}">
                <a16:creationId xmlns:a16="http://schemas.microsoft.com/office/drawing/2014/main" id="{C50D561B-9DDD-35D4-3380-6DCF8BE47286}"/>
              </a:ext>
            </a:extLst>
          </p:cNvPr>
          <p:cNvPicPr>
            <a:picLocks noChangeAspect="1"/>
          </p:cNvPicPr>
          <p:nvPr/>
        </p:nvPicPr>
        <p:blipFill rotWithShape="1">
          <a:blip r:embed="rId5" cstate="print">
            <a:extLst>
              <a:ext uri="{28A0092B-C50C-407E-A947-70E740481C1C}">
                <a14:useLocalDpi xmlns:a14="http://schemas.microsoft.com/office/drawing/2010/main"/>
              </a:ext>
              <a:ext uri="{837473B0-CC2E-450A-ABE3-18F120FF3D39}">
                <a1611:picAttrSrcUrl xmlns:a1611="http://schemas.microsoft.com/office/drawing/2016/11/main" r:id="rId6"/>
              </a:ext>
            </a:extLst>
          </a:blip>
          <a:srcRect/>
          <a:stretch/>
        </p:blipFill>
        <p:spPr>
          <a:xfrm>
            <a:off x="4804" y="-1"/>
            <a:ext cx="9144002" cy="5143501"/>
          </a:xfrm>
          <a:prstGeom prst="rect">
            <a:avLst/>
          </a:prstGeom>
        </p:spPr>
      </p:pic>
      <p:pic>
        <p:nvPicPr>
          <p:cNvPr id="8" name="Picture 7" descr="A cup of coffee on a table&#10;&#10;Description automatically generated">
            <a:extLst>
              <a:ext uri="{FF2B5EF4-FFF2-40B4-BE49-F238E27FC236}">
                <a16:creationId xmlns:a16="http://schemas.microsoft.com/office/drawing/2014/main" id="{7060624F-07B5-2616-DC12-7E8921F48826}"/>
              </a:ext>
            </a:extLst>
          </p:cNvPr>
          <p:cNvPicPr>
            <a:picLocks noChangeAspect="1"/>
          </p:cNvPicPr>
          <p:nvPr/>
        </p:nvPicPr>
        <p:blipFill rotWithShape="1">
          <a:blip r:embed="rId7" cstate="print">
            <a:extLst>
              <a:ext uri="{BEBA8EAE-BF5A-486C-A8C5-ECC9F3942E4B}">
                <a14:imgProps xmlns:a14="http://schemas.microsoft.com/office/drawing/2010/main">
                  <a14:imgLayer r:embed="rId8">
                    <a14:imgEffect>
                      <a14:artisticBlur/>
                    </a14:imgEffect>
                  </a14:imgLayer>
                </a14:imgProps>
              </a:ext>
              <a:ext uri="{28A0092B-C50C-407E-A947-70E740481C1C}">
                <a14:useLocalDpi xmlns:a14="http://schemas.microsoft.com/office/drawing/2010/main"/>
              </a:ext>
              <a:ext uri="{837473B0-CC2E-450A-ABE3-18F120FF3D39}">
                <a1611:picAttrSrcUrl xmlns:a1611="http://schemas.microsoft.com/office/drawing/2016/11/main" r:id="rId6"/>
              </a:ext>
            </a:extLst>
          </a:blip>
          <a:srcRect/>
          <a:stretch/>
        </p:blipFill>
        <p:spPr>
          <a:xfrm>
            <a:off x="1" y="2"/>
            <a:ext cx="1998827" cy="5143499"/>
          </a:xfrm>
          <a:custGeom>
            <a:avLst/>
            <a:gdLst>
              <a:gd name="connsiteX0" fmla="*/ 2665102 w 2665102"/>
              <a:gd name="connsiteY0" fmla="*/ 0 h 6857999"/>
              <a:gd name="connsiteX1" fmla="*/ 2421219 w 2665102"/>
              <a:gd name="connsiteY1" fmla="*/ 1023774 h 6857999"/>
              <a:gd name="connsiteX2" fmla="*/ 2421218 w 2665102"/>
              <a:gd name="connsiteY2" fmla="*/ 1023773 h 6857999"/>
              <a:gd name="connsiteX3" fmla="*/ 1031385 w 2665102"/>
              <a:gd name="connsiteY3" fmla="*/ 6857999 h 6857999"/>
              <a:gd name="connsiteX4" fmla="*/ 0 w 2665102"/>
              <a:gd name="connsiteY4" fmla="*/ 6857999 h 6857999"/>
              <a:gd name="connsiteX5" fmla="*/ 0 w 2665102"/>
              <a:gd name="connsiteY5" fmla="*/ 1 h 6857999"/>
              <a:gd name="connsiteX6" fmla="*/ 2661761 w 2665102"/>
              <a:gd name="connsiteY6" fmla="*/ 1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65102" h="6857999">
                <a:moveTo>
                  <a:pt x="2665102" y="0"/>
                </a:moveTo>
                <a:lnTo>
                  <a:pt x="2421219" y="1023774"/>
                </a:lnTo>
                <a:lnTo>
                  <a:pt x="2421218" y="1023773"/>
                </a:lnTo>
                <a:lnTo>
                  <a:pt x="1031385" y="6857999"/>
                </a:lnTo>
                <a:lnTo>
                  <a:pt x="0" y="6857999"/>
                </a:lnTo>
                <a:lnTo>
                  <a:pt x="0" y="1"/>
                </a:lnTo>
                <a:lnTo>
                  <a:pt x="2661761" y="1"/>
                </a:lnTo>
                <a:close/>
              </a:path>
            </a:pathLst>
          </a:custGeom>
          <a:effectLst>
            <a:outerShdw blurRad="190500" dist="63500" algn="l" rotWithShape="0">
              <a:prstClr val="black">
                <a:alpha val="40000"/>
              </a:prstClr>
            </a:outerShdw>
          </a:effectLst>
        </p:spPr>
      </p:pic>
      <p:sp>
        <p:nvSpPr>
          <p:cNvPr id="5" name="Freeform 4">
            <a:extLst>
              <a:ext uri="{FF2B5EF4-FFF2-40B4-BE49-F238E27FC236}">
                <a16:creationId xmlns:a16="http://schemas.microsoft.com/office/drawing/2014/main" id="{725AF7F2-0EFA-B6CD-6B6A-926966720B16}"/>
              </a:ext>
            </a:extLst>
          </p:cNvPr>
          <p:cNvSpPr/>
          <p:nvPr/>
        </p:nvSpPr>
        <p:spPr>
          <a:xfrm>
            <a:off x="1" y="1"/>
            <a:ext cx="2003631" cy="5147264"/>
          </a:xfrm>
          <a:custGeom>
            <a:avLst/>
            <a:gdLst>
              <a:gd name="connsiteX0" fmla="*/ 2671508 w 2671508"/>
              <a:gd name="connsiteY0" fmla="*/ 0 h 6863018"/>
              <a:gd name="connsiteX1" fmla="*/ 2427625 w 2671508"/>
              <a:gd name="connsiteY1" fmla="*/ 1023774 h 6863018"/>
              <a:gd name="connsiteX2" fmla="*/ 2427624 w 2671508"/>
              <a:gd name="connsiteY2" fmla="*/ 1023773 h 6863018"/>
              <a:gd name="connsiteX3" fmla="*/ 1036595 w 2671508"/>
              <a:gd name="connsiteY3" fmla="*/ 6863018 h 6863018"/>
              <a:gd name="connsiteX4" fmla="*/ 0 w 2671508"/>
              <a:gd name="connsiteY4" fmla="*/ 6863018 h 6863018"/>
              <a:gd name="connsiteX5" fmla="*/ 0 w 2671508"/>
              <a:gd name="connsiteY5" fmla="*/ 1 h 6863018"/>
              <a:gd name="connsiteX6" fmla="*/ 2668167 w 2671508"/>
              <a:gd name="connsiteY6" fmla="*/ 1 h 6863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71508" h="6863018">
                <a:moveTo>
                  <a:pt x="2671508" y="0"/>
                </a:moveTo>
                <a:lnTo>
                  <a:pt x="2427625" y="1023774"/>
                </a:lnTo>
                <a:lnTo>
                  <a:pt x="2427624" y="1023773"/>
                </a:lnTo>
                <a:lnTo>
                  <a:pt x="1036595" y="6863018"/>
                </a:lnTo>
                <a:lnTo>
                  <a:pt x="0" y="6863018"/>
                </a:lnTo>
                <a:lnTo>
                  <a:pt x="0" y="1"/>
                </a:lnTo>
                <a:lnTo>
                  <a:pt x="2668167" y="1"/>
                </a:lnTo>
                <a:close/>
              </a:path>
            </a:pathLst>
          </a:custGeom>
          <a:solidFill>
            <a:schemeClr val="accent1">
              <a:alpha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AE"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4" name="Graphic 2">
            <a:extLst>
              <a:ext uri="{FF2B5EF4-FFF2-40B4-BE49-F238E27FC236}">
                <a16:creationId xmlns:a16="http://schemas.microsoft.com/office/drawing/2014/main" id="{9BDAC6F6-966D-AF83-2C60-014FF5E2FE86}"/>
              </a:ext>
            </a:extLst>
          </p:cNvPr>
          <p:cNvGrpSpPr>
            <a:grpSpLocks noChangeAspect="1"/>
          </p:cNvGrpSpPr>
          <p:nvPr/>
        </p:nvGrpSpPr>
        <p:grpSpPr>
          <a:xfrm>
            <a:off x="4804" y="2"/>
            <a:ext cx="468178" cy="756000"/>
            <a:chOff x="4425584" y="267785"/>
            <a:chExt cx="2950814" cy="4756864"/>
          </a:xfrm>
          <a:solidFill>
            <a:schemeClr val="accent1"/>
          </a:solidFill>
        </p:grpSpPr>
        <p:grpSp>
          <p:nvGrpSpPr>
            <p:cNvPr id="6" name="Graphic 2">
              <a:extLst>
                <a:ext uri="{FF2B5EF4-FFF2-40B4-BE49-F238E27FC236}">
                  <a16:creationId xmlns:a16="http://schemas.microsoft.com/office/drawing/2014/main" id="{A6EB0D66-3B01-07A8-D5F4-C99E671F45AD}"/>
                </a:ext>
              </a:extLst>
            </p:cNvPr>
            <p:cNvGrpSpPr/>
            <p:nvPr/>
          </p:nvGrpSpPr>
          <p:grpSpPr>
            <a:xfrm>
              <a:off x="5720269" y="2764575"/>
              <a:ext cx="1656129" cy="1882392"/>
              <a:chOff x="5720269" y="2764575"/>
              <a:chExt cx="1656129" cy="1882392"/>
            </a:xfrm>
            <a:solidFill>
              <a:schemeClr val="accent1"/>
            </a:solidFill>
          </p:grpSpPr>
          <p:grpSp>
            <p:nvGrpSpPr>
              <p:cNvPr id="10" name="Graphic 2">
                <a:extLst>
                  <a:ext uri="{FF2B5EF4-FFF2-40B4-BE49-F238E27FC236}">
                    <a16:creationId xmlns:a16="http://schemas.microsoft.com/office/drawing/2014/main" id="{38E67519-72C7-6B3C-1F0E-FF3ADB3C59E7}"/>
                  </a:ext>
                </a:extLst>
              </p:cNvPr>
              <p:cNvGrpSpPr/>
              <p:nvPr/>
            </p:nvGrpSpPr>
            <p:grpSpPr>
              <a:xfrm>
                <a:off x="5720269" y="2764575"/>
                <a:ext cx="1656129" cy="1882392"/>
                <a:chOff x="5720269" y="2764575"/>
                <a:chExt cx="1656129" cy="1882392"/>
              </a:xfrm>
              <a:solidFill>
                <a:srgbClr val="00A099"/>
              </a:solidFill>
            </p:grpSpPr>
            <p:sp>
              <p:nvSpPr>
                <p:cNvPr id="14" name="Freeform 75">
                  <a:extLst>
                    <a:ext uri="{FF2B5EF4-FFF2-40B4-BE49-F238E27FC236}">
                      <a16:creationId xmlns:a16="http://schemas.microsoft.com/office/drawing/2014/main" id="{D0638F14-F9E1-2B7D-3BE5-DEDFC98FF4BD}"/>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6">
                  <a:extLst>
                    <a:ext uri="{FF2B5EF4-FFF2-40B4-BE49-F238E27FC236}">
                      <a16:creationId xmlns:a16="http://schemas.microsoft.com/office/drawing/2014/main" id="{30E7DAB1-0C32-5096-F500-2A71C38C7078}"/>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Freeform 77">
                  <a:extLst>
                    <a:ext uri="{FF2B5EF4-FFF2-40B4-BE49-F238E27FC236}">
                      <a16:creationId xmlns:a16="http://schemas.microsoft.com/office/drawing/2014/main" id="{3D2F153E-8274-B33F-ABAB-07995F5F7325}"/>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1" name="Freeform 72">
                <a:extLst>
                  <a:ext uri="{FF2B5EF4-FFF2-40B4-BE49-F238E27FC236}">
                    <a16:creationId xmlns:a16="http://schemas.microsoft.com/office/drawing/2014/main" id="{4441A4C2-90A1-F101-F6F8-35693491D27A}"/>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3">
                <a:extLst>
                  <a:ext uri="{FF2B5EF4-FFF2-40B4-BE49-F238E27FC236}">
                    <a16:creationId xmlns:a16="http://schemas.microsoft.com/office/drawing/2014/main" id="{454D445C-DAD6-A6C0-EF5A-F2E358769CFC}"/>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3" name="Freeform 74">
                <a:extLst>
                  <a:ext uri="{FF2B5EF4-FFF2-40B4-BE49-F238E27FC236}">
                    <a16:creationId xmlns:a16="http://schemas.microsoft.com/office/drawing/2014/main" id="{8E2BC5B1-26F2-445A-6868-B27A7C1D74EF}"/>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7" name="Freeform 69">
              <a:extLst>
                <a:ext uri="{FF2B5EF4-FFF2-40B4-BE49-F238E27FC236}">
                  <a16:creationId xmlns:a16="http://schemas.microsoft.com/office/drawing/2014/main" id="{02B1F430-C00E-EFDE-B69A-1730BBFB5803}"/>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9" name="Freeform 70">
              <a:extLst>
                <a:ext uri="{FF2B5EF4-FFF2-40B4-BE49-F238E27FC236}">
                  <a16:creationId xmlns:a16="http://schemas.microsoft.com/office/drawing/2014/main" id="{5209650C-A6C3-846A-813C-0690EF15B62A}"/>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234845983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9_Title slide">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FCF9607B-D3E3-C39C-3FD5-552CDEDF875A}"/>
              </a:ext>
            </a:extLst>
          </p:cNvPr>
          <p:cNvGraphicFramePr>
            <a:graphicFrameLocks noChangeAspect="1"/>
          </p:cNvGraphicFramePr>
          <p:nvPr>
            <p:custDataLst>
              <p:tags r:id="rId1"/>
            </p:custDataLst>
            <p:extLst>
              <p:ext uri="{D42A27DB-BD31-4B8C-83A1-F6EECF244321}">
                <p14:modId xmlns:p14="http://schemas.microsoft.com/office/powerpoint/2010/main" val="471579083"/>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5" name="think-cell data - do not delete" hidden="1">
                        <a:extLst>
                          <a:ext uri="{FF2B5EF4-FFF2-40B4-BE49-F238E27FC236}">
                            <a16:creationId xmlns:a16="http://schemas.microsoft.com/office/drawing/2014/main" id="{FCF9607B-D3E3-C39C-3FD5-552CDEDF875A}"/>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73" name="Picture 72">
            <a:extLst>
              <a:ext uri="{FF2B5EF4-FFF2-40B4-BE49-F238E27FC236}">
                <a16:creationId xmlns:a16="http://schemas.microsoft.com/office/drawing/2014/main" id="{6AE6E571-F88A-33C7-1BFC-015D06F413A4}"/>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118098" y="678596"/>
            <a:ext cx="5955994" cy="378630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7" name="Rectangle 6">
            <a:extLst>
              <a:ext uri="{FF2B5EF4-FFF2-40B4-BE49-F238E27FC236}">
                <a16:creationId xmlns:a16="http://schemas.microsoft.com/office/drawing/2014/main" id="{D1ABBE51-5CE8-F43F-361E-8E0499BE7DE8}"/>
              </a:ext>
            </a:extLst>
          </p:cNvPr>
          <p:cNvSpPr/>
          <p:nvPr/>
        </p:nvSpPr>
        <p:spPr>
          <a:xfrm>
            <a:off x="-1" y="672615"/>
            <a:ext cx="9144001" cy="3786307"/>
          </a:xfrm>
          <a:prstGeom prst="rect">
            <a:avLst/>
          </a:prstGeom>
          <a:solidFill>
            <a:schemeClr val="accent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R="0" lvl="0" indent="0" algn="ctr" fontAlgn="auto">
              <a:lnSpc>
                <a:spcPct val="100000"/>
              </a:lnSpc>
              <a:spcBef>
                <a:spcPts val="0"/>
              </a:spcBef>
              <a:spcAft>
                <a:spcPts val="0"/>
              </a:spcAft>
              <a:buClrTx/>
              <a:buSzTx/>
              <a:buFontTx/>
              <a:buNone/>
              <a:tabLst/>
            </a:pPr>
            <a:endParaRPr kumimoji="0" lang="en-US" sz="1200" b="1" i="0" u="none" strike="noStrike" cap="none" spc="0" normalizeH="0" baseline="0" noProof="0">
              <a:ln>
                <a:noFill/>
              </a:ln>
              <a:solidFill>
                <a:srgbClr val="575555"/>
              </a:solidFill>
              <a:effectLst/>
              <a:uLnTx/>
              <a:uFillTx/>
              <a:latin typeface="Nexa Bold" panose="00000800000000000000" pitchFamily="2" charset="0"/>
            </a:endParaRPr>
          </a:p>
        </p:txBody>
      </p:sp>
      <p:pic>
        <p:nvPicPr>
          <p:cNvPr id="2" name="Picture 1">
            <a:extLst>
              <a:ext uri="{FF2B5EF4-FFF2-40B4-BE49-F238E27FC236}">
                <a16:creationId xmlns:a16="http://schemas.microsoft.com/office/drawing/2014/main" id="{FB3A9BD7-E8BE-CAC7-E670-B5F91215B4E3}"/>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20"/>
                    </a14:imgEffect>
                  </a14:imgLayer>
                </a14:imgProps>
              </a:ext>
              <a:ext uri="{28A0092B-C50C-407E-A947-70E740481C1C}">
                <a14:useLocalDpi xmlns:a14="http://schemas.microsoft.com/office/drawing/2010/main"/>
              </a:ext>
            </a:extLst>
          </a:blip>
          <a:srcRect/>
          <a:stretch/>
        </p:blipFill>
        <p:spPr>
          <a:xfrm>
            <a:off x="1" y="2"/>
            <a:ext cx="1988357" cy="5143499"/>
          </a:xfrm>
          <a:custGeom>
            <a:avLst/>
            <a:gdLst>
              <a:gd name="connsiteX0" fmla="*/ 0 w 2651142"/>
              <a:gd name="connsiteY0" fmla="*/ 0 h 6857999"/>
              <a:gd name="connsiteX1" fmla="*/ 2651142 w 2651142"/>
              <a:gd name="connsiteY1" fmla="*/ 0 h 6857999"/>
              <a:gd name="connsiteX2" fmla="*/ 2407857 w 2651142"/>
              <a:gd name="connsiteY2" fmla="*/ 1021264 h 6857999"/>
              <a:gd name="connsiteX3" fmla="*/ 2407856 w 2651142"/>
              <a:gd name="connsiteY3" fmla="*/ 1021263 h 6857999"/>
              <a:gd name="connsiteX4" fmla="*/ 1017425 w 2651142"/>
              <a:gd name="connsiteY4" fmla="*/ 6857999 h 6857999"/>
              <a:gd name="connsiteX5" fmla="*/ 0 w 2651142"/>
              <a:gd name="connsiteY5" fmla="*/ 6857999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51142" h="6857999">
                <a:moveTo>
                  <a:pt x="0" y="0"/>
                </a:moveTo>
                <a:lnTo>
                  <a:pt x="2651142" y="0"/>
                </a:lnTo>
                <a:lnTo>
                  <a:pt x="2407857" y="1021264"/>
                </a:lnTo>
                <a:lnTo>
                  <a:pt x="2407856" y="1021263"/>
                </a:lnTo>
                <a:lnTo>
                  <a:pt x="1017425" y="6857999"/>
                </a:lnTo>
                <a:lnTo>
                  <a:pt x="0" y="6857999"/>
                </a:lnTo>
                <a:close/>
              </a:path>
            </a:pathLst>
          </a:custGeom>
          <a:effectLst>
            <a:outerShdw blurRad="190500" dist="63500" algn="l" rotWithShape="0">
              <a:prstClr val="black">
                <a:alpha val="40000"/>
              </a:prstClr>
            </a:outerShdw>
          </a:effectLst>
        </p:spPr>
      </p:pic>
      <p:sp>
        <p:nvSpPr>
          <p:cNvPr id="3" name="Freeform 2">
            <a:extLst>
              <a:ext uri="{FF2B5EF4-FFF2-40B4-BE49-F238E27FC236}">
                <a16:creationId xmlns:a16="http://schemas.microsoft.com/office/drawing/2014/main" id="{2F76746C-81D2-A3CC-B059-C282200B360F}"/>
              </a:ext>
            </a:extLst>
          </p:cNvPr>
          <p:cNvSpPr/>
          <p:nvPr/>
        </p:nvSpPr>
        <p:spPr>
          <a:xfrm>
            <a:off x="1" y="1"/>
            <a:ext cx="1988357" cy="5147264"/>
          </a:xfrm>
          <a:custGeom>
            <a:avLst/>
            <a:gdLst>
              <a:gd name="connsiteX0" fmla="*/ 2671508 w 2671508"/>
              <a:gd name="connsiteY0" fmla="*/ 0 h 6863018"/>
              <a:gd name="connsiteX1" fmla="*/ 2427625 w 2671508"/>
              <a:gd name="connsiteY1" fmla="*/ 1023774 h 6863018"/>
              <a:gd name="connsiteX2" fmla="*/ 2427624 w 2671508"/>
              <a:gd name="connsiteY2" fmla="*/ 1023773 h 6863018"/>
              <a:gd name="connsiteX3" fmla="*/ 1036595 w 2671508"/>
              <a:gd name="connsiteY3" fmla="*/ 6863018 h 6863018"/>
              <a:gd name="connsiteX4" fmla="*/ 0 w 2671508"/>
              <a:gd name="connsiteY4" fmla="*/ 6863018 h 6863018"/>
              <a:gd name="connsiteX5" fmla="*/ 0 w 2671508"/>
              <a:gd name="connsiteY5" fmla="*/ 1 h 6863018"/>
              <a:gd name="connsiteX6" fmla="*/ 2668167 w 2671508"/>
              <a:gd name="connsiteY6" fmla="*/ 1 h 6863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71508" h="6863018">
                <a:moveTo>
                  <a:pt x="2671508" y="0"/>
                </a:moveTo>
                <a:lnTo>
                  <a:pt x="2427625" y="1023774"/>
                </a:lnTo>
                <a:lnTo>
                  <a:pt x="2427624" y="1023773"/>
                </a:lnTo>
                <a:lnTo>
                  <a:pt x="1036595" y="6863018"/>
                </a:lnTo>
                <a:lnTo>
                  <a:pt x="0" y="6863018"/>
                </a:lnTo>
                <a:lnTo>
                  <a:pt x="0" y="1"/>
                </a:lnTo>
                <a:lnTo>
                  <a:pt x="2668167" y="1"/>
                </a:lnTo>
                <a:close/>
              </a:path>
            </a:pathLst>
          </a:custGeom>
          <a:solidFill>
            <a:schemeClr val="accent1">
              <a:alpha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AE" sz="1200" b="0" i="0">
              <a:solidFill>
                <a:schemeClr val="bg1"/>
              </a:solidFill>
              <a:latin typeface="Nexa Book" pitchFamily="2" charset="77"/>
              <a:ea typeface="Open Sans" panose="020B0606030504020204" pitchFamily="34" charset="0"/>
              <a:cs typeface="Open Sans" panose="020B0606030504020204" pitchFamily="34" charset="0"/>
            </a:endParaRPr>
          </a:p>
        </p:txBody>
      </p:sp>
      <p:pic>
        <p:nvPicPr>
          <p:cNvPr id="4" name="Picture 3">
            <a:extLst>
              <a:ext uri="{FF2B5EF4-FFF2-40B4-BE49-F238E27FC236}">
                <a16:creationId xmlns:a16="http://schemas.microsoft.com/office/drawing/2014/main" id="{92F9C6DB-5652-34A6-1B95-3E6DA8F9204F}"/>
              </a:ext>
            </a:extLst>
          </p:cNvPr>
          <p:cNvPicPr>
            <a:picLocks noChangeAspect="1"/>
          </p:cNvPicPr>
          <p:nvPr/>
        </p:nvPicPr>
        <p:blipFill rotWithShape="1">
          <a:blip r:embed="rId8" cstate="email">
            <a:extLst>
              <a:ext uri="{BEBA8EAE-BF5A-486C-A8C5-ECC9F3942E4B}">
                <a14:imgProps xmlns:a14="http://schemas.microsoft.com/office/drawing/2010/main">
                  <a14:imgLayer r:embed="rId9">
                    <a14:imgEffect>
                      <a14:artisticBlur/>
                    </a14:imgEffect>
                  </a14:imgLayer>
                </a14:imgProps>
              </a:ext>
              <a:ext uri="{28A0092B-C50C-407E-A947-70E740481C1C}">
                <a14:useLocalDpi xmlns:a14="http://schemas.microsoft.com/office/drawing/2010/main"/>
              </a:ext>
            </a:extLst>
          </a:blip>
          <a:srcRect/>
          <a:stretch/>
        </p:blipFill>
        <p:spPr>
          <a:xfrm>
            <a:off x="4850202" y="-1"/>
            <a:ext cx="4291172" cy="5138737"/>
          </a:xfrm>
          <a:custGeom>
            <a:avLst/>
            <a:gdLst>
              <a:gd name="connsiteX0" fmla="*/ 1105916 w 5721563"/>
              <a:gd name="connsiteY0" fmla="*/ 0 h 6851649"/>
              <a:gd name="connsiteX1" fmla="*/ 5721563 w 5721563"/>
              <a:gd name="connsiteY1" fmla="*/ 0 h 6851649"/>
              <a:gd name="connsiteX2" fmla="*/ 5721563 w 5721563"/>
              <a:gd name="connsiteY2" fmla="*/ 6851649 h 6851649"/>
              <a:gd name="connsiteX3" fmla="*/ 563823 w 5721563"/>
              <a:gd name="connsiteY3" fmla="*/ 6851649 h 6851649"/>
              <a:gd name="connsiteX4" fmla="*/ 568538 w 5721563"/>
              <a:gd name="connsiteY4" fmla="*/ 6848651 h 6851649"/>
              <a:gd name="connsiteX5" fmla="*/ 568537 w 5721563"/>
              <a:gd name="connsiteY5" fmla="*/ 6848651 h 6851649"/>
              <a:gd name="connsiteX6" fmla="*/ 563822 w 5721563"/>
              <a:gd name="connsiteY6" fmla="*/ 6851649 h 6851649"/>
              <a:gd name="connsiteX7" fmla="*/ 0 w 5721563"/>
              <a:gd name="connsiteY7" fmla="*/ 6851649 h 6851649"/>
              <a:gd name="connsiteX8" fmla="*/ 167413 w 5721563"/>
              <a:gd name="connsiteY8" fmla="*/ 5814448 h 6851649"/>
              <a:gd name="connsiteX9" fmla="*/ 925593 w 5721563"/>
              <a:gd name="connsiteY9" fmla="*/ 5814448 h 6851649"/>
              <a:gd name="connsiteX10" fmla="*/ 925593 w 5721563"/>
              <a:gd name="connsiteY10" fmla="*/ 5814447 h 6851649"/>
              <a:gd name="connsiteX11" fmla="*/ 167413 w 5721563"/>
              <a:gd name="connsiteY11" fmla="*/ 5814447 h 68516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721563" h="6851649">
                <a:moveTo>
                  <a:pt x="1105916" y="0"/>
                </a:moveTo>
                <a:lnTo>
                  <a:pt x="5721563" y="0"/>
                </a:lnTo>
                <a:lnTo>
                  <a:pt x="5721563" y="6851649"/>
                </a:lnTo>
                <a:lnTo>
                  <a:pt x="563823" y="6851649"/>
                </a:lnTo>
                <a:lnTo>
                  <a:pt x="568538" y="6848651"/>
                </a:lnTo>
                <a:lnTo>
                  <a:pt x="568537" y="6848651"/>
                </a:lnTo>
                <a:lnTo>
                  <a:pt x="563822" y="6851649"/>
                </a:lnTo>
                <a:lnTo>
                  <a:pt x="0" y="6851649"/>
                </a:lnTo>
                <a:lnTo>
                  <a:pt x="167413" y="5814448"/>
                </a:lnTo>
                <a:lnTo>
                  <a:pt x="925593" y="5814448"/>
                </a:lnTo>
                <a:lnTo>
                  <a:pt x="925593" y="5814447"/>
                </a:lnTo>
                <a:lnTo>
                  <a:pt x="167413" y="5814447"/>
                </a:lnTo>
                <a:close/>
              </a:path>
            </a:pathLst>
          </a:custGeom>
          <a:effectLst>
            <a:outerShdw blurRad="190500" dist="63500" dir="10800000" algn="r" rotWithShape="0">
              <a:prstClr val="black">
                <a:alpha val="40000"/>
              </a:prstClr>
            </a:outerShdw>
          </a:effectLst>
        </p:spPr>
      </p:pic>
      <p:sp>
        <p:nvSpPr>
          <p:cNvPr id="5" name="Freeform 4">
            <a:extLst>
              <a:ext uri="{FF2B5EF4-FFF2-40B4-BE49-F238E27FC236}">
                <a16:creationId xmlns:a16="http://schemas.microsoft.com/office/drawing/2014/main" id="{710712F7-0D84-64BE-69EB-BDCD89FEB83C}"/>
              </a:ext>
            </a:extLst>
          </p:cNvPr>
          <p:cNvSpPr/>
          <p:nvPr/>
        </p:nvSpPr>
        <p:spPr>
          <a:xfrm>
            <a:off x="4850202" y="1025"/>
            <a:ext cx="4291172" cy="5145940"/>
          </a:xfrm>
          <a:custGeom>
            <a:avLst/>
            <a:gdLst>
              <a:gd name="connsiteX0" fmla="*/ 1107467 w 5721563"/>
              <a:gd name="connsiteY0" fmla="*/ 0 h 6861253"/>
              <a:gd name="connsiteX1" fmla="*/ 5721563 w 5721563"/>
              <a:gd name="connsiteY1" fmla="*/ 0 h 6861253"/>
              <a:gd name="connsiteX2" fmla="*/ 5721563 w 5721563"/>
              <a:gd name="connsiteY2" fmla="*/ 6861253 h 6861253"/>
              <a:gd name="connsiteX3" fmla="*/ 563823 w 5721563"/>
              <a:gd name="connsiteY3" fmla="*/ 6861253 h 6861253"/>
              <a:gd name="connsiteX4" fmla="*/ 568538 w 5721563"/>
              <a:gd name="connsiteY4" fmla="*/ 6858255 h 6861253"/>
              <a:gd name="connsiteX5" fmla="*/ 568537 w 5721563"/>
              <a:gd name="connsiteY5" fmla="*/ 6858255 h 6861253"/>
              <a:gd name="connsiteX6" fmla="*/ 563822 w 5721563"/>
              <a:gd name="connsiteY6" fmla="*/ 6861253 h 6861253"/>
              <a:gd name="connsiteX7" fmla="*/ 0 w 5721563"/>
              <a:gd name="connsiteY7" fmla="*/ 6861253 h 6861253"/>
              <a:gd name="connsiteX8" fmla="*/ 167413 w 5721563"/>
              <a:gd name="connsiteY8" fmla="*/ 5824052 h 6861253"/>
              <a:gd name="connsiteX9" fmla="*/ 925593 w 5721563"/>
              <a:gd name="connsiteY9" fmla="*/ 5824052 h 6861253"/>
              <a:gd name="connsiteX10" fmla="*/ 925593 w 5721563"/>
              <a:gd name="connsiteY10" fmla="*/ 5824051 h 6861253"/>
              <a:gd name="connsiteX11" fmla="*/ 167413 w 5721563"/>
              <a:gd name="connsiteY11" fmla="*/ 5824051 h 6861253"/>
              <a:gd name="connsiteX12" fmla="*/ 1107466 w 5721563"/>
              <a:gd name="connsiteY12" fmla="*/ 2 h 6861253"/>
              <a:gd name="connsiteX13" fmla="*/ 1635383 w 5721563"/>
              <a:gd name="connsiteY13" fmla="*/ 2 h 6861253"/>
              <a:gd name="connsiteX14" fmla="*/ 1697942 w 5721563"/>
              <a:gd name="connsiteY14" fmla="*/ 8479 h 6861253"/>
              <a:gd name="connsiteX15" fmla="*/ 1697942 w 5721563"/>
              <a:gd name="connsiteY15" fmla="*/ 8478 h 6861253"/>
              <a:gd name="connsiteX16" fmla="*/ 1635383 w 5721563"/>
              <a:gd name="connsiteY16" fmla="*/ 1 h 6861253"/>
              <a:gd name="connsiteX17" fmla="*/ 1107466 w 5721563"/>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721563" h="6861253">
                <a:moveTo>
                  <a:pt x="1107467" y="0"/>
                </a:moveTo>
                <a:lnTo>
                  <a:pt x="5721563" y="0"/>
                </a:lnTo>
                <a:lnTo>
                  <a:pt x="5721563"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accent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6" name="Group 5">
            <a:extLst>
              <a:ext uri="{FF2B5EF4-FFF2-40B4-BE49-F238E27FC236}">
                <a16:creationId xmlns:a16="http://schemas.microsoft.com/office/drawing/2014/main" id="{1B0D39D9-3130-99BC-36BD-6BD2DB84334D}"/>
              </a:ext>
            </a:extLst>
          </p:cNvPr>
          <p:cNvGrpSpPr>
            <a:grpSpLocks noChangeAspect="1"/>
          </p:cNvGrpSpPr>
          <p:nvPr/>
        </p:nvGrpSpPr>
        <p:grpSpPr>
          <a:xfrm>
            <a:off x="250461" y="210563"/>
            <a:ext cx="1188566" cy="1011018"/>
            <a:chOff x="2716311" y="648027"/>
            <a:chExt cx="6759377" cy="5739971"/>
          </a:xfrm>
        </p:grpSpPr>
        <p:grpSp>
          <p:nvGrpSpPr>
            <p:cNvPr id="8" name="Graphic 2">
              <a:extLst>
                <a:ext uri="{FF2B5EF4-FFF2-40B4-BE49-F238E27FC236}">
                  <a16:creationId xmlns:a16="http://schemas.microsoft.com/office/drawing/2014/main" id="{106968BB-C7DC-72F6-AC09-D3281ECDDE17}"/>
                </a:ext>
              </a:extLst>
            </p:cNvPr>
            <p:cNvGrpSpPr/>
            <p:nvPr/>
          </p:nvGrpSpPr>
          <p:grpSpPr>
            <a:xfrm>
              <a:off x="2716311" y="5613022"/>
              <a:ext cx="6269002" cy="774976"/>
              <a:chOff x="2766490" y="5410804"/>
              <a:chExt cx="6269002" cy="774976"/>
            </a:xfrm>
            <a:solidFill>
              <a:schemeClr val="accent1"/>
            </a:solidFill>
          </p:grpSpPr>
          <p:grpSp>
            <p:nvGrpSpPr>
              <p:cNvPr id="53" name="Graphic 2">
                <a:extLst>
                  <a:ext uri="{FF2B5EF4-FFF2-40B4-BE49-F238E27FC236}">
                    <a16:creationId xmlns:a16="http://schemas.microsoft.com/office/drawing/2014/main" id="{807CF428-62B5-85DB-0D4B-6D6A99C1630D}"/>
                  </a:ext>
                </a:extLst>
              </p:cNvPr>
              <p:cNvGrpSpPr/>
              <p:nvPr/>
            </p:nvGrpSpPr>
            <p:grpSpPr>
              <a:xfrm>
                <a:off x="2766490" y="5426323"/>
                <a:ext cx="3923857" cy="759457"/>
                <a:chOff x="2766490" y="5426323"/>
                <a:chExt cx="3923857" cy="759457"/>
              </a:xfrm>
              <a:solidFill>
                <a:srgbClr val="FFFFFF"/>
              </a:solidFill>
            </p:grpSpPr>
            <p:sp>
              <p:nvSpPr>
                <p:cNvPr id="59" name="Freeform 83">
                  <a:extLst>
                    <a:ext uri="{FF2B5EF4-FFF2-40B4-BE49-F238E27FC236}">
                      <a16:creationId xmlns:a16="http://schemas.microsoft.com/office/drawing/2014/main" id="{4E64EF4B-1C24-1921-EB0B-7293959DBE81}"/>
                    </a:ext>
                  </a:extLst>
                </p:cNvPr>
                <p:cNvSpPr/>
                <p:nvPr/>
              </p:nvSpPr>
              <p:spPr>
                <a:xfrm>
                  <a:off x="2766490" y="5436796"/>
                  <a:ext cx="564644" cy="739368"/>
                </a:xfrm>
                <a:custGeom>
                  <a:avLst/>
                  <a:gdLst>
                    <a:gd name="connsiteX0" fmla="*/ 56981 w 564644"/>
                    <a:gd name="connsiteY0" fmla="*/ 483741 h 739368"/>
                    <a:gd name="connsiteX1" fmla="*/ 56981 w 564644"/>
                    <a:gd name="connsiteY1" fmla="*/ 739368 h 739368"/>
                    <a:gd name="connsiteX2" fmla="*/ 0 w 564644"/>
                    <a:gd name="connsiteY2" fmla="*/ 739368 h 739368"/>
                    <a:gd name="connsiteX3" fmla="*/ 0 w 564644"/>
                    <a:gd name="connsiteY3" fmla="*/ 0 h 739368"/>
                    <a:gd name="connsiteX4" fmla="*/ 324000 w 564644"/>
                    <a:gd name="connsiteY4" fmla="*/ 0 h 739368"/>
                    <a:gd name="connsiteX5" fmla="*/ 324000 w 564644"/>
                    <a:gd name="connsiteY5" fmla="*/ 483741 h 739368"/>
                    <a:gd name="connsiteX6" fmla="*/ 56981 w 564644"/>
                    <a:gd name="connsiteY6" fmla="*/ 483741 h 739368"/>
                    <a:gd name="connsiteX7" fmla="*/ 56981 w 564644"/>
                    <a:gd name="connsiteY7" fmla="*/ 52839 h 739368"/>
                    <a:gd name="connsiteX8" fmla="*/ 56981 w 564644"/>
                    <a:gd name="connsiteY8" fmla="*/ 432044 h 739368"/>
                    <a:gd name="connsiteX9" fmla="*/ 324000 w 564644"/>
                    <a:gd name="connsiteY9" fmla="*/ 432044 h 739368"/>
                    <a:gd name="connsiteX10" fmla="*/ 324000 w 564644"/>
                    <a:gd name="connsiteY10" fmla="*/ 52839 h 739368"/>
                    <a:gd name="connsiteX11" fmla="*/ 56981 w 564644"/>
                    <a:gd name="connsiteY11" fmla="*/ 52839 h 739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64644" h="739368">
                      <a:moveTo>
                        <a:pt x="56981" y="483741"/>
                      </a:moveTo>
                      <a:lnTo>
                        <a:pt x="56981" y="739368"/>
                      </a:lnTo>
                      <a:lnTo>
                        <a:pt x="0" y="739368"/>
                      </a:lnTo>
                      <a:lnTo>
                        <a:pt x="0" y="0"/>
                      </a:lnTo>
                      <a:cubicBezTo>
                        <a:pt x="107683" y="0"/>
                        <a:pt x="216317" y="0"/>
                        <a:pt x="324000" y="0"/>
                      </a:cubicBezTo>
                      <a:cubicBezTo>
                        <a:pt x="644860" y="0"/>
                        <a:pt x="644860" y="483741"/>
                        <a:pt x="324000" y="483741"/>
                      </a:cubicBezTo>
                      <a:lnTo>
                        <a:pt x="56981" y="483741"/>
                      </a:lnTo>
                      <a:close/>
                      <a:moveTo>
                        <a:pt x="56981" y="52839"/>
                      </a:moveTo>
                      <a:lnTo>
                        <a:pt x="56981" y="432044"/>
                      </a:lnTo>
                      <a:lnTo>
                        <a:pt x="324000" y="432044"/>
                      </a:lnTo>
                      <a:cubicBezTo>
                        <a:pt x="569901" y="432044"/>
                        <a:pt x="569901" y="52839"/>
                        <a:pt x="324000" y="52839"/>
                      </a:cubicBezTo>
                      <a:lnTo>
                        <a:pt x="56981" y="52839"/>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60" name="Freeform 84">
                  <a:extLst>
                    <a:ext uri="{FF2B5EF4-FFF2-40B4-BE49-F238E27FC236}">
                      <a16:creationId xmlns:a16="http://schemas.microsoft.com/office/drawing/2014/main" id="{34788C8C-45E0-05A6-8F7E-386119E1E99E}"/>
                    </a:ext>
                  </a:extLst>
                </p:cNvPr>
                <p:cNvSpPr/>
                <p:nvPr/>
              </p:nvSpPr>
              <p:spPr>
                <a:xfrm>
                  <a:off x="3457771" y="5436796"/>
                  <a:ext cx="588925" cy="739368"/>
                </a:xfrm>
                <a:custGeom>
                  <a:avLst/>
                  <a:gdLst>
                    <a:gd name="connsiteX0" fmla="*/ 588926 w 588925"/>
                    <a:gd name="connsiteY0" fmla="*/ 739368 h 739368"/>
                    <a:gd name="connsiteX1" fmla="*/ 513967 w 588925"/>
                    <a:gd name="connsiteY1" fmla="*/ 739368 h 739368"/>
                    <a:gd name="connsiteX2" fmla="*/ 258553 w 588925"/>
                    <a:gd name="connsiteY2" fmla="*/ 459463 h 739368"/>
                    <a:gd name="connsiteX3" fmla="*/ 56981 w 588925"/>
                    <a:gd name="connsiteY3" fmla="*/ 459463 h 739368"/>
                    <a:gd name="connsiteX4" fmla="*/ 56981 w 588925"/>
                    <a:gd name="connsiteY4" fmla="*/ 739368 h 739368"/>
                    <a:gd name="connsiteX5" fmla="*/ 0 w 588925"/>
                    <a:gd name="connsiteY5" fmla="*/ 739368 h 739368"/>
                    <a:gd name="connsiteX6" fmla="*/ 0 w 588925"/>
                    <a:gd name="connsiteY6" fmla="*/ 0 h 739368"/>
                    <a:gd name="connsiteX7" fmla="*/ 325046 w 588925"/>
                    <a:gd name="connsiteY7" fmla="*/ 0 h 739368"/>
                    <a:gd name="connsiteX8" fmla="*/ 567808 w 588925"/>
                    <a:gd name="connsiteY8" fmla="*/ 230303 h 739368"/>
                    <a:gd name="connsiteX9" fmla="*/ 328185 w 588925"/>
                    <a:gd name="connsiteY9" fmla="*/ 456322 h 739368"/>
                    <a:gd name="connsiteX10" fmla="*/ 588926 w 588925"/>
                    <a:gd name="connsiteY10" fmla="*/ 739368 h 739368"/>
                    <a:gd name="connsiteX11" fmla="*/ 56981 w 588925"/>
                    <a:gd name="connsiteY11" fmla="*/ 405577 h 739368"/>
                    <a:gd name="connsiteX12" fmla="*/ 318673 w 588925"/>
                    <a:gd name="connsiteY12" fmla="*/ 405577 h 739368"/>
                    <a:gd name="connsiteX13" fmla="*/ 505500 w 588925"/>
                    <a:gd name="connsiteY13" fmla="*/ 229161 h 739368"/>
                    <a:gd name="connsiteX14" fmla="*/ 325046 w 588925"/>
                    <a:gd name="connsiteY14" fmla="*/ 52744 h 739368"/>
                    <a:gd name="connsiteX15" fmla="*/ 56981 w 588925"/>
                    <a:gd name="connsiteY15" fmla="*/ 52744 h 739368"/>
                    <a:gd name="connsiteX16" fmla="*/ 56981 w 588925"/>
                    <a:gd name="connsiteY16" fmla="*/ 405577 h 739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88925" h="739368">
                      <a:moveTo>
                        <a:pt x="588926" y="739368"/>
                      </a:moveTo>
                      <a:lnTo>
                        <a:pt x="513967" y="739368"/>
                      </a:lnTo>
                      <a:lnTo>
                        <a:pt x="258553" y="459463"/>
                      </a:lnTo>
                      <a:lnTo>
                        <a:pt x="56981" y="459463"/>
                      </a:lnTo>
                      <a:lnTo>
                        <a:pt x="56981" y="739368"/>
                      </a:lnTo>
                      <a:lnTo>
                        <a:pt x="0" y="739368"/>
                      </a:lnTo>
                      <a:lnTo>
                        <a:pt x="0" y="0"/>
                      </a:lnTo>
                      <a:cubicBezTo>
                        <a:pt x="108729" y="0"/>
                        <a:pt x="216317" y="0"/>
                        <a:pt x="325046" y="0"/>
                      </a:cubicBezTo>
                      <a:cubicBezTo>
                        <a:pt x="485429" y="0"/>
                        <a:pt x="566762" y="115104"/>
                        <a:pt x="567808" y="230303"/>
                      </a:cubicBezTo>
                      <a:cubicBezTo>
                        <a:pt x="568854" y="350738"/>
                        <a:pt x="489709" y="456322"/>
                        <a:pt x="328185" y="456322"/>
                      </a:cubicBezTo>
                      <a:lnTo>
                        <a:pt x="588926" y="739368"/>
                      </a:lnTo>
                      <a:close/>
                      <a:moveTo>
                        <a:pt x="56981" y="405577"/>
                      </a:moveTo>
                      <a:lnTo>
                        <a:pt x="318673" y="405577"/>
                      </a:lnTo>
                      <a:cubicBezTo>
                        <a:pt x="447473" y="405577"/>
                        <a:pt x="504454" y="332745"/>
                        <a:pt x="505500" y="229161"/>
                      </a:cubicBezTo>
                      <a:cubicBezTo>
                        <a:pt x="506547" y="142523"/>
                        <a:pt x="447473" y="52744"/>
                        <a:pt x="325046" y="52744"/>
                      </a:cubicBezTo>
                      <a:lnTo>
                        <a:pt x="56981" y="52744"/>
                      </a:lnTo>
                      <a:lnTo>
                        <a:pt x="56981" y="40557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61" name="Freeform 85">
                  <a:extLst>
                    <a:ext uri="{FF2B5EF4-FFF2-40B4-BE49-F238E27FC236}">
                      <a16:creationId xmlns:a16="http://schemas.microsoft.com/office/drawing/2014/main" id="{6E3F8B15-ED79-680D-0A85-3A10528538CF}"/>
                    </a:ext>
                  </a:extLst>
                </p:cNvPr>
                <p:cNvSpPr/>
                <p:nvPr/>
              </p:nvSpPr>
              <p:spPr>
                <a:xfrm>
                  <a:off x="4142679" y="5436796"/>
                  <a:ext cx="55934" cy="739368"/>
                </a:xfrm>
                <a:custGeom>
                  <a:avLst/>
                  <a:gdLst>
                    <a:gd name="connsiteX0" fmla="*/ 0 w 55934"/>
                    <a:gd name="connsiteY0" fmla="*/ 739368 h 739368"/>
                    <a:gd name="connsiteX1" fmla="*/ 0 w 55934"/>
                    <a:gd name="connsiteY1" fmla="*/ 0 h 739368"/>
                    <a:gd name="connsiteX2" fmla="*/ 55934 w 55934"/>
                    <a:gd name="connsiteY2" fmla="*/ 0 h 739368"/>
                    <a:gd name="connsiteX3" fmla="*/ 55934 w 55934"/>
                    <a:gd name="connsiteY3" fmla="*/ 739368 h 739368"/>
                    <a:gd name="connsiteX4" fmla="*/ 0 w 55934"/>
                    <a:gd name="connsiteY4" fmla="*/ 739368 h 7393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934" h="739368">
                      <a:moveTo>
                        <a:pt x="0" y="739368"/>
                      </a:moveTo>
                      <a:lnTo>
                        <a:pt x="0" y="0"/>
                      </a:lnTo>
                      <a:lnTo>
                        <a:pt x="55934" y="0"/>
                      </a:lnTo>
                      <a:lnTo>
                        <a:pt x="55934" y="739368"/>
                      </a:lnTo>
                      <a:lnTo>
                        <a:pt x="0" y="73936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62" name="Freeform 86">
                  <a:extLst>
                    <a:ext uri="{FF2B5EF4-FFF2-40B4-BE49-F238E27FC236}">
                      <a16:creationId xmlns:a16="http://schemas.microsoft.com/office/drawing/2014/main" id="{9547A5DC-666F-72CE-6066-06F1797B0143}"/>
                    </a:ext>
                  </a:extLst>
                </p:cNvPr>
                <p:cNvSpPr/>
                <p:nvPr/>
              </p:nvSpPr>
              <p:spPr>
                <a:xfrm>
                  <a:off x="4322062" y="5428322"/>
                  <a:ext cx="649070" cy="756315"/>
                </a:xfrm>
                <a:custGeom>
                  <a:avLst/>
                  <a:gdLst>
                    <a:gd name="connsiteX0" fmla="*/ 649071 w 649070"/>
                    <a:gd name="connsiteY0" fmla="*/ 645400 h 756315"/>
                    <a:gd name="connsiteX1" fmla="*/ 379959 w 649070"/>
                    <a:gd name="connsiteY1" fmla="*/ 756315 h 756315"/>
                    <a:gd name="connsiteX2" fmla="*/ 25 w 649070"/>
                    <a:gd name="connsiteY2" fmla="*/ 382346 h 756315"/>
                    <a:gd name="connsiteX3" fmla="*/ 379959 w 649070"/>
                    <a:gd name="connsiteY3" fmla="*/ 0 h 756315"/>
                    <a:gd name="connsiteX4" fmla="*/ 649071 w 649070"/>
                    <a:gd name="connsiteY4" fmla="*/ 110915 h 756315"/>
                    <a:gd name="connsiteX5" fmla="*/ 610069 w 649070"/>
                    <a:gd name="connsiteY5" fmla="*/ 144713 h 756315"/>
                    <a:gd name="connsiteX6" fmla="*/ 379959 w 649070"/>
                    <a:gd name="connsiteY6" fmla="*/ 50745 h 756315"/>
                    <a:gd name="connsiteX7" fmla="*/ 54913 w 649070"/>
                    <a:gd name="connsiteY7" fmla="*/ 380347 h 756315"/>
                    <a:gd name="connsiteX8" fmla="*/ 379959 w 649070"/>
                    <a:gd name="connsiteY8" fmla="*/ 703571 h 756315"/>
                    <a:gd name="connsiteX9" fmla="*/ 611116 w 649070"/>
                    <a:gd name="connsiteY9" fmla="*/ 609508 h 756315"/>
                    <a:gd name="connsiteX10" fmla="*/ 649071 w 649070"/>
                    <a:gd name="connsiteY10" fmla="*/ 645400 h 756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49070" h="756315">
                      <a:moveTo>
                        <a:pt x="649071" y="645400"/>
                      </a:moveTo>
                      <a:cubicBezTo>
                        <a:pt x="575158" y="719375"/>
                        <a:pt x="477083" y="756315"/>
                        <a:pt x="379959" y="756315"/>
                      </a:cubicBezTo>
                      <a:cubicBezTo>
                        <a:pt x="130919" y="756315"/>
                        <a:pt x="1072" y="581993"/>
                        <a:pt x="25" y="382346"/>
                      </a:cubicBezTo>
                      <a:cubicBezTo>
                        <a:pt x="-2068" y="184794"/>
                        <a:pt x="126638" y="0"/>
                        <a:pt x="379959" y="0"/>
                      </a:cubicBezTo>
                      <a:cubicBezTo>
                        <a:pt x="477083" y="0"/>
                        <a:pt x="575253" y="36940"/>
                        <a:pt x="649071" y="110915"/>
                      </a:cubicBezTo>
                      <a:lnTo>
                        <a:pt x="610069" y="144713"/>
                      </a:lnTo>
                      <a:cubicBezTo>
                        <a:pt x="546715" y="81306"/>
                        <a:pt x="463384" y="50745"/>
                        <a:pt x="379959" y="50745"/>
                      </a:cubicBezTo>
                      <a:cubicBezTo>
                        <a:pt x="164688" y="50745"/>
                        <a:pt x="53866" y="202884"/>
                        <a:pt x="54913" y="380347"/>
                      </a:cubicBezTo>
                      <a:cubicBezTo>
                        <a:pt x="57006" y="553622"/>
                        <a:pt x="166781" y="703571"/>
                        <a:pt x="379959" y="703571"/>
                      </a:cubicBezTo>
                      <a:cubicBezTo>
                        <a:pt x="463384" y="703571"/>
                        <a:pt x="547761" y="671868"/>
                        <a:pt x="611116" y="609508"/>
                      </a:cubicBezTo>
                      <a:lnTo>
                        <a:pt x="649071" y="64540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63" name="Freeform 87">
                  <a:extLst>
                    <a:ext uri="{FF2B5EF4-FFF2-40B4-BE49-F238E27FC236}">
                      <a16:creationId xmlns:a16="http://schemas.microsoft.com/office/drawing/2014/main" id="{89649E48-571E-0B17-E18A-9D78002CD292}"/>
                    </a:ext>
                  </a:extLst>
                </p:cNvPr>
                <p:cNvSpPr/>
                <p:nvPr/>
              </p:nvSpPr>
              <p:spPr>
                <a:xfrm>
                  <a:off x="5106212" y="5436796"/>
                  <a:ext cx="55933" cy="739368"/>
                </a:xfrm>
                <a:custGeom>
                  <a:avLst/>
                  <a:gdLst>
                    <a:gd name="connsiteX0" fmla="*/ 0 w 55933"/>
                    <a:gd name="connsiteY0" fmla="*/ 739368 h 739368"/>
                    <a:gd name="connsiteX1" fmla="*/ 0 w 55933"/>
                    <a:gd name="connsiteY1" fmla="*/ 0 h 739368"/>
                    <a:gd name="connsiteX2" fmla="*/ 55934 w 55933"/>
                    <a:gd name="connsiteY2" fmla="*/ 0 h 739368"/>
                    <a:gd name="connsiteX3" fmla="*/ 55934 w 55933"/>
                    <a:gd name="connsiteY3" fmla="*/ 739368 h 739368"/>
                    <a:gd name="connsiteX4" fmla="*/ 0 w 55933"/>
                    <a:gd name="connsiteY4" fmla="*/ 739368 h 7393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933" h="739368">
                      <a:moveTo>
                        <a:pt x="0" y="739368"/>
                      </a:moveTo>
                      <a:lnTo>
                        <a:pt x="0" y="0"/>
                      </a:lnTo>
                      <a:lnTo>
                        <a:pt x="55934" y="0"/>
                      </a:lnTo>
                      <a:lnTo>
                        <a:pt x="55934" y="739368"/>
                      </a:lnTo>
                      <a:lnTo>
                        <a:pt x="0" y="73936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64" name="Freeform 88">
                  <a:extLst>
                    <a:ext uri="{FF2B5EF4-FFF2-40B4-BE49-F238E27FC236}">
                      <a16:creationId xmlns:a16="http://schemas.microsoft.com/office/drawing/2014/main" id="{08EB8E66-FCAC-C9FB-C18E-C15829F7F00D}"/>
                    </a:ext>
                  </a:extLst>
                </p:cNvPr>
                <p:cNvSpPr/>
                <p:nvPr/>
              </p:nvSpPr>
              <p:spPr>
                <a:xfrm>
                  <a:off x="5325763" y="5436796"/>
                  <a:ext cx="577320" cy="739368"/>
                </a:xfrm>
                <a:custGeom>
                  <a:avLst/>
                  <a:gdLst>
                    <a:gd name="connsiteX0" fmla="*/ 24257 w 577320"/>
                    <a:gd name="connsiteY0" fmla="*/ 0 h 739368"/>
                    <a:gd name="connsiteX1" fmla="*/ 521386 w 577320"/>
                    <a:gd name="connsiteY1" fmla="*/ 611602 h 739368"/>
                    <a:gd name="connsiteX2" fmla="*/ 521386 w 577320"/>
                    <a:gd name="connsiteY2" fmla="*/ 0 h 739368"/>
                    <a:gd name="connsiteX3" fmla="*/ 577321 w 577320"/>
                    <a:gd name="connsiteY3" fmla="*/ 0 h 739368"/>
                    <a:gd name="connsiteX4" fmla="*/ 577321 w 577320"/>
                    <a:gd name="connsiteY4" fmla="*/ 739368 h 739368"/>
                    <a:gd name="connsiteX5" fmla="*/ 555156 w 577320"/>
                    <a:gd name="connsiteY5" fmla="*/ 739368 h 739368"/>
                    <a:gd name="connsiteX6" fmla="*/ 56980 w 577320"/>
                    <a:gd name="connsiteY6" fmla="*/ 128813 h 739368"/>
                    <a:gd name="connsiteX7" fmla="*/ 56980 w 577320"/>
                    <a:gd name="connsiteY7" fmla="*/ 739368 h 739368"/>
                    <a:gd name="connsiteX8" fmla="*/ 0 w 577320"/>
                    <a:gd name="connsiteY8" fmla="*/ 739368 h 739368"/>
                    <a:gd name="connsiteX9" fmla="*/ 0 w 577320"/>
                    <a:gd name="connsiteY9" fmla="*/ 0 h 739368"/>
                    <a:gd name="connsiteX10" fmla="*/ 24257 w 577320"/>
                    <a:gd name="connsiteY10" fmla="*/ 0 h 739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77320" h="739368">
                      <a:moveTo>
                        <a:pt x="24257" y="0"/>
                      </a:moveTo>
                      <a:lnTo>
                        <a:pt x="521386" y="611602"/>
                      </a:lnTo>
                      <a:lnTo>
                        <a:pt x="521386" y="0"/>
                      </a:lnTo>
                      <a:lnTo>
                        <a:pt x="577321" y="0"/>
                      </a:lnTo>
                      <a:lnTo>
                        <a:pt x="577321" y="739368"/>
                      </a:lnTo>
                      <a:lnTo>
                        <a:pt x="555156" y="739368"/>
                      </a:lnTo>
                      <a:lnTo>
                        <a:pt x="56980" y="128813"/>
                      </a:lnTo>
                      <a:lnTo>
                        <a:pt x="56980" y="739368"/>
                      </a:lnTo>
                      <a:lnTo>
                        <a:pt x="0" y="739368"/>
                      </a:lnTo>
                      <a:lnTo>
                        <a:pt x="0" y="0"/>
                      </a:lnTo>
                      <a:lnTo>
                        <a:pt x="24257"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65" name="Freeform 89">
                  <a:extLst>
                    <a:ext uri="{FF2B5EF4-FFF2-40B4-BE49-F238E27FC236}">
                      <a16:creationId xmlns:a16="http://schemas.microsoft.com/office/drawing/2014/main" id="{3DF9220A-B5E1-AD34-DB7C-9130819E5C98}"/>
                    </a:ext>
                  </a:extLst>
                </p:cNvPr>
                <p:cNvSpPr/>
                <p:nvPr/>
              </p:nvSpPr>
              <p:spPr>
                <a:xfrm>
                  <a:off x="6030738" y="5426323"/>
                  <a:ext cx="659609" cy="759457"/>
                </a:xfrm>
                <a:custGeom>
                  <a:avLst/>
                  <a:gdLst>
                    <a:gd name="connsiteX0" fmla="*/ 618420 w 659609"/>
                    <a:gd name="connsiteY0" fmla="*/ 146713 h 759457"/>
                    <a:gd name="connsiteX1" fmla="*/ 380985 w 659609"/>
                    <a:gd name="connsiteY1" fmla="*/ 51697 h 759457"/>
                    <a:gd name="connsiteX2" fmla="*/ 54893 w 659609"/>
                    <a:gd name="connsiteY2" fmla="*/ 381300 h 759457"/>
                    <a:gd name="connsiteX3" fmla="*/ 380985 w 659609"/>
                    <a:gd name="connsiteY3" fmla="*/ 705571 h 759457"/>
                    <a:gd name="connsiteX4" fmla="*/ 605768 w 659609"/>
                    <a:gd name="connsiteY4" fmla="*/ 619980 h 759457"/>
                    <a:gd name="connsiteX5" fmla="*/ 605768 w 659609"/>
                    <a:gd name="connsiteY5" fmla="*/ 412908 h 759457"/>
                    <a:gd name="connsiteX6" fmla="*/ 348262 w 659609"/>
                    <a:gd name="connsiteY6" fmla="*/ 412908 h 759457"/>
                    <a:gd name="connsiteX7" fmla="*/ 348262 w 659609"/>
                    <a:gd name="connsiteY7" fmla="*/ 363306 h 759457"/>
                    <a:gd name="connsiteX8" fmla="*/ 659610 w 659609"/>
                    <a:gd name="connsiteY8" fmla="*/ 363306 h 759457"/>
                    <a:gd name="connsiteX9" fmla="*/ 659610 w 659609"/>
                    <a:gd name="connsiteY9" fmla="*/ 640069 h 759457"/>
                    <a:gd name="connsiteX10" fmla="*/ 380985 w 659609"/>
                    <a:gd name="connsiteY10" fmla="*/ 759457 h 759457"/>
                    <a:gd name="connsiteX11" fmla="*/ 5 w 659609"/>
                    <a:gd name="connsiteY11" fmla="*/ 382347 h 759457"/>
                    <a:gd name="connsiteX12" fmla="*/ 380985 w 659609"/>
                    <a:gd name="connsiteY12" fmla="*/ 0 h 759457"/>
                    <a:gd name="connsiteX13" fmla="*/ 651143 w 659609"/>
                    <a:gd name="connsiteY13" fmla="*/ 110915 h 759457"/>
                    <a:gd name="connsiteX14" fmla="*/ 618420 w 659609"/>
                    <a:gd name="connsiteY14" fmla="*/ 146713 h 759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59609" h="759457">
                      <a:moveTo>
                        <a:pt x="618420" y="146713"/>
                      </a:moveTo>
                      <a:cubicBezTo>
                        <a:pt x="554020" y="83305"/>
                        <a:pt x="464316" y="51697"/>
                        <a:pt x="380985" y="51697"/>
                      </a:cubicBezTo>
                      <a:cubicBezTo>
                        <a:pt x="164669" y="51697"/>
                        <a:pt x="53846" y="210119"/>
                        <a:pt x="54893" y="381300"/>
                      </a:cubicBezTo>
                      <a:cubicBezTo>
                        <a:pt x="54893" y="555622"/>
                        <a:pt x="165715" y="705571"/>
                        <a:pt x="380985" y="705571"/>
                      </a:cubicBezTo>
                      <a:cubicBezTo>
                        <a:pt x="460130" y="705571"/>
                        <a:pt x="542414" y="678152"/>
                        <a:pt x="605768" y="619980"/>
                      </a:cubicBezTo>
                      <a:lnTo>
                        <a:pt x="605768" y="412908"/>
                      </a:lnTo>
                      <a:lnTo>
                        <a:pt x="348262" y="412908"/>
                      </a:lnTo>
                      <a:lnTo>
                        <a:pt x="348262" y="363306"/>
                      </a:lnTo>
                      <a:lnTo>
                        <a:pt x="659610" y="363306"/>
                      </a:lnTo>
                      <a:lnTo>
                        <a:pt x="659610" y="640069"/>
                      </a:lnTo>
                      <a:cubicBezTo>
                        <a:pt x="582558" y="717186"/>
                        <a:pt x="490761" y="759457"/>
                        <a:pt x="380985" y="759457"/>
                      </a:cubicBezTo>
                      <a:cubicBezTo>
                        <a:pt x="129757" y="759457"/>
                        <a:pt x="5" y="584088"/>
                        <a:pt x="5" y="382347"/>
                      </a:cubicBezTo>
                      <a:cubicBezTo>
                        <a:pt x="-1041" y="150997"/>
                        <a:pt x="156202" y="0"/>
                        <a:pt x="380985" y="0"/>
                      </a:cubicBezTo>
                      <a:cubicBezTo>
                        <a:pt x="478109" y="0"/>
                        <a:pt x="576279" y="36940"/>
                        <a:pt x="651143" y="110915"/>
                      </a:cubicBezTo>
                      <a:lnTo>
                        <a:pt x="618420" y="146713"/>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grpSp>
            <p:nvGrpSpPr>
              <p:cNvPr id="54" name="Graphic 2">
                <a:extLst>
                  <a:ext uri="{FF2B5EF4-FFF2-40B4-BE49-F238E27FC236}">
                    <a16:creationId xmlns:a16="http://schemas.microsoft.com/office/drawing/2014/main" id="{F280CACE-BE89-F85B-1955-F4A0D52080B9}"/>
                  </a:ext>
                </a:extLst>
              </p:cNvPr>
              <p:cNvGrpSpPr/>
              <p:nvPr/>
            </p:nvGrpSpPr>
            <p:grpSpPr>
              <a:xfrm>
                <a:off x="6870802" y="5410804"/>
                <a:ext cx="2164690" cy="771262"/>
                <a:chOff x="6870802" y="5410804"/>
                <a:chExt cx="2164690" cy="771262"/>
              </a:xfrm>
              <a:solidFill>
                <a:srgbClr val="00A099"/>
              </a:solidFill>
            </p:grpSpPr>
            <p:sp>
              <p:nvSpPr>
                <p:cNvPr id="55" name="Freeform 80">
                  <a:extLst>
                    <a:ext uri="{FF2B5EF4-FFF2-40B4-BE49-F238E27FC236}">
                      <a16:creationId xmlns:a16="http://schemas.microsoft.com/office/drawing/2014/main" id="{2DC2F27F-C2DB-ED89-7449-EF23C4D44F11}"/>
                    </a:ext>
                  </a:extLst>
                </p:cNvPr>
                <p:cNvSpPr/>
                <p:nvPr/>
              </p:nvSpPr>
              <p:spPr>
                <a:xfrm>
                  <a:off x="6870802" y="5410804"/>
                  <a:ext cx="758943" cy="771262"/>
                </a:xfrm>
                <a:custGeom>
                  <a:avLst/>
                  <a:gdLst>
                    <a:gd name="connsiteX0" fmla="*/ 758916 w 758943"/>
                    <a:gd name="connsiteY0" fmla="*/ 388821 h 771262"/>
                    <a:gd name="connsiteX1" fmla="*/ 379934 w 758943"/>
                    <a:gd name="connsiteY1" fmla="*/ 771263 h 771262"/>
                    <a:gd name="connsiteX2" fmla="*/ 0 w 758943"/>
                    <a:gd name="connsiteY2" fmla="*/ 389868 h 771262"/>
                    <a:gd name="connsiteX3" fmla="*/ 379934 w 758943"/>
                    <a:gd name="connsiteY3" fmla="*/ 0 h 771262"/>
                    <a:gd name="connsiteX4" fmla="*/ 758916 w 758943"/>
                    <a:gd name="connsiteY4" fmla="*/ 388821 h 771262"/>
                    <a:gd name="connsiteX5" fmla="*/ 137267 w 758943"/>
                    <a:gd name="connsiteY5" fmla="*/ 392058 h 771262"/>
                    <a:gd name="connsiteX6" fmla="*/ 380029 w 758943"/>
                    <a:gd name="connsiteY6" fmla="*/ 643497 h 771262"/>
                    <a:gd name="connsiteX7" fmla="*/ 621744 w 758943"/>
                    <a:gd name="connsiteY7" fmla="*/ 391010 h 771262"/>
                    <a:gd name="connsiteX8" fmla="*/ 380029 w 758943"/>
                    <a:gd name="connsiteY8" fmla="*/ 126910 h 771262"/>
                    <a:gd name="connsiteX9" fmla="*/ 137267 w 758943"/>
                    <a:gd name="connsiteY9" fmla="*/ 392058 h 771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58943" h="771262">
                      <a:moveTo>
                        <a:pt x="758916" y="388821"/>
                      </a:moveTo>
                      <a:cubicBezTo>
                        <a:pt x="756824" y="579994"/>
                        <a:pt x="639628" y="771263"/>
                        <a:pt x="379934" y="771263"/>
                      </a:cubicBezTo>
                      <a:cubicBezTo>
                        <a:pt x="120239" y="771263"/>
                        <a:pt x="0" y="584279"/>
                        <a:pt x="0" y="389868"/>
                      </a:cubicBezTo>
                      <a:cubicBezTo>
                        <a:pt x="0" y="195458"/>
                        <a:pt x="124520" y="0"/>
                        <a:pt x="379934" y="0"/>
                      </a:cubicBezTo>
                      <a:cubicBezTo>
                        <a:pt x="634396" y="95"/>
                        <a:pt x="761104" y="195553"/>
                        <a:pt x="758916" y="388821"/>
                      </a:cubicBezTo>
                      <a:close/>
                      <a:moveTo>
                        <a:pt x="137267" y="392058"/>
                      </a:moveTo>
                      <a:cubicBezTo>
                        <a:pt x="140406" y="513540"/>
                        <a:pt x="205853" y="643497"/>
                        <a:pt x="380029" y="643497"/>
                      </a:cubicBezTo>
                      <a:cubicBezTo>
                        <a:pt x="554205" y="643497"/>
                        <a:pt x="619652" y="512493"/>
                        <a:pt x="621744" y="391010"/>
                      </a:cubicBezTo>
                      <a:cubicBezTo>
                        <a:pt x="623837" y="266291"/>
                        <a:pt x="554205" y="126910"/>
                        <a:pt x="380029" y="126910"/>
                      </a:cubicBezTo>
                      <a:cubicBezTo>
                        <a:pt x="205758" y="126910"/>
                        <a:pt x="134033" y="267338"/>
                        <a:pt x="137267" y="392058"/>
                      </a:cubicBezTo>
                      <a:close/>
                    </a:path>
                  </a:pathLst>
                </a:custGeom>
                <a:solidFill>
                  <a:srgbClr val="00A099"/>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57" name="Freeform 81">
                  <a:extLst>
                    <a:ext uri="{FF2B5EF4-FFF2-40B4-BE49-F238E27FC236}">
                      <a16:creationId xmlns:a16="http://schemas.microsoft.com/office/drawing/2014/main" id="{2BF449EA-B65D-AD83-3C95-3FF01CBB7FC3}"/>
                    </a:ext>
                  </a:extLst>
                </p:cNvPr>
                <p:cNvSpPr/>
                <p:nvPr/>
              </p:nvSpPr>
              <p:spPr>
                <a:xfrm>
                  <a:off x="7742443" y="5424609"/>
                  <a:ext cx="614419" cy="741653"/>
                </a:xfrm>
                <a:custGeom>
                  <a:avLst/>
                  <a:gdLst>
                    <a:gd name="connsiteX0" fmla="*/ 475060 w 614419"/>
                    <a:gd name="connsiteY0" fmla="*/ 0 h 741653"/>
                    <a:gd name="connsiteX1" fmla="*/ 614419 w 614419"/>
                    <a:gd name="connsiteY1" fmla="*/ 0 h 741653"/>
                    <a:gd name="connsiteX2" fmla="*/ 614419 w 614419"/>
                    <a:gd name="connsiteY2" fmla="*/ 740607 h 741653"/>
                    <a:gd name="connsiteX3" fmla="*/ 527855 w 614419"/>
                    <a:gd name="connsiteY3" fmla="*/ 740607 h 741653"/>
                    <a:gd name="connsiteX4" fmla="*/ 527855 w 614419"/>
                    <a:gd name="connsiteY4" fmla="*/ 741654 h 741653"/>
                    <a:gd name="connsiteX5" fmla="*/ 139359 w 614419"/>
                    <a:gd name="connsiteY5" fmla="*/ 241918 h 741653"/>
                    <a:gd name="connsiteX6" fmla="*/ 139359 w 614419"/>
                    <a:gd name="connsiteY6" fmla="*/ 740607 h 741653"/>
                    <a:gd name="connsiteX7" fmla="*/ 0 w 614419"/>
                    <a:gd name="connsiteY7" fmla="*/ 740607 h 741653"/>
                    <a:gd name="connsiteX8" fmla="*/ 0 w 614419"/>
                    <a:gd name="connsiteY8" fmla="*/ 1047 h 741653"/>
                    <a:gd name="connsiteX9" fmla="*/ 113010 w 614419"/>
                    <a:gd name="connsiteY9" fmla="*/ 1047 h 741653"/>
                    <a:gd name="connsiteX10" fmla="*/ 475060 w 614419"/>
                    <a:gd name="connsiteY10" fmla="*/ 459559 h 741653"/>
                    <a:gd name="connsiteX11" fmla="*/ 475060 w 614419"/>
                    <a:gd name="connsiteY11" fmla="*/ 0 h 741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14419" h="741653">
                      <a:moveTo>
                        <a:pt x="475060" y="0"/>
                      </a:moveTo>
                      <a:lnTo>
                        <a:pt x="614419" y="0"/>
                      </a:lnTo>
                      <a:lnTo>
                        <a:pt x="614419" y="740607"/>
                      </a:lnTo>
                      <a:lnTo>
                        <a:pt x="527855" y="740607"/>
                      </a:lnTo>
                      <a:lnTo>
                        <a:pt x="527855" y="741654"/>
                      </a:lnTo>
                      <a:lnTo>
                        <a:pt x="139359" y="241918"/>
                      </a:lnTo>
                      <a:lnTo>
                        <a:pt x="139359" y="740607"/>
                      </a:lnTo>
                      <a:lnTo>
                        <a:pt x="0" y="740607"/>
                      </a:lnTo>
                      <a:lnTo>
                        <a:pt x="0" y="1047"/>
                      </a:lnTo>
                      <a:lnTo>
                        <a:pt x="113010" y="1047"/>
                      </a:lnTo>
                      <a:lnTo>
                        <a:pt x="475060" y="459559"/>
                      </a:lnTo>
                      <a:lnTo>
                        <a:pt x="475060" y="0"/>
                      </a:lnTo>
                      <a:close/>
                    </a:path>
                  </a:pathLst>
                </a:custGeom>
                <a:solidFill>
                  <a:srgbClr val="00A099"/>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58" name="Freeform 82">
                  <a:extLst>
                    <a:ext uri="{FF2B5EF4-FFF2-40B4-BE49-F238E27FC236}">
                      <a16:creationId xmlns:a16="http://schemas.microsoft.com/office/drawing/2014/main" id="{43D1DAC0-9949-B84F-899A-BC9C2591CAA1}"/>
                    </a:ext>
                  </a:extLst>
                </p:cNvPr>
                <p:cNvSpPr/>
                <p:nvPr/>
              </p:nvSpPr>
              <p:spPr>
                <a:xfrm>
                  <a:off x="8482429" y="5425656"/>
                  <a:ext cx="553063" cy="739559"/>
                </a:xfrm>
                <a:custGeom>
                  <a:avLst/>
                  <a:gdLst>
                    <a:gd name="connsiteX0" fmla="*/ 553064 w 553063"/>
                    <a:gd name="connsiteY0" fmla="*/ 739560 h 739559"/>
                    <a:gd name="connsiteX1" fmla="*/ 0 w 553063"/>
                    <a:gd name="connsiteY1" fmla="*/ 739560 h 739559"/>
                    <a:gd name="connsiteX2" fmla="*/ 0 w 553063"/>
                    <a:gd name="connsiteY2" fmla="*/ 0 h 739559"/>
                    <a:gd name="connsiteX3" fmla="*/ 553064 w 553063"/>
                    <a:gd name="connsiteY3" fmla="*/ 0 h 739559"/>
                    <a:gd name="connsiteX4" fmla="*/ 553064 w 553063"/>
                    <a:gd name="connsiteY4" fmla="*/ 135288 h 739559"/>
                    <a:gd name="connsiteX5" fmla="*/ 138219 w 553063"/>
                    <a:gd name="connsiteY5" fmla="*/ 135288 h 739559"/>
                    <a:gd name="connsiteX6" fmla="*/ 138219 w 553063"/>
                    <a:gd name="connsiteY6" fmla="*/ 305325 h 739559"/>
                    <a:gd name="connsiteX7" fmla="*/ 538224 w 553063"/>
                    <a:gd name="connsiteY7" fmla="*/ 305325 h 739559"/>
                    <a:gd name="connsiteX8" fmla="*/ 538224 w 553063"/>
                    <a:gd name="connsiteY8" fmla="*/ 435281 h 739559"/>
                    <a:gd name="connsiteX9" fmla="*/ 138219 w 553063"/>
                    <a:gd name="connsiteY9" fmla="*/ 435281 h 739559"/>
                    <a:gd name="connsiteX10" fmla="*/ 138219 w 553063"/>
                    <a:gd name="connsiteY10" fmla="*/ 602177 h 739559"/>
                    <a:gd name="connsiteX11" fmla="*/ 553064 w 553063"/>
                    <a:gd name="connsiteY11" fmla="*/ 602177 h 739559"/>
                    <a:gd name="connsiteX12" fmla="*/ 553064 w 553063"/>
                    <a:gd name="connsiteY12" fmla="*/ 739560 h 7395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53063" h="739559">
                      <a:moveTo>
                        <a:pt x="553064" y="739560"/>
                      </a:moveTo>
                      <a:lnTo>
                        <a:pt x="0" y="739560"/>
                      </a:lnTo>
                      <a:cubicBezTo>
                        <a:pt x="0" y="493452"/>
                        <a:pt x="0" y="246203"/>
                        <a:pt x="0" y="0"/>
                      </a:cubicBezTo>
                      <a:lnTo>
                        <a:pt x="553064" y="0"/>
                      </a:lnTo>
                      <a:lnTo>
                        <a:pt x="553064" y="135288"/>
                      </a:lnTo>
                      <a:lnTo>
                        <a:pt x="138219" y="135288"/>
                      </a:lnTo>
                      <a:lnTo>
                        <a:pt x="138219" y="305325"/>
                      </a:lnTo>
                      <a:lnTo>
                        <a:pt x="538224" y="305325"/>
                      </a:lnTo>
                      <a:lnTo>
                        <a:pt x="538224" y="435281"/>
                      </a:lnTo>
                      <a:lnTo>
                        <a:pt x="138219" y="435281"/>
                      </a:lnTo>
                      <a:lnTo>
                        <a:pt x="138219" y="602177"/>
                      </a:lnTo>
                      <a:lnTo>
                        <a:pt x="553064" y="602177"/>
                      </a:lnTo>
                      <a:lnTo>
                        <a:pt x="553064" y="739560"/>
                      </a:lnTo>
                      <a:close/>
                    </a:path>
                  </a:pathLst>
                </a:custGeom>
                <a:solidFill>
                  <a:srgbClr val="00A099"/>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grpSp>
        <p:grpSp>
          <p:nvGrpSpPr>
            <p:cNvPr id="9" name="Graphic 2">
              <a:extLst>
                <a:ext uri="{FF2B5EF4-FFF2-40B4-BE49-F238E27FC236}">
                  <a16:creationId xmlns:a16="http://schemas.microsoft.com/office/drawing/2014/main" id="{852E27DF-DB44-7985-3873-84CB3A827634}"/>
                </a:ext>
              </a:extLst>
            </p:cNvPr>
            <p:cNvGrpSpPr/>
            <p:nvPr/>
          </p:nvGrpSpPr>
          <p:grpSpPr>
            <a:xfrm>
              <a:off x="2716311" y="648027"/>
              <a:ext cx="2950814" cy="4756864"/>
              <a:chOff x="4425584" y="267785"/>
              <a:chExt cx="2950814" cy="4756864"/>
            </a:xfrm>
            <a:solidFill>
              <a:schemeClr val="accent1"/>
            </a:solidFill>
          </p:grpSpPr>
          <p:grpSp>
            <p:nvGrpSpPr>
              <p:cNvPr id="13" name="Graphic 2">
                <a:extLst>
                  <a:ext uri="{FF2B5EF4-FFF2-40B4-BE49-F238E27FC236}">
                    <a16:creationId xmlns:a16="http://schemas.microsoft.com/office/drawing/2014/main" id="{19629D24-603A-ACED-7BD1-E837DCC60D08}"/>
                  </a:ext>
                </a:extLst>
              </p:cNvPr>
              <p:cNvGrpSpPr/>
              <p:nvPr/>
            </p:nvGrpSpPr>
            <p:grpSpPr>
              <a:xfrm>
                <a:off x="5720269" y="2764575"/>
                <a:ext cx="1656129" cy="1882392"/>
                <a:chOff x="5720269" y="2764575"/>
                <a:chExt cx="1656129" cy="1882392"/>
              </a:xfrm>
              <a:solidFill>
                <a:schemeClr val="accent1"/>
              </a:solidFill>
            </p:grpSpPr>
            <p:grpSp>
              <p:nvGrpSpPr>
                <p:cNvPr id="46" name="Graphic 2">
                  <a:extLst>
                    <a:ext uri="{FF2B5EF4-FFF2-40B4-BE49-F238E27FC236}">
                      <a16:creationId xmlns:a16="http://schemas.microsoft.com/office/drawing/2014/main" id="{CA9F3B9B-8E9F-6B81-20DA-2196AB3044E3}"/>
                    </a:ext>
                  </a:extLst>
                </p:cNvPr>
                <p:cNvGrpSpPr/>
                <p:nvPr/>
              </p:nvGrpSpPr>
              <p:grpSpPr>
                <a:xfrm>
                  <a:off x="5720269" y="2764575"/>
                  <a:ext cx="1656129" cy="1882392"/>
                  <a:chOff x="5720269" y="2764575"/>
                  <a:chExt cx="1656129" cy="1882392"/>
                </a:xfrm>
                <a:solidFill>
                  <a:srgbClr val="00A099"/>
                </a:solidFill>
              </p:grpSpPr>
              <p:sp>
                <p:nvSpPr>
                  <p:cNvPr id="50" name="Freeform 75">
                    <a:extLst>
                      <a:ext uri="{FF2B5EF4-FFF2-40B4-BE49-F238E27FC236}">
                        <a16:creationId xmlns:a16="http://schemas.microsoft.com/office/drawing/2014/main" id="{A7828B01-0152-EB4F-B916-9B852E02C7C0}"/>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51" name="Freeform 76">
                    <a:extLst>
                      <a:ext uri="{FF2B5EF4-FFF2-40B4-BE49-F238E27FC236}">
                        <a16:creationId xmlns:a16="http://schemas.microsoft.com/office/drawing/2014/main" id="{76A01C09-02B3-93CE-1E46-DFFBF19F3748}"/>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52" name="Freeform 77">
                    <a:extLst>
                      <a:ext uri="{FF2B5EF4-FFF2-40B4-BE49-F238E27FC236}">
                        <a16:creationId xmlns:a16="http://schemas.microsoft.com/office/drawing/2014/main" id="{1EA6C6FB-8FD9-258A-1A58-0FB83E58C5D3}"/>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47" name="Freeform 72">
                  <a:extLst>
                    <a:ext uri="{FF2B5EF4-FFF2-40B4-BE49-F238E27FC236}">
                      <a16:creationId xmlns:a16="http://schemas.microsoft.com/office/drawing/2014/main" id="{0D67CA34-ECD5-B4BF-CF82-D897690FD62C}"/>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48" name="Freeform 73">
                  <a:extLst>
                    <a:ext uri="{FF2B5EF4-FFF2-40B4-BE49-F238E27FC236}">
                      <a16:creationId xmlns:a16="http://schemas.microsoft.com/office/drawing/2014/main" id="{690B2A34-6CED-01F4-522C-004E37ED348B}"/>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49" name="Freeform 74">
                  <a:extLst>
                    <a:ext uri="{FF2B5EF4-FFF2-40B4-BE49-F238E27FC236}">
                      <a16:creationId xmlns:a16="http://schemas.microsoft.com/office/drawing/2014/main" id="{C29839DB-EC63-65E8-3891-EDDCDB3B62F4}"/>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4" name="Freeform 69">
                <a:extLst>
                  <a:ext uri="{FF2B5EF4-FFF2-40B4-BE49-F238E27FC236}">
                    <a16:creationId xmlns:a16="http://schemas.microsoft.com/office/drawing/2014/main" id="{EF9D19FB-0661-C6C0-DEBE-172A53A7C539}"/>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45" name="Freeform 70">
                <a:extLst>
                  <a:ext uri="{FF2B5EF4-FFF2-40B4-BE49-F238E27FC236}">
                    <a16:creationId xmlns:a16="http://schemas.microsoft.com/office/drawing/2014/main" id="{78BC715C-D744-9138-A112-5F54D12707C6}"/>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grpSp>
          <p:nvGrpSpPr>
            <p:cNvPr id="10" name="Graphic 2">
              <a:extLst>
                <a:ext uri="{FF2B5EF4-FFF2-40B4-BE49-F238E27FC236}">
                  <a16:creationId xmlns:a16="http://schemas.microsoft.com/office/drawing/2014/main" id="{131E3A75-BE0B-0357-69FC-67D02AD55D0F}"/>
                </a:ext>
              </a:extLst>
            </p:cNvPr>
            <p:cNvGrpSpPr/>
            <p:nvPr/>
          </p:nvGrpSpPr>
          <p:grpSpPr>
            <a:xfrm>
              <a:off x="9002626" y="5508867"/>
              <a:ext cx="473062" cy="244679"/>
              <a:chOff x="9052805" y="5306649"/>
              <a:chExt cx="473062" cy="244679"/>
            </a:xfrm>
            <a:solidFill>
              <a:schemeClr val="accent4"/>
            </a:solidFill>
          </p:grpSpPr>
          <p:sp>
            <p:nvSpPr>
              <p:cNvPr id="11" name="Freeform 66">
                <a:extLst>
                  <a:ext uri="{FF2B5EF4-FFF2-40B4-BE49-F238E27FC236}">
                    <a16:creationId xmlns:a16="http://schemas.microsoft.com/office/drawing/2014/main" id="{CF5736FD-BF88-159C-C7F1-114E1942B862}"/>
                  </a:ext>
                </a:extLst>
              </p:cNvPr>
              <p:cNvSpPr/>
              <p:nvPr/>
            </p:nvSpPr>
            <p:spPr>
              <a:xfrm>
                <a:off x="9052805" y="5306649"/>
                <a:ext cx="183783" cy="244679"/>
              </a:xfrm>
              <a:custGeom>
                <a:avLst/>
                <a:gdLst>
                  <a:gd name="connsiteX0" fmla="*/ 111868 w 183783"/>
                  <a:gd name="connsiteY0" fmla="*/ 244679 h 244679"/>
                  <a:gd name="connsiteX1" fmla="*/ 71915 w 183783"/>
                  <a:gd name="connsiteY1" fmla="*/ 244679 h 244679"/>
                  <a:gd name="connsiteX2" fmla="*/ 71915 w 183783"/>
                  <a:gd name="connsiteY2" fmla="*/ 34274 h 244679"/>
                  <a:gd name="connsiteX3" fmla="*/ 0 w 183783"/>
                  <a:gd name="connsiteY3" fmla="*/ 34274 h 244679"/>
                  <a:gd name="connsiteX4" fmla="*/ 0 w 183783"/>
                  <a:gd name="connsiteY4" fmla="*/ 0 h 244679"/>
                  <a:gd name="connsiteX5" fmla="*/ 183784 w 183783"/>
                  <a:gd name="connsiteY5" fmla="*/ 0 h 244679"/>
                  <a:gd name="connsiteX6" fmla="*/ 183784 w 183783"/>
                  <a:gd name="connsiteY6" fmla="*/ 34274 h 244679"/>
                  <a:gd name="connsiteX7" fmla="*/ 111868 w 183783"/>
                  <a:gd name="connsiteY7" fmla="*/ 34274 h 244679"/>
                  <a:gd name="connsiteX8" fmla="*/ 111868 w 183783"/>
                  <a:gd name="connsiteY8" fmla="*/ 244679 h 2446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3783" h="244679">
                    <a:moveTo>
                      <a:pt x="111868" y="244679"/>
                    </a:moveTo>
                    <a:lnTo>
                      <a:pt x="71915" y="244679"/>
                    </a:lnTo>
                    <a:lnTo>
                      <a:pt x="71915" y="34274"/>
                    </a:lnTo>
                    <a:lnTo>
                      <a:pt x="0" y="34274"/>
                    </a:lnTo>
                    <a:lnTo>
                      <a:pt x="0" y="0"/>
                    </a:lnTo>
                    <a:lnTo>
                      <a:pt x="183784" y="0"/>
                    </a:lnTo>
                    <a:lnTo>
                      <a:pt x="183784" y="34274"/>
                    </a:lnTo>
                    <a:lnTo>
                      <a:pt x="111868" y="34274"/>
                    </a:lnTo>
                    <a:lnTo>
                      <a:pt x="111868" y="244679"/>
                    </a:lnTo>
                    <a:close/>
                  </a:path>
                </a:pathLst>
              </a:custGeom>
              <a:solidFill>
                <a:schemeClr val="bg1"/>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67">
                <a:extLst>
                  <a:ext uri="{FF2B5EF4-FFF2-40B4-BE49-F238E27FC236}">
                    <a16:creationId xmlns:a16="http://schemas.microsoft.com/office/drawing/2014/main" id="{AD971A67-1E4D-3FF2-92D6-03C7F2EC9F64}"/>
                  </a:ext>
                </a:extLst>
              </p:cNvPr>
              <p:cNvSpPr/>
              <p:nvPr/>
            </p:nvSpPr>
            <p:spPr>
              <a:xfrm>
                <a:off x="9274164" y="5306649"/>
                <a:ext cx="251703" cy="244679"/>
              </a:xfrm>
              <a:custGeom>
                <a:avLst/>
                <a:gdLst>
                  <a:gd name="connsiteX0" fmla="*/ 105590 w 251703"/>
                  <a:gd name="connsiteY0" fmla="*/ 244679 h 244679"/>
                  <a:gd name="connsiteX1" fmla="*/ 34721 w 251703"/>
                  <a:gd name="connsiteY1" fmla="*/ 40368 h 244679"/>
                  <a:gd name="connsiteX2" fmla="*/ 33389 w 251703"/>
                  <a:gd name="connsiteY2" fmla="*/ 40368 h 244679"/>
                  <a:gd name="connsiteX3" fmla="*/ 36243 w 251703"/>
                  <a:gd name="connsiteY3" fmla="*/ 125672 h 244679"/>
                  <a:gd name="connsiteX4" fmla="*/ 36243 w 251703"/>
                  <a:gd name="connsiteY4" fmla="*/ 244679 h 244679"/>
                  <a:gd name="connsiteX5" fmla="*/ 0 w 251703"/>
                  <a:gd name="connsiteY5" fmla="*/ 244679 h 244679"/>
                  <a:gd name="connsiteX6" fmla="*/ 0 w 251703"/>
                  <a:gd name="connsiteY6" fmla="*/ 0 h 244679"/>
                  <a:gd name="connsiteX7" fmla="*/ 56315 w 251703"/>
                  <a:gd name="connsiteY7" fmla="*/ 0 h 244679"/>
                  <a:gd name="connsiteX8" fmla="*/ 124235 w 251703"/>
                  <a:gd name="connsiteY8" fmla="*/ 194601 h 244679"/>
                  <a:gd name="connsiteX9" fmla="*/ 125282 w 251703"/>
                  <a:gd name="connsiteY9" fmla="*/ 194601 h 244679"/>
                  <a:gd name="connsiteX10" fmla="*/ 195199 w 251703"/>
                  <a:gd name="connsiteY10" fmla="*/ 0 h 244679"/>
                  <a:gd name="connsiteX11" fmla="*/ 251704 w 251703"/>
                  <a:gd name="connsiteY11" fmla="*/ 0 h 244679"/>
                  <a:gd name="connsiteX12" fmla="*/ 251704 w 251703"/>
                  <a:gd name="connsiteY12" fmla="*/ 244679 h 244679"/>
                  <a:gd name="connsiteX13" fmla="*/ 213083 w 251703"/>
                  <a:gd name="connsiteY13" fmla="*/ 244679 h 244679"/>
                  <a:gd name="connsiteX14" fmla="*/ 213083 w 251703"/>
                  <a:gd name="connsiteY14" fmla="*/ 123673 h 244679"/>
                  <a:gd name="connsiteX15" fmla="*/ 214034 w 251703"/>
                  <a:gd name="connsiteY15" fmla="*/ 76165 h 244679"/>
                  <a:gd name="connsiteX16" fmla="*/ 215651 w 251703"/>
                  <a:gd name="connsiteY16" fmla="*/ 40653 h 244679"/>
                  <a:gd name="connsiteX17" fmla="*/ 214319 w 251703"/>
                  <a:gd name="connsiteY17" fmla="*/ 40653 h 244679"/>
                  <a:gd name="connsiteX18" fmla="*/ 140882 w 251703"/>
                  <a:gd name="connsiteY18" fmla="*/ 244679 h 244679"/>
                  <a:gd name="connsiteX19" fmla="*/ 105590 w 251703"/>
                  <a:gd name="connsiteY19" fmla="*/ 244679 h 2446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51703" h="244679">
                    <a:moveTo>
                      <a:pt x="105590" y="244679"/>
                    </a:moveTo>
                    <a:lnTo>
                      <a:pt x="34721" y="40368"/>
                    </a:lnTo>
                    <a:lnTo>
                      <a:pt x="33389" y="40368"/>
                    </a:lnTo>
                    <a:cubicBezTo>
                      <a:pt x="35292" y="70738"/>
                      <a:pt x="36243" y="99205"/>
                      <a:pt x="36243" y="125672"/>
                    </a:cubicBezTo>
                    <a:lnTo>
                      <a:pt x="36243" y="244679"/>
                    </a:lnTo>
                    <a:lnTo>
                      <a:pt x="0" y="244679"/>
                    </a:lnTo>
                    <a:lnTo>
                      <a:pt x="0" y="0"/>
                    </a:lnTo>
                    <a:lnTo>
                      <a:pt x="56315" y="0"/>
                    </a:lnTo>
                    <a:lnTo>
                      <a:pt x="124235" y="194601"/>
                    </a:lnTo>
                    <a:lnTo>
                      <a:pt x="125282" y="194601"/>
                    </a:lnTo>
                    <a:lnTo>
                      <a:pt x="195199" y="0"/>
                    </a:lnTo>
                    <a:lnTo>
                      <a:pt x="251704" y="0"/>
                    </a:lnTo>
                    <a:lnTo>
                      <a:pt x="251704" y="244679"/>
                    </a:lnTo>
                    <a:lnTo>
                      <a:pt x="213083" y="244679"/>
                    </a:lnTo>
                    <a:lnTo>
                      <a:pt x="213083" y="123673"/>
                    </a:lnTo>
                    <a:cubicBezTo>
                      <a:pt x="213083" y="111486"/>
                      <a:pt x="213368" y="95682"/>
                      <a:pt x="214034" y="76165"/>
                    </a:cubicBezTo>
                    <a:cubicBezTo>
                      <a:pt x="214605" y="56648"/>
                      <a:pt x="215175" y="44842"/>
                      <a:pt x="215651" y="40653"/>
                    </a:cubicBezTo>
                    <a:lnTo>
                      <a:pt x="214319" y="40653"/>
                    </a:lnTo>
                    <a:lnTo>
                      <a:pt x="140882" y="244679"/>
                    </a:lnTo>
                    <a:lnTo>
                      <a:pt x="105590" y="244679"/>
                    </a:lnTo>
                    <a:close/>
                  </a:path>
                </a:pathLst>
              </a:custGeom>
              <a:solidFill>
                <a:schemeClr val="bg1"/>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FFFFFF"/>
                  </a:solidFill>
                  <a:effectLst/>
                  <a:uLnTx/>
                  <a:uFillTx/>
                  <a:latin typeface="Nexa Book" panose="00000400000000000000" pitchFamily="50" charset="0"/>
                  <a:ea typeface="+mn-ea"/>
                  <a:cs typeface="+mn-cs"/>
                </a:endParaRPr>
              </a:p>
            </p:txBody>
          </p:sp>
        </p:grpSp>
      </p:grpSp>
      <p:sp>
        <p:nvSpPr>
          <p:cNvPr id="16" name="TextBox 15">
            <a:extLst>
              <a:ext uri="{FF2B5EF4-FFF2-40B4-BE49-F238E27FC236}">
                <a16:creationId xmlns:a16="http://schemas.microsoft.com/office/drawing/2014/main" id="{B50DCEB8-3530-6C34-A04F-0C98B5C867B3}"/>
              </a:ext>
            </a:extLst>
          </p:cNvPr>
          <p:cNvSpPr txBox="1"/>
          <p:nvPr/>
        </p:nvSpPr>
        <p:spPr>
          <a:xfrm>
            <a:off x="148009" y="123171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7ECAC4">
                    <a:lumMod val="60000"/>
                    <a:lumOff val="40000"/>
                  </a:srgbClr>
                </a:solidFill>
                <a:effectLst/>
                <a:uLnTx/>
                <a:uFillTx/>
                <a:latin typeface="+mn-lt"/>
                <a:ea typeface="+mn-ea"/>
                <a:cs typeface="+mn-cs"/>
              </a:rPr>
              <a:t>GENEVA | DUBAI | CINCINNATI</a:t>
            </a:r>
          </a:p>
        </p:txBody>
      </p:sp>
    </p:spTree>
    <p:extLst>
      <p:ext uri="{BB962C8B-B14F-4D97-AF65-F5344CB8AC3E}">
        <p14:creationId xmlns:p14="http://schemas.microsoft.com/office/powerpoint/2010/main" val="3865775704"/>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2_Lunch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6343F83E-1A13-C075-21D4-CA54EC8457E1}"/>
              </a:ext>
            </a:extLst>
          </p:cNvPr>
          <p:cNvGraphicFramePr>
            <a:graphicFrameLocks noChangeAspect="1"/>
          </p:cNvGraphicFramePr>
          <p:nvPr>
            <p:custDataLst>
              <p:tags r:id="rId1"/>
            </p:custDataLst>
            <p:extLst>
              <p:ext uri="{D42A27DB-BD31-4B8C-83A1-F6EECF244321}">
                <p14:modId xmlns:p14="http://schemas.microsoft.com/office/powerpoint/2010/main" val="170776277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6343F83E-1A13-C075-21D4-CA54EC8457E1}"/>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3" name="Picture Placeholder 14">
            <a:extLst>
              <a:ext uri="{FF2B5EF4-FFF2-40B4-BE49-F238E27FC236}">
                <a16:creationId xmlns:a16="http://schemas.microsoft.com/office/drawing/2014/main" id="{B3F0EF55-C092-758F-6D82-988CE8929335}"/>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a:xfrm>
            <a:off x="0" y="0"/>
            <a:ext cx="9144000" cy="5143500"/>
          </a:xfrm>
          <a:prstGeom prst="rect">
            <a:avLst/>
          </a:prstGeom>
          <a:noFill/>
        </p:spPr>
      </p:pic>
      <p:pic>
        <p:nvPicPr>
          <p:cNvPr id="12" name="Picture 11">
            <a:extLst>
              <a:ext uri="{FF2B5EF4-FFF2-40B4-BE49-F238E27FC236}">
                <a16:creationId xmlns:a16="http://schemas.microsoft.com/office/drawing/2014/main" id="{533F1119-4CF8-6152-40E1-35C2E16EBF12}"/>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30"/>
                    </a14:imgEffect>
                  </a14:imgLayer>
                </a14:imgProps>
              </a:ext>
              <a:ext uri="{28A0092B-C50C-407E-A947-70E740481C1C}">
                <a14:useLocalDpi xmlns:a14="http://schemas.microsoft.com/office/drawing/2010/main"/>
              </a:ext>
            </a:extLst>
          </a:blip>
          <a:srcRect r="-173"/>
          <a:stretch/>
        </p:blipFill>
        <p:spPr>
          <a:xfrm>
            <a:off x="5765648" y="1"/>
            <a:ext cx="3383157" cy="5142476"/>
          </a:xfrm>
          <a:custGeom>
            <a:avLst/>
            <a:gdLst>
              <a:gd name="connsiteX0" fmla="*/ 1106060 w 4510876"/>
              <a:gd name="connsiteY0" fmla="*/ 0 h 6852540"/>
              <a:gd name="connsiteX1" fmla="*/ 4510876 w 4510876"/>
              <a:gd name="connsiteY1" fmla="*/ 0 h 6852540"/>
              <a:gd name="connsiteX2" fmla="*/ 4510876 w 4510876"/>
              <a:gd name="connsiteY2" fmla="*/ 6852540 h 6852540"/>
              <a:gd name="connsiteX3" fmla="*/ 0 w 4510876"/>
              <a:gd name="connsiteY3" fmla="*/ 6852540 h 6852540"/>
              <a:gd name="connsiteX4" fmla="*/ 166006 w 4510876"/>
              <a:gd name="connsiteY4" fmla="*/ 5824052 h 6852540"/>
              <a:gd name="connsiteX5" fmla="*/ 924186 w 4510876"/>
              <a:gd name="connsiteY5" fmla="*/ 5824052 h 6852540"/>
              <a:gd name="connsiteX6" fmla="*/ 924186 w 4510876"/>
              <a:gd name="connsiteY6" fmla="*/ 5824051 h 6852540"/>
              <a:gd name="connsiteX7" fmla="*/ 166006 w 4510876"/>
              <a:gd name="connsiteY7" fmla="*/ 5824051 h 6852540"/>
              <a:gd name="connsiteX8" fmla="*/ 1106059 w 4510876"/>
              <a:gd name="connsiteY8" fmla="*/ 2 h 6852540"/>
              <a:gd name="connsiteX9" fmla="*/ 1633976 w 4510876"/>
              <a:gd name="connsiteY9" fmla="*/ 2 h 6852540"/>
              <a:gd name="connsiteX10" fmla="*/ 1696535 w 4510876"/>
              <a:gd name="connsiteY10" fmla="*/ 8479 h 6852540"/>
              <a:gd name="connsiteX11" fmla="*/ 1696535 w 4510876"/>
              <a:gd name="connsiteY11" fmla="*/ 8478 h 6852540"/>
              <a:gd name="connsiteX12" fmla="*/ 1633976 w 4510876"/>
              <a:gd name="connsiteY12" fmla="*/ 1 h 6852540"/>
              <a:gd name="connsiteX13" fmla="*/ 1106059 w 4510876"/>
              <a:gd name="connsiteY13" fmla="*/ 1 h 6852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510876" h="6852540">
                <a:moveTo>
                  <a:pt x="1106060" y="0"/>
                </a:moveTo>
                <a:lnTo>
                  <a:pt x="4510876" y="0"/>
                </a:lnTo>
                <a:lnTo>
                  <a:pt x="4510876" y="6852540"/>
                </a:lnTo>
                <a:lnTo>
                  <a:pt x="0" y="6852540"/>
                </a:lnTo>
                <a:lnTo>
                  <a:pt x="166006" y="5824052"/>
                </a:lnTo>
                <a:lnTo>
                  <a:pt x="924186" y="5824052"/>
                </a:lnTo>
                <a:lnTo>
                  <a:pt x="924186" y="5824051"/>
                </a:lnTo>
                <a:lnTo>
                  <a:pt x="166006" y="5824051"/>
                </a:lnTo>
                <a:lnTo>
                  <a:pt x="1106059" y="2"/>
                </a:lnTo>
                <a:lnTo>
                  <a:pt x="1633976" y="2"/>
                </a:lnTo>
                <a:lnTo>
                  <a:pt x="1696535" y="8479"/>
                </a:lnTo>
                <a:lnTo>
                  <a:pt x="1696535" y="8478"/>
                </a:lnTo>
                <a:lnTo>
                  <a:pt x="1633976" y="1"/>
                </a:lnTo>
                <a:lnTo>
                  <a:pt x="1106059" y="1"/>
                </a:lnTo>
                <a:close/>
              </a:path>
            </a:pathLst>
          </a:custGeom>
          <a:noFill/>
          <a:effectLst>
            <a:outerShdw blurRad="190500" dist="63500" dir="10800000" algn="r" rotWithShape="0">
              <a:prstClr val="black">
                <a:alpha val="40000"/>
              </a:prstClr>
            </a:outerShdw>
          </a:effectLst>
        </p:spPr>
      </p:pic>
      <p:sp>
        <p:nvSpPr>
          <p:cNvPr id="9" name="Freeform 8">
            <a:extLst>
              <a:ext uri="{FF2B5EF4-FFF2-40B4-BE49-F238E27FC236}">
                <a16:creationId xmlns:a16="http://schemas.microsoft.com/office/drawing/2014/main" id="{FA439B9D-4ABB-F9CD-BAA4-095D6A45A25A}"/>
              </a:ext>
            </a:extLst>
          </p:cNvPr>
          <p:cNvSpPr/>
          <p:nvPr/>
        </p:nvSpPr>
        <p:spPr>
          <a:xfrm>
            <a:off x="5771651" y="0"/>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a:solidFill>
                  <a:schemeClr val="accent1"/>
                </a:solidFill>
              </a:defRPr>
            </a:lvl1pPr>
          </a:lstStyle>
          <a:p>
            <a:r>
              <a:rPr lang="en-US"/>
              <a:t>Click to edit Master title style</a:t>
            </a:r>
            <a:endParaRPr lang="en-AE"/>
          </a:p>
        </p:txBody>
      </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grpSp>
        <p:nvGrpSpPr>
          <p:cNvPr id="2" name="Graphic 2">
            <a:extLst>
              <a:ext uri="{FF2B5EF4-FFF2-40B4-BE49-F238E27FC236}">
                <a16:creationId xmlns:a16="http://schemas.microsoft.com/office/drawing/2014/main" id="{D420AA29-6925-0E75-DE4F-A5A616C94784}"/>
              </a:ext>
            </a:extLst>
          </p:cNvPr>
          <p:cNvGrpSpPr>
            <a:grpSpLocks noChangeAspect="1"/>
          </p:cNvGrpSpPr>
          <p:nvPr/>
        </p:nvGrpSpPr>
        <p:grpSpPr>
          <a:xfrm>
            <a:off x="4804" y="2"/>
            <a:ext cx="468178" cy="756000"/>
            <a:chOff x="4425584" y="267785"/>
            <a:chExt cx="2950814" cy="4756864"/>
          </a:xfrm>
          <a:solidFill>
            <a:schemeClr val="accent1"/>
          </a:solidFill>
        </p:grpSpPr>
        <p:grpSp>
          <p:nvGrpSpPr>
            <p:cNvPr id="5" name="Graphic 2">
              <a:extLst>
                <a:ext uri="{FF2B5EF4-FFF2-40B4-BE49-F238E27FC236}">
                  <a16:creationId xmlns:a16="http://schemas.microsoft.com/office/drawing/2014/main" id="{C9D8BEF9-9DBE-8FFC-8289-14C491245EBC}"/>
                </a:ext>
              </a:extLst>
            </p:cNvPr>
            <p:cNvGrpSpPr/>
            <p:nvPr/>
          </p:nvGrpSpPr>
          <p:grpSpPr>
            <a:xfrm>
              <a:off x="5720269" y="2764575"/>
              <a:ext cx="1656129" cy="1882392"/>
              <a:chOff x="5720269" y="2764575"/>
              <a:chExt cx="1656129" cy="1882392"/>
            </a:xfrm>
            <a:solidFill>
              <a:schemeClr val="accent1"/>
            </a:solidFill>
          </p:grpSpPr>
          <p:grpSp>
            <p:nvGrpSpPr>
              <p:cNvPr id="8" name="Graphic 2">
                <a:extLst>
                  <a:ext uri="{FF2B5EF4-FFF2-40B4-BE49-F238E27FC236}">
                    <a16:creationId xmlns:a16="http://schemas.microsoft.com/office/drawing/2014/main" id="{21AD1B06-0F25-3DC0-8526-59F58BDC5D62}"/>
                  </a:ext>
                </a:extLst>
              </p:cNvPr>
              <p:cNvGrpSpPr/>
              <p:nvPr/>
            </p:nvGrpSpPr>
            <p:grpSpPr>
              <a:xfrm>
                <a:off x="5720269" y="2764575"/>
                <a:ext cx="1656129" cy="1882392"/>
                <a:chOff x="5720269" y="2764575"/>
                <a:chExt cx="1656129" cy="1882392"/>
              </a:xfrm>
              <a:solidFill>
                <a:srgbClr val="00A099"/>
              </a:solidFill>
            </p:grpSpPr>
            <p:sp>
              <p:nvSpPr>
                <p:cNvPr id="16" name="Freeform 75">
                  <a:extLst>
                    <a:ext uri="{FF2B5EF4-FFF2-40B4-BE49-F238E27FC236}">
                      <a16:creationId xmlns:a16="http://schemas.microsoft.com/office/drawing/2014/main" id="{79E325DC-6730-7E23-0246-28AB11E344A6}"/>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6">
                  <a:extLst>
                    <a:ext uri="{FF2B5EF4-FFF2-40B4-BE49-F238E27FC236}">
                      <a16:creationId xmlns:a16="http://schemas.microsoft.com/office/drawing/2014/main" id="{7F51C4D8-905E-8172-A517-7449054E6138}"/>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7">
                  <a:extLst>
                    <a:ext uri="{FF2B5EF4-FFF2-40B4-BE49-F238E27FC236}">
                      <a16:creationId xmlns:a16="http://schemas.microsoft.com/office/drawing/2014/main" id="{84971D66-E563-74ED-ED65-B08F2EEFBF9F}"/>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0" name="Freeform 72">
                <a:extLst>
                  <a:ext uri="{FF2B5EF4-FFF2-40B4-BE49-F238E27FC236}">
                    <a16:creationId xmlns:a16="http://schemas.microsoft.com/office/drawing/2014/main" id="{1AACB546-8E11-EEAF-C0D5-1D2389009E42}"/>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1" name="Freeform 73">
                <a:extLst>
                  <a:ext uri="{FF2B5EF4-FFF2-40B4-BE49-F238E27FC236}">
                    <a16:creationId xmlns:a16="http://schemas.microsoft.com/office/drawing/2014/main" id="{FF81A8C1-1CBE-EE9E-8411-BD0B73402478}"/>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4">
                <a:extLst>
                  <a:ext uri="{FF2B5EF4-FFF2-40B4-BE49-F238E27FC236}">
                    <a16:creationId xmlns:a16="http://schemas.microsoft.com/office/drawing/2014/main" id="{5874C1FF-2BEA-20C2-84B6-DA00D99691CE}"/>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6" name="Freeform 69">
              <a:extLst>
                <a:ext uri="{FF2B5EF4-FFF2-40B4-BE49-F238E27FC236}">
                  <a16:creationId xmlns:a16="http://schemas.microsoft.com/office/drawing/2014/main" id="{B3CF291B-2F1D-AC68-AFE3-703AE1A8286F}"/>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7" name="Freeform 70">
              <a:extLst>
                <a:ext uri="{FF2B5EF4-FFF2-40B4-BE49-F238E27FC236}">
                  <a16:creationId xmlns:a16="http://schemas.microsoft.com/office/drawing/2014/main" id="{4B03B834-EC1E-770E-3979-DB07510DD838}"/>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1456543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p:txBody>
          <a:bodyPr/>
          <a:lstStyle/>
          <a:p>
            <a:fld id="{46587C87-8FDD-4605-B89F-5662D8826220}" type="datetime1">
              <a:rPr lang="en-US" smtClean="0"/>
              <a:t>7/8/2024</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p>
            <a:endParaRPr lang="en-US" dirty="0"/>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521495" y="753627"/>
            <a:ext cx="8182891" cy="1205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05682036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19_Lunch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6343F83E-1A13-C075-21D4-CA54EC8457E1}"/>
              </a:ext>
            </a:extLst>
          </p:cNvPr>
          <p:cNvGraphicFramePr>
            <a:graphicFrameLocks noChangeAspect="1"/>
          </p:cNvGraphicFramePr>
          <p:nvPr>
            <p:custDataLst>
              <p:tags r:id="rId1"/>
            </p:custDataLst>
            <p:extLst>
              <p:ext uri="{D42A27DB-BD31-4B8C-83A1-F6EECF244321}">
                <p14:modId xmlns:p14="http://schemas.microsoft.com/office/powerpoint/2010/main" val="3031764292"/>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6343F83E-1A13-C075-21D4-CA54EC8457E1}"/>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20" name="Picture 19" descr="A group of people raising their hands&#10;&#10;Description automatically generated">
            <a:extLst>
              <a:ext uri="{FF2B5EF4-FFF2-40B4-BE49-F238E27FC236}">
                <a16:creationId xmlns:a16="http://schemas.microsoft.com/office/drawing/2014/main" id="{5DB2EADE-3520-D1BC-5EB4-C08ED7CAF3C3}"/>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888" y="0"/>
            <a:ext cx="9144000" cy="5148519"/>
          </a:xfrm>
          <a:prstGeom prst="rect">
            <a:avLst/>
          </a:prstGeom>
        </p:spPr>
      </p:pic>
      <p:pic>
        <p:nvPicPr>
          <p:cNvPr id="10" name="Picture 9" descr="A group of people raising their hands&#10;&#10;Description automatically generated">
            <a:extLst>
              <a:ext uri="{FF2B5EF4-FFF2-40B4-BE49-F238E27FC236}">
                <a16:creationId xmlns:a16="http://schemas.microsoft.com/office/drawing/2014/main" id="{C0639A6D-5603-F1B8-1C01-F33F579004B0}"/>
              </a:ext>
            </a:extLst>
          </p:cNvPr>
          <p:cNvPicPr>
            <a:picLocks noChangeAspect="1"/>
          </p:cNvPicPr>
          <p:nvPr/>
        </p:nvPicPr>
        <p:blipFill>
          <a:blip r:embed="rId6">
            <a:extLst>
              <a:ext uri="{BEBA8EAE-BF5A-486C-A8C5-ECC9F3942E4B}">
                <a14:imgProps xmlns:a14="http://schemas.microsoft.com/office/drawing/2010/main">
                  <a14:imgLayer r:embed="rId7">
                    <a14:imgEffect>
                      <a14:artisticBlur radius="40"/>
                    </a14:imgEffect>
                  </a14:imgLayer>
                </a14:imgProps>
              </a:ext>
              <a:ext uri="{28A0092B-C50C-407E-A947-70E740481C1C}">
                <a14:useLocalDpi xmlns:a14="http://schemas.microsoft.com/office/drawing/2010/main" val="0"/>
              </a:ext>
            </a:extLst>
          </a:blip>
          <a:srcRect l="62806" r="131" b="50"/>
          <a:stretch>
            <a:fillRect/>
          </a:stretch>
        </p:blipFill>
        <p:spPr>
          <a:xfrm>
            <a:off x="5742976" y="0"/>
            <a:ext cx="3389017" cy="5145940"/>
          </a:xfrm>
          <a:custGeom>
            <a:avLst/>
            <a:gdLst>
              <a:gd name="connsiteX0" fmla="*/ 830601 w 3389017"/>
              <a:gd name="connsiteY0" fmla="*/ 0 h 5145940"/>
              <a:gd name="connsiteX1" fmla="*/ 3389017 w 3389017"/>
              <a:gd name="connsiteY1" fmla="*/ 0 h 5145940"/>
              <a:gd name="connsiteX2" fmla="*/ 3389017 w 3389017"/>
              <a:gd name="connsiteY2" fmla="*/ 5145940 h 5145940"/>
              <a:gd name="connsiteX3" fmla="*/ 422868 w 3389017"/>
              <a:gd name="connsiteY3" fmla="*/ 5145940 h 5145940"/>
              <a:gd name="connsiteX4" fmla="*/ 426404 w 3389017"/>
              <a:gd name="connsiteY4" fmla="*/ 5143692 h 5145940"/>
              <a:gd name="connsiteX5" fmla="*/ 426403 w 3389017"/>
              <a:gd name="connsiteY5" fmla="*/ 5143692 h 5145940"/>
              <a:gd name="connsiteX6" fmla="*/ 422867 w 3389017"/>
              <a:gd name="connsiteY6" fmla="*/ 5145940 h 5145940"/>
              <a:gd name="connsiteX7" fmla="*/ 0 w 3389017"/>
              <a:gd name="connsiteY7" fmla="*/ 5145940 h 5145940"/>
              <a:gd name="connsiteX8" fmla="*/ 125560 w 3389017"/>
              <a:gd name="connsiteY8" fmla="*/ 4368039 h 5145940"/>
              <a:gd name="connsiteX9" fmla="*/ 694195 w 3389017"/>
              <a:gd name="connsiteY9" fmla="*/ 4368039 h 5145940"/>
              <a:gd name="connsiteX10" fmla="*/ 694195 w 3389017"/>
              <a:gd name="connsiteY10" fmla="*/ 4368039 h 5145940"/>
              <a:gd name="connsiteX11" fmla="*/ 125560 w 3389017"/>
              <a:gd name="connsiteY11" fmla="*/ 4368039 h 5145940"/>
              <a:gd name="connsiteX12" fmla="*/ 830600 w 3389017"/>
              <a:gd name="connsiteY12" fmla="*/ 2 h 5145940"/>
              <a:gd name="connsiteX13" fmla="*/ 1226538 w 3389017"/>
              <a:gd name="connsiteY13" fmla="*/ 2 h 5145940"/>
              <a:gd name="connsiteX14" fmla="*/ 1273457 w 3389017"/>
              <a:gd name="connsiteY14" fmla="*/ 6359 h 5145940"/>
              <a:gd name="connsiteX15" fmla="*/ 1273457 w 3389017"/>
              <a:gd name="connsiteY15" fmla="*/ 6359 h 5145940"/>
              <a:gd name="connsiteX16" fmla="*/ 1226538 w 3389017"/>
              <a:gd name="connsiteY16" fmla="*/ 1 h 5145940"/>
              <a:gd name="connsiteX17" fmla="*/ 830600 w 3389017"/>
              <a:gd name="connsiteY17" fmla="*/ 1 h 5145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389017" h="5145940">
                <a:moveTo>
                  <a:pt x="830601" y="0"/>
                </a:moveTo>
                <a:lnTo>
                  <a:pt x="3389017" y="0"/>
                </a:lnTo>
                <a:lnTo>
                  <a:pt x="3389017" y="5145940"/>
                </a:lnTo>
                <a:lnTo>
                  <a:pt x="422868" y="5145940"/>
                </a:lnTo>
                <a:lnTo>
                  <a:pt x="426404" y="5143692"/>
                </a:lnTo>
                <a:lnTo>
                  <a:pt x="426403" y="5143692"/>
                </a:lnTo>
                <a:lnTo>
                  <a:pt x="422867" y="5145940"/>
                </a:lnTo>
                <a:lnTo>
                  <a:pt x="0" y="5145940"/>
                </a:lnTo>
                <a:lnTo>
                  <a:pt x="125560" y="4368039"/>
                </a:lnTo>
                <a:lnTo>
                  <a:pt x="694195" y="4368039"/>
                </a:lnTo>
                <a:lnTo>
                  <a:pt x="694195" y="4368039"/>
                </a:lnTo>
                <a:lnTo>
                  <a:pt x="125560" y="4368039"/>
                </a:lnTo>
                <a:lnTo>
                  <a:pt x="830600" y="2"/>
                </a:lnTo>
                <a:lnTo>
                  <a:pt x="1226538" y="2"/>
                </a:lnTo>
                <a:lnTo>
                  <a:pt x="1273457" y="6359"/>
                </a:lnTo>
                <a:lnTo>
                  <a:pt x="1273457" y="6359"/>
                </a:lnTo>
                <a:lnTo>
                  <a:pt x="1226538" y="1"/>
                </a:lnTo>
                <a:lnTo>
                  <a:pt x="830600" y="1"/>
                </a:lnTo>
                <a:close/>
              </a:path>
            </a:pathLst>
          </a:custGeom>
          <a:effectLst>
            <a:outerShdw blurRad="190500" dist="63500" dir="8100000" algn="tr" rotWithShape="0">
              <a:schemeClr val="bg2">
                <a:lumMod val="10000"/>
                <a:alpha val="40000"/>
              </a:schemeClr>
            </a:outerShdw>
          </a:effectLst>
        </p:spPr>
      </p:pic>
      <p:sp>
        <p:nvSpPr>
          <p:cNvPr id="34" name="Freeform 8">
            <a:extLst>
              <a:ext uri="{FF2B5EF4-FFF2-40B4-BE49-F238E27FC236}">
                <a16:creationId xmlns:a16="http://schemas.microsoft.com/office/drawing/2014/main" id="{C37462B5-4CED-C305-4CDB-14F6167A0C31}"/>
              </a:ext>
            </a:extLst>
          </p:cNvPr>
          <p:cNvSpPr/>
          <p:nvPr/>
        </p:nvSpPr>
        <p:spPr>
          <a:xfrm>
            <a:off x="5750095" y="0"/>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26"/>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a:solidFill>
                  <a:schemeClr val="accent1"/>
                </a:solidFill>
              </a:defRPr>
            </a:lvl1pPr>
          </a:lstStyle>
          <a:p>
            <a:r>
              <a:rPr lang="en-US"/>
              <a:t>Click to edit Master title style</a:t>
            </a:r>
            <a:endParaRPr lang="en-AE"/>
          </a:p>
        </p:txBody>
      </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grpSp>
        <p:nvGrpSpPr>
          <p:cNvPr id="3" name="Graphic 2">
            <a:extLst>
              <a:ext uri="{FF2B5EF4-FFF2-40B4-BE49-F238E27FC236}">
                <a16:creationId xmlns:a16="http://schemas.microsoft.com/office/drawing/2014/main" id="{B6F0F40F-7A87-0641-28D2-4431CEB66947}"/>
              </a:ext>
            </a:extLst>
          </p:cNvPr>
          <p:cNvGrpSpPr>
            <a:grpSpLocks noChangeAspect="1"/>
          </p:cNvGrpSpPr>
          <p:nvPr/>
        </p:nvGrpSpPr>
        <p:grpSpPr>
          <a:xfrm>
            <a:off x="4804" y="2"/>
            <a:ext cx="468178" cy="756000"/>
            <a:chOff x="4425584" y="267785"/>
            <a:chExt cx="2950814" cy="4756864"/>
          </a:xfrm>
          <a:solidFill>
            <a:schemeClr val="accent1"/>
          </a:solidFill>
        </p:grpSpPr>
        <p:grpSp>
          <p:nvGrpSpPr>
            <p:cNvPr id="5" name="Graphic 2">
              <a:extLst>
                <a:ext uri="{FF2B5EF4-FFF2-40B4-BE49-F238E27FC236}">
                  <a16:creationId xmlns:a16="http://schemas.microsoft.com/office/drawing/2014/main" id="{4E49D8C3-DDEA-2C22-B47C-BFC8033C1761}"/>
                </a:ext>
              </a:extLst>
            </p:cNvPr>
            <p:cNvGrpSpPr/>
            <p:nvPr/>
          </p:nvGrpSpPr>
          <p:grpSpPr>
            <a:xfrm>
              <a:off x="5720269" y="2764575"/>
              <a:ext cx="1656129" cy="1882392"/>
              <a:chOff x="5720269" y="2764575"/>
              <a:chExt cx="1656129" cy="1882392"/>
            </a:xfrm>
            <a:solidFill>
              <a:schemeClr val="accent1"/>
            </a:solidFill>
          </p:grpSpPr>
          <p:grpSp>
            <p:nvGrpSpPr>
              <p:cNvPr id="22" name="Graphic 2">
                <a:extLst>
                  <a:ext uri="{FF2B5EF4-FFF2-40B4-BE49-F238E27FC236}">
                    <a16:creationId xmlns:a16="http://schemas.microsoft.com/office/drawing/2014/main" id="{5534C0B5-22DA-A3B5-C1A4-0DE5B42AF158}"/>
                  </a:ext>
                </a:extLst>
              </p:cNvPr>
              <p:cNvGrpSpPr/>
              <p:nvPr/>
            </p:nvGrpSpPr>
            <p:grpSpPr>
              <a:xfrm>
                <a:off x="5720269" y="2764575"/>
                <a:ext cx="1656129" cy="1882392"/>
                <a:chOff x="5720269" y="2764575"/>
                <a:chExt cx="1656129" cy="1882392"/>
              </a:xfrm>
              <a:solidFill>
                <a:srgbClr val="00A099"/>
              </a:solidFill>
            </p:grpSpPr>
            <p:sp>
              <p:nvSpPr>
                <p:cNvPr id="26" name="Freeform 75">
                  <a:extLst>
                    <a:ext uri="{FF2B5EF4-FFF2-40B4-BE49-F238E27FC236}">
                      <a16:creationId xmlns:a16="http://schemas.microsoft.com/office/drawing/2014/main" id="{7D8FCA43-C761-7ED2-5A67-2FEE67FE6883}"/>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Freeform 76">
                  <a:extLst>
                    <a:ext uri="{FF2B5EF4-FFF2-40B4-BE49-F238E27FC236}">
                      <a16:creationId xmlns:a16="http://schemas.microsoft.com/office/drawing/2014/main" id="{35590C9A-A0E2-9C66-D4AD-BBD006B75E87}"/>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8" name="Freeform 77">
                  <a:extLst>
                    <a:ext uri="{FF2B5EF4-FFF2-40B4-BE49-F238E27FC236}">
                      <a16:creationId xmlns:a16="http://schemas.microsoft.com/office/drawing/2014/main" id="{95383C3C-5688-DF10-E26C-3962D1EFF7E4}"/>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23" name="Freeform 72">
                <a:extLst>
                  <a:ext uri="{FF2B5EF4-FFF2-40B4-BE49-F238E27FC236}">
                    <a16:creationId xmlns:a16="http://schemas.microsoft.com/office/drawing/2014/main" id="{5F6E6026-D933-A4B4-4D20-B3B53064F74B}"/>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4" name="Freeform 73">
                <a:extLst>
                  <a:ext uri="{FF2B5EF4-FFF2-40B4-BE49-F238E27FC236}">
                    <a16:creationId xmlns:a16="http://schemas.microsoft.com/office/drawing/2014/main" id="{631D5994-75A2-B42D-3A2E-29E65495AD9D}"/>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5" name="Freeform 74">
                <a:extLst>
                  <a:ext uri="{FF2B5EF4-FFF2-40B4-BE49-F238E27FC236}">
                    <a16:creationId xmlns:a16="http://schemas.microsoft.com/office/drawing/2014/main" id="{30E8F12F-612A-5834-767F-5F1A6DEAF142}"/>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9" name="Freeform 69">
              <a:extLst>
                <a:ext uri="{FF2B5EF4-FFF2-40B4-BE49-F238E27FC236}">
                  <a16:creationId xmlns:a16="http://schemas.microsoft.com/office/drawing/2014/main" id="{8415BC24-B0C8-EF69-7972-2C7748FA2B7B}"/>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1" name="Freeform 70">
              <a:extLst>
                <a:ext uri="{FF2B5EF4-FFF2-40B4-BE49-F238E27FC236}">
                  <a16:creationId xmlns:a16="http://schemas.microsoft.com/office/drawing/2014/main" id="{CBE03CB9-BD69-FD9B-0EFD-8C56D17F313B}"/>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2802137076"/>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18_Lunch slide">
    <p:bg>
      <p:bgPr>
        <a:blipFill dpi="0" rotWithShape="1">
          <a:blip r:embed="rId3">
            <a:alphaModFix amt="51000"/>
            <a:lum/>
          </a:blip>
          <a:srcRect/>
          <a:stretch>
            <a:fillRect t="-9000" b="-9000"/>
          </a:stretch>
        </a:blip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6343F83E-1A13-C075-21D4-CA54EC8457E1}"/>
              </a:ext>
            </a:extLst>
          </p:cNvPr>
          <p:cNvGraphicFramePr>
            <a:graphicFrameLocks noChangeAspect="1"/>
          </p:cNvGraphicFramePr>
          <p:nvPr>
            <p:custDataLst>
              <p:tags r:id="rId1"/>
            </p:custDataLst>
            <p:extLst>
              <p:ext uri="{D42A27DB-BD31-4B8C-83A1-F6EECF244321}">
                <p14:modId xmlns:p14="http://schemas.microsoft.com/office/powerpoint/2010/main" val="709139642"/>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think-cell data - do not delete" hidden="1">
                        <a:extLst>
                          <a:ext uri="{FF2B5EF4-FFF2-40B4-BE49-F238E27FC236}">
                            <a16:creationId xmlns:a16="http://schemas.microsoft.com/office/drawing/2014/main" id="{6343F83E-1A13-C075-21D4-CA54EC8457E1}"/>
                          </a:ext>
                        </a:extLst>
                      </p:cNvPr>
                      <p:cNvPicPr/>
                      <p:nvPr/>
                    </p:nvPicPr>
                    <p:blipFill>
                      <a:blip r:embed="rId5"/>
                      <a:stretch>
                        <a:fillRect/>
                      </a:stretch>
                    </p:blipFill>
                    <p:spPr>
                      <a:xfrm>
                        <a:off x="1192" y="1192"/>
                        <a:ext cx="920" cy="1191"/>
                      </a:xfrm>
                      <a:prstGeom prst="rect">
                        <a:avLst/>
                      </a:prstGeom>
                    </p:spPr>
                  </p:pic>
                </p:oleObj>
              </mc:Fallback>
            </mc:AlternateContent>
          </a:graphicData>
        </a:graphic>
      </p:graphicFrame>
      <p:pic>
        <p:nvPicPr>
          <p:cNvPr id="5" name="Picture 4" descr="A person sitting at a desk writing on a pad&#10;&#10;Description automatically generated">
            <a:extLst>
              <a:ext uri="{FF2B5EF4-FFF2-40B4-BE49-F238E27FC236}">
                <a16:creationId xmlns:a16="http://schemas.microsoft.com/office/drawing/2014/main" id="{5E04A05E-C9DB-E76C-54AB-A6DB377D2DCC}"/>
              </a:ext>
            </a:extLst>
          </p:cNvPr>
          <p:cNvPicPr>
            <a:picLocks noChangeAspect="1"/>
          </p:cNvPicPr>
          <p:nvPr/>
        </p:nvPicPr>
        <p:blipFill rotWithShape="1">
          <a:blip r:embed="rId6">
            <a:extLst>
              <a:ext uri="{28A0092B-C50C-407E-A947-70E740481C1C}">
                <a14:useLocalDpi xmlns:a14="http://schemas.microsoft.com/office/drawing/2010/main" val="0"/>
              </a:ext>
            </a:extLst>
          </a:blip>
          <a:srcRect b="15686"/>
          <a:stretch/>
        </p:blipFill>
        <p:spPr>
          <a:xfrm flipH="1">
            <a:off x="-1" y="1"/>
            <a:ext cx="9148805" cy="5142476"/>
          </a:xfrm>
          <a:prstGeom prst="rect">
            <a:avLst/>
          </a:prstGeom>
        </p:spPr>
      </p:pic>
      <p:grpSp>
        <p:nvGrpSpPr>
          <p:cNvPr id="2" name="Graphic 2">
            <a:extLst>
              <a:ext uri="{FF2B5EF4-FFF2-40B4-BE49-F238E27FC236}">
                <a16:creationId xmlns:a16="http://schemas.microsoft.com/office/drawing/2014/main" id="{D9E79B20-714C-1EAE-7A8C-0344666771CC}"/>
              </a:ext>
            </a:extLst>
          </p:cNvPr>
          <p:cNvGrpSpPr>
            <a:grpSpLocks noChangeAspect="1"/>
          </p:cNvGrpSpPr>
          <p:nvPr/>
        </p:nvGrpSpPr>
        <p:grpSpPr>
          <a:xfrm>
            <a:off x="4804" y="2"/>
            <a:ext cx="468178" cy="756000"/>
            <a:chOff x="4425584" y="267785"/>
            <a:chExt cx="2950814" cy="4756864"/>
          </a:xfrm>
          <a:solidFill>
            <a:schemeClr val="accent1"/>
          </a:solidFill>
        </p:grpSpPr>
        <p:grpSp>
          <p:nvGrpSpPr>
            <p:cNvPr id="3" name="Graphic 2">
              <a:extLst>
                <a:ext uri="{FF2B5EF4-FFF2-40B4-BE49-F238E27FC236}">
                  <a16:creationId xmlns:a16="http://schemas.microsoft.com/office/drawing/2014/main" id="{3C62B50B-A51D-CE83-D50B-A7E0E2297FDB}"/>
                </a:ext>
              </a:extLst>
            </p:cNvPr>
            <p:cNvGrpSpPr/>
            <p:nvPr/>
          </p:nvGrpSpPr>
          <p:grpSpPr>
            <a:xfrm>
              <a:off x="5720269" y="2764575"/>
              <a:ext cx="1656129" cy="1882392"/>
              <a:chOff x="5720269" y="2764575"/>
              <a:chExt cx="1656129" cy="1882392"/>
            </a:xfrm>
            <a:solidFill>
              <a:schemeClr val="accent1"/>
            </a:solidFill>
          </p:grpSpPr>
          <p:grpSp>
            <p:nvGrpSpPr>
              <p:cNvPr id="8" name="Graphic 2">
                <a:extLst>
                  <a:ext uri="{FF2B5EF4-FFF2-40B4-BE49-F238E27FC236}">
                    <a16:creationId xmlns:a16="http://schemas.microsoft.com/office/drawing/2014/main" id="{D8972664-3F3D-6A33-1CB2-13E6C1FF4D66}"/>
                  </a:ext>
                </a:extLst>
              </p:cNvPr>
              <p:cNvGrpSpPr/>
              <p:nvPr/>
            </p:nvGrpSpPr>
            <p:grpSpPr>
              <a:xfrm>
                <a:off x="5720269" y="2764575"/>
                <a:ext cx="1656129" cy="1882392"/>
                <a:chOff x="5720269" y="2764575"/>
                <a:chExt cx="1656129" cy="1882392"/>
              </a:xfrm>
              <a:solidFill>
                <a:srgbClr val="00A099"/>
              </a:solidFill>
            </p:grpSpPr>
            <p:sp>
              <p:nvSpPr>
                <p:cNvPr id="15" name="Freeform 75">
                  <a:extLst>
                    <a:ext uri="{FF2B5EF4-FFF2-40B4-BE49-F238E27FC236}">
                      <a16:creationId xmlns:a16="http://schemas.microsoft.com/office/drawing/2014/main" id="{50B08370-8E57-DD69-FADF-4A6892A5CF67}"/>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Freeform 76">
                  <a:extLst>
                    <a:ext uri="{FF2B5EF4-FFF2-40B4-BE49-F238E27FC236}">
                      <a16:creationId xmlns:a16="http://schemas.microsoft.com/office/drawing/2014/main" id="{6AABF3E5-D7D4-F272-B20C-A4A646A3894D}"/>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7">
                  <a:extLst>
                    <a:ext uri="{FF2B5EF4-FFF2-40B4-BE49-F238E27FC236}">
                      <a16:creationId xmlns:a16="http://schemas.microsoft.com/office/drawing/2014/main" id="{6CDB33DC-327F-9102-AFA3-DC7612DD3AB8}"/>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0" name="Freeform 72">
                <a:extLst>
                  <a:ext uri="{FF2B5EF4-FFF2-40B4-BE49-F238E27FC236}">
                    <a16:creationId xmlns:a16="http://schemas.microsoft.com/office/drawing/2014/main" id="{4DFD4303-2053-547F-F51D-A1E57DB4C011}"/>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1" name="Freeform 73">
                <a:extLst>
                  <a:ext uri="{FF2B5EF4-FFF2-40B4-BE49-F238E27FC236}">
                    <a16:creationId xmlns:a16="http://schemas.microsoft.com/office/drawing/2014/main" id="{2B8ED043-4C6B-EECB-DA0D-9DF4A28B7CA0}"/>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4">
                <a:extLst>
                  <a:ext uri="{FF2B5EF4-FFF2-40B4-BE49-F238E27FC236}">
                    <a16:creationId xmlns:a16="http://schemas.microsoft.com/office/drawing/2014/main" id="{9343D19A-2DAF-32C0-8C73-93D69FAEBD4F}"/>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6" name="Freeform 69">
              <a:extLst>
                <a:ext uri="{FF2B5EF4-FFF2-40B4-BE49-F238E27FC236}">
                  <a16:creationId xmlns:a16="http://schemas.microsoft.com/office/drawing/2014/main" id="{8399F4B4-098E-4780-5538-66E1ACF70055}"/>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7" name="Freeform 70">
              <a:extLst>
                <a:ext uri="{FF2B5EF4-FFF2-40B4-BE49-F238E27FC236}">
                  <a16:creationId xmlns:a16="http://schemas.microsoft.com/office/drawing/2014/main" id="{38962A08-484B-B42F-E31B-099133D3D186}"/>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pic>
        <p:nvPicPr>
          <p:cNvPr id="19" name="Picture 18" descr="A person sitting at a desk writing on a pad&#10;&#10;Description automatically generated">
            <a:extLst>
              <a:ext uri="{FF2B5EF4-FFF2-40B4-BE49-F238E27FC236}">
                <a16:creationId xmlns:a16="http://schemas.microsoft.com/office/drawing/2014/main" id="{E58F1722-90F2-9860-EFD8-093E6D44E027}"/>
              </a:ext>
            </a:extLst>
          </p:cNvPr>
          <p:cNvPicPr>
            <a:picLocks noChangeAspect="1"/>
          </p:cNvPicPr>
          <p:nvPr/>
        </p:nvPicPr>
        <p:blipFill rotWithShape="1">
          <a:blip r:embed="rId7">
            <a:extLst>
              <a:ext uri="{BEBA8EAE-BF5A-486C-A8C5-ECC9F3942E4B}">
                <a14:imgProps xmlns:a14="http://schemas.microsoft.com/office/drawing/2010/main">
                  <a14:imgLayer r:embed="rId8">
                    <a14:imgEffect>
                      <a14:artisticBlur radius="40"/>
                    </a14:imgEffect>
                  </a14:imgLayer>
                </a14:imgProps>
              </a:ext>
              <a:ext uri="{28A0092B-C50C-407E-A947-70E740481C1C}">
                <a14:useLocalDpi xmlns:a14="http://schemas.microsoft.com/office/drawing/2010/main" val="0"/>
              </a:ext>
            </a:extLst>
          </a:blip>
          <a:srcRect l="53" r="62910" b="15686"/>
          <a:stretch/>
        </p:blipFill>
        <p:spPr>
          <a:xfrm flipH="1">
            <a:off x="5755542" y="0"/>
            <a:ext cx="3388458" cy="5142476"/>
          </a:xfrm>
          <a:custGeom>
            <a:avLst/>
            <a:gdLst>
              <a:gd name="connsiteX0" fmla="*/ 2558417 w 3388458"/>
              <a:gd name="connsiteY0" fmla="*/ 0 h 5142476"/>
              <a:gd name="connsiteX1" fmla="*/ 0 w 3388458"/>
              <a:gd name="connsiteY1" fmla="*/ 0 h 5142476"/>
              <a:gd name="connsiteX2" fmla="*/ 0 w 3388458"/>
              <a:gd name="connsiteY2" fmla="*/ 5142476 h 5142476"/>
              <a:gd name="connsiteX3" fmla="*/ 3388458 w 3388458"/>
              <a:gd name="connsiteY3" fmla="*/ 5142476 h 5142476"/>
              <a:gd name="connsiteX4" fmla="*/ 3263457 w 3388458"/>
              <a:gd name="connsiteY4" fmla="*/ 4368039 h 5142476"/>
              <a:gd name="connsiteX5" fmla="*/ 2694822 w 3388458"/>
              <a:gd name="connsiteY5" fmla="*/ 4368039 h 5142476"/>
              <a:gd name="connsiteX6" fmla="*/ 2694822 w 3388458"/>
              <a:gd name="connsiteY6" fmla="*/ 4368039 h 5142476"/>
              <a:gd name="connsiteX7" fmla="*/ 3263457 w 3388458"/>
              <a:gd name="connsiteY7" fmla="*/ 4368039 h 5142476"/>
              <a:gd name="connsiteX8" fmla="*/ 2558418 w 3388458"/>
              <a:gd name="connsiteY8" fmla="*/ 2 h 5142476"/>
              <a:gd name="connsiteX9" fmla="*/ 2162480 w 3388458"/>
              <a:gd name="connsiteY9" fmla="*/ 2 h 5142476"/>
              <a:gd name="connsiteX10" fmla="*/ 2115561 w 3388458"/>
              <a:gd name="connsiteY10" fmla="*/ 6359 h 5142476"/>
              <a:gd name="connsiteX11" fmla="*/ 2115561 w 3388458"/>
              <a:gd name="connsiteY11" fmla="*/ 6359 h 5142476"/>
              <a:gd name="connsiteX12" fmla="*/ 2162480 w 3388458"/>
              <a:gd name="connsiteY12" fmla="*/ 1 h 5142476"/>
              <a:gd name="connsiteX13" fmla="*/ 2558418 w 3388458"/>
              <a:gd name="connsiteY13" fmla="*/ 1 h 51424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388458" h="5142476">
                <a:moveTo>
                  <a:pt x="2558417" y="0"/>
                </a:moveTo>
                <a:lnTo>
                  <a:pt x="0" y="0"/>
                </a:lnTo>
                <a:lnTo>
                  <a:pt x="0" y="5142476"/>
                </a:lnTo>
                <a:lnTo>
                  <a:pt x="3388458" y="5142476"/>
                </a:lnTo>
                <a:lnTo>
                  <a:pt x="3263457" y="4368039"/>
                </a:lnTo>
                <a:lnTo>
                  <a:pt x="2694822" y="4368039"/>
                </a:lnTo>
                <a:lnTo>
                  <a:pt x="2694822" y="4368039"/>
                </a:lnTo>
                <a:lnTo>
                  <a:pt x="3263457" y="4368039"/>
                </a:lnTo>
                <a:lnTo>
                  <a:pt x="2558418" y="2"/>
                </a:lnTo>
                <a:lnTo>
                  <a:pt x="2162480" y="2"/>
                </a:lnTo>
                <a:lnTo>
                  <a:pt x="2115561" y="6359"/>
                </a:lnTo>
                <a:lnTo>
                  <a:pt x="2115561" y="6359"/>
                </a:lnTo>
                <a:lnTo>
                  <a:pt x="2162480" y="1"/>
                </a:lnTo>
                <a:lnTo>
                  <a:pt x="2558418" y="1"/>
                </a:lnTo>
                <a:close/>
              </a:path>
            </a:pathLst>
          </a:custGeom>
          <a:effectLst>
            <a:outerShdw blurRad="190500" dist="63500" dir="8100000" algn="tr" rotWithShape="0">
              <a:prstClr val="black">
                <a:alpha val="40000"/>
              </a:prstClr>
            </a:outerShdw>
          </a:effectLst>
        </p:spPr>
      </p:pic>
      <p:sp>
        <p:nvSpPr>
          <p:cNvPr id="20" name="Freeform 8">
            <a:extLst>
              <a:ext uri="{FF2B5EF4-FFF2-40B4-BE49-F238E27FC236}">
                <a16:creationId xmlns:a16="http://schemas.microsoft.com/office/drawing/2014/main" id="{4EFF3DBF-D35A-3D50-22DD-188E297BF246}"/>
              </a:ext>
            </a:extLst>
          </p:cNvPr>
          <p:cNvSpPr/>
          <p:nvPr/>
        </p:nvSpPr>
        <p:spPr>
          <a:xfrm>
            <a:off x="5757023" y="0"/>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b="0">
                <a:solidFill>
                  <a:schemeClr val="accent1"/>
                </a:solidFill>
              </a:defRPr>
            </a:lvl1pPr>
          </a:lstStyle>
          <a:p>
            <a:r>
              <a:rPr lang="en-US"/>
              <a:t>Click to edit Master title style</a:t>
            </a:r>
            <a:endParaRPr lang="en-AE"/>
          </a:p>
        </p:txBody>
      </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02760134"/>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3_Lunch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3568BEAE-D7DE-CBE6-1914-19CE660E7DA6}"/>
              </a:ext>
            </a:extLst>
          </p:cNvPr>
          <p:cNvGraphicFramePr>
            <a:graphicFrameLocks noChangeAspect="1"/>
          </p:cNvGraphicFramePr>
          <p:nvPr>
            <p:custDataLst>
              <p:tags r:id="rId1"/>
            </p:custDataLst>
            <p:extLst>
              <p:ext uri="{D42A27DB-BD31-4B8C-83A1-F6EECF244321}">
                <p14:modId xmlns:p14="http://schemas.microsoft.com/office/powerpoint/2010/main" val="961617768"/>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3568BEAE-D7DE-CBE6-1914-19CE660E7DA6}"/>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2" name="Picture Placeholder 14">
            <a:extLst>
              <a:ext uri="{FF2B5EF4-FFF2-40B4-BE49-F238E27FC236}">
                <a16:creationId xmlns:a16="http://schemas.microsoft.com/office/drawing/2014/main" id="{DE3BCB63-9553-BF0C-3735-50DEB09D6E4D}"/>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a:xfrm>
            <a:off x="-4889" y="-2727"/>
            <a:ext cx="9153693" cy="5148952"/>
          </a:xfrm>
          <a:prstGeom prst="rect">
            <a:avLst/>
          </a:prstGeom>
          <a:noFill/>
        </p:spPr>
      </p:pic>
      <p:pic>
        <p:nvPicPr>
          <p:cNvPr id="7" name="Picture 6">
            <a:extLst>
              <a:ext uri="{FF2B5EF4-FFF2-40B4-BE49-F238E27FC236}">
                <a16:creationId xmlns:a16="http://schemas.microsoft.com/office/drawing/2014/main" id="{B0B4D884-F04B-DBC9-EFC5-B5AD9571D443}"/>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30"/>
                    </a14:imgEffect>
                  </a14:imgLayer>
                </a14:imgProps>
              </a:ext>
              <a:ext uri="{28A0092B-C50C-407E-A947-70E740481C1C}">
                <a14:useLocalDpi xmlns:a14="http://schemas.microsoft.com/office/drawing/2010/main"/>
              </a:ext>
            </a:extLst>
          </a:blip>
          <a:srcRect t="-126"/>
          <a:stretch/>
        </p:blipFill>
        <p:spPr>
          <a:xfrm>
            <a:off x="5759872" y="1"/>
            <a:ext cx="3384128" cy="5142476"/>
          </a:xfrm>
          <a:custGeom>
            <a:avLst/>
            <a:gdLst>
              <a:gd name="connsiteX0" fmla="*/ 1105105 w 4512171"/>
              <a:gd name="connsiteY0" fmla="*/ 0 h 6846621"/>
              <a:gd name="connsiteX1" fmla="*/ 4512171 w 4512171"/>
              <a:gd name="connsiteY1" fmla="*/ 0 h 6846621"/>
              <a:gd name="connsiteX2" fmla="*/ 4512171 w 4512171"/>
              <a:gd name="connsiteY2" fmla="*/ 6846621 h 6846621"/>
              <a:gd name="connsiteX3" fmla="*/ 563823 w 4512171"/>
              <a:gd name="connsiteY3" fmla="*/ 6846621 h 6846621"/>
              <a:gd name="connsiteX4" fmla="*/ 568538 w 4512171"/>
              <a:gd name="connsiteY4" fmla="*/ 6843623 h 6846621"/>
              <a:gd name="connsiteX5" fmla="*/ 568537 w 4512171"/>
              <a:gd name="connsiteY5" fmla="*/ 6843623 h 6846621"/>
              <a:gd name="connsiteX6" fmla="*/ 563822 w 4512171"/>
              <a:gd name="connsiteY6" fmla="*/ 6846621 h 6846621"/>
              <a:gd name="connsiteX7" fmla="*/ 0 w 4512171"/>
              <a:gd name="connsiteY7" fmla="*/ 6846621 h 6846621"/>
              <a:gd name="connsiteX8" fmla="*/ 167413 w 4512171"/>
              <a:gd name="connsiteY8" fmla="*/ 5809420 h 6846621"/>
              <a:gd name="connsiteX9" fmla="*/ 925593 w 4512171"/>
              <a:gd name="connsiteY9" fmla="*/ 5809420 h 6846621"/>
              <a:gd name="connsiteX10" fmla="*/ 925593 w 4512171"/>
              <a:gd name="connsiteY10" fmla="*/ 5809419 h 6846621"/>
              <a:gd name="connsiteX11" fmla="*/ 167413 w 4512171"/>
              <a:gd name="connsiteY11" fmla="*/ 5809419 h 6846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512171" h="6846621">
                <a:moveTo>
                  <a:pt x="1105105" y="0"/>
                </a:moveTo>
                <a:lnTo>
                  <a:pt x="4512171" y="0"/>
                </a:lnTo>
                <a:lnTo>
                  <a:pt x="4512171" y="6846621"/>
                </a:lnTo>
                <a:lnTo>
                  <a:pt x="563823" y="6846621"/>
                </a:lnTo>
                <a:lnTo>
                  <a:pt x="568538" y="6843623"/>
                </a:lnTo>
                <a:lnTo>
                  <a:pt x="568537" y="6843623"/>
                </a:lnTo>
                <a:lnTo>
                  <a:pt x="563822" y="6846621"/>
                </a:lnTo>
                <a:lnTo>
                  <a:pt x="0" y="6846621"/>
                </a:lnTo>
                <a:lnTo>
                  <a:pt x="167413" y="5809420"/>
                </a:lnTo>
                <a:lnTo>
                  <a:pt x="925593" y="5809420"/>
                </a:lnTo>
                <a:lnTo>
                  <a:pt x="925593" y="5809419"/>
                </a:lnTo>
                <a:lnTo>
                  <a:pt x="167413" y="5809419"/>
                </a:lnTo>
                <a:close/>
              </a:path>
            </a:pathLst>
          </a:custGeom>
          <a:noFill/>
          <a:effectLst>
            <a:outerShdw blurRad="190500" dist="63500" dir="10800000" algn="r" rotWithShape="0">
              <a:prstClr val="black">
                <a:alpha val="40000"/>
              </a:prstClr>
            </a:outerShdw>
          </a:effectLst>
        </p:spPr>
      </p:pic>
      <p:sp>
        <p:nvSpPr>
          <p:cNvPr id="9" name="Freeform 8">
            <a:extLst>
              <a:ext uri="{FF2B5EF4-FFF2-40B4-BE49-F238E27FC236}">
                <a16:creationId xmlns:a16="http://schemas.microsoft.com/office/drawing/2014/main" id="{FA439B9D-4ABB-F9CD-BAA4-095D6A45A25A}"/>
              </a:ext>
            </a:extLst>
          </p:cNvPr>
          <p:cNvSpPr/>
          <p:nvPr/>
        </p:nvSpPr>
        <p:spPr>
          <a:xfrm>
            <a:off x="5754984" y="0"/>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b="0">
                <a:solidFill>
                  <a:schemeClr val="accent1"/>
                </a:solidFill>
              </a:defRPr>
            </a:lvl1pPr>
          </a:lstStyle>
          <a:p>
            <a:r>
              <a:rPr lang="en-US"/>
              <a:t>Click to edit Master title style</a:t>
            </a:r>
            <a:endParaRPr lang="en-AE"/>
          </a:p>
        </p:txBody>
      </p:sp>
      <p:grpSp>
        <p:nvGrpSpPr>
          <p:cNvPr id="3" name="Graphic 2">
            <a:extLst>
              <a:ext uri="{FF2B5EF4-FFF2-40B4-BE49-F238E27FC236}">
                <a16:creationId xmlns:a16="http://schemas.microsoft.com/office/drawing/2014/main" id="{754C49C1-8AA7-0F1F-BDD2-D20FCD5EFE55}"/>
              </a:ext>
            </a:extLst>
          </p:cNvPr>
          <p:cNvGrpSpPr>
            <a:grpSpLocks noChangeAspect="1"/>
          </p:cNvGrpSpPr>
          <p:nvPr/>
        </p:nvGrpSpPr>
        <p:grpSpPr>
          <a:xfrm>
            <a:off x="4804" y="2"/>
            <a:ext cx="468178" cy="756000"/>
            <a:chOff x="4425584" y="267785"/>
            <a:chExt cx="2950814" cy="4756864"/>
          </a:xfrm>
          <a:solidFill>
            <a:schemeClr val="accent1"/>
          </a:solidFill>
        </p:grpSpPr>
        <p:grpSp>
          <p:nvGrpSpPr>
            <p:cNvPr id="5" name="Graphic 2">
              <a:extLst>
                <a:ext uri="{FF2B5EF4-FFF2-40B4-BE49-F238E27FC236}">
                  <a16:creationId xmlns:a16="http://schemas.microsoft.com/office/drawing/2014/main" id="{95A21216-ED13-9A75-4FCA-41458F1B4208}"/>
                </a:ext>
              </a:extLst>
            </p:cNvPr>
            <p:cNvGrpSpPr/>
            <p:nvPr/>
          </p:nvGrpSpPr>
          <p:grpSpPr>
            <a:xfrm>
              <a:off x="5720269" y="2764575"/>
              <a:ext cx="1656129" cy="1882392"/>
              <a:chOff x="5720269" y="2764575"/>
              <a:chExt cx="1656129" cy="1882392"/>
            </a:xfrm>
            <a:solidFill>
              <a:schemeClr val="accent1"/>
            </a:solidFill>
          </p:grpSpPr>
          <p:grpSp>
            <p:nvGrpSpPr>
              <p:cNvPr id="10" name="Graphic 2">
                <a:extLst>
                  <a:ext uri="{FF2B5EF4-FFF2-40B4-BE49-F238E27FC236}">
                    <a16:creationId xmlns:a16="http://schemas.microsoft.com/office/drawing/2014/main" id="{529C4750-0D70-9A2B-CCBC-6F21FCEE45D3}"/>
                  </a:ext>
                </a:extLst>
              </p:cNvPr>
              <p:cNvGrpSpPr/>
              <p:nvPr/>
            </p:nvGrpSpPr>
            <p:grpSpPr>
              <a:xfrm>
                <a:off x="5720269" y="2764575"/>
                <a:ext cx="1656129" cy="1882392"/>
                <a:chOff x="5720269" y="2764575"/>
                <a:chExt cx="1656129" cy="1882392"/>
              </a:xfrm>
              <a:solidFill>
                <a:srgbClr val="00A099"/>
              </a:solidFill>
            </p:grpSpPr>
            <p:sp>
              <p:nvSpPr>
                <p:cNvPr id="16" name="Freeform 75">
                  <a:extLst>
                    <a:ext uri="{FF2B5EF4-FFF2-40B4-BE49-F238E27FC236}">
                      <a16:creationId xmlns:a16="http://schemas.microsoft.com/office/drawing/2014/main" id="{F5420FF3-6ECF-592C-9FFF-9EA3F12E618B}"/>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6">
                  <a:extLst>
                    <a:ext uri="{FF2B5EF4-FFF2-40B4-BE49-F238E27FC236}">
                      <a16:creationId xmlns:a16="http://schemas.microsoft.com/office/drawing/2014/main" id="{05A1EC57-8130-ECEA-8EA2-E1B71B53345E}"/>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7">
                  <a:extLst>
                    <a:ext uri="{FF2B5EF4-FFF2-40B4-BE49-F238E27FC236}">
                      <a16:creationId xmlns:a16="http://schemas.microsoft.com/office/drawing/2014/main" id="{7010A060-8C35-0A17-6A5F-11FA1E877719}"/>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1" name="Freeform 72">
                <a:extLst>
                  <a:ext uri="{FF2B5EF4-FFF2-40B4-BE49-F238E27FC236}">
                    <a16:creationId xmlns:a16="http://schemas.microsoft.com/office/drawing/2014/main" id="{C2B15FCE-EE3A-F834-536C-2549FD0CFEB7}"/>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3">
                <a:extLst>
                  <a:ext uri="{FF2B5EF4-FFF2-40B4-BE49-F238E27FC236}">
                    <a16:creationId xmlns:a16="http://schemas.microsoft.com/office/drawing/2014/main" id="{1134AF12-4BC8-54C2-26AD-EB2B1E3CC4DC}"/>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4">
                <a:extLst>
                  <a:ext uri="{FF2B5EF4-FFF2-40B4-BE49-F238E27FC236}">
                    <a16:creationId xmlns:a16="http://schemas.microsoft.com/office/drawing/2014/main" id="{47002E28-7B97-0FEA-16ED-BEB9CCF0F2CB}"/>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6" name="Freeform 69">
              <a:extLst>
                <a:ext uri="{FF2B5EF4-FFF2-40B4-BE49-F238E27FC236}">
                  <a16:creationId xmlns:a16="http://schemas.microsoft.com/office/drawing/2014/main" id="{F9F8651F-4ED1-03A2-5830-4D981C923467}"/>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8" name="Freeform 70">
              <a:extLst>
                <a:ext uri="{FF2B5EF4-FFF2-40B4-BE49-F238E27FC236}">
                  <a16:creationId xmlns:a16="http://schemas.microsoft.com/office/drawing/2014/main" id="{69900B49-A9F5-061C-E96B-BA60DCDB487A}"/>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3443122446"/>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4_Lunch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5E2C11C0-6426-DFDF-852F-24881F59EC81}"/>
              </a:ext>
            </a:extLst>
          </p:cNvPr>
          <p:cNvGraphicFramePr>
            <a:graphicFrameLocks noChangeAspect="1"/>
          </p:cNvGraphicFramePr>
          <p:nvPr>
            <p:custDataLst>
              <p:tags r:id="rId1"/>
            </p:custDataLst>
            <p:extLst>
              <p:ext uri="{D42A27DB-BD31-4B8C-83A1-F6EECF244321}">
                <p14:modId xmlns:p14="http://schemas.microsoft.com/office/powerpoint/2010/main" val="526069012"/>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5E2C11C0-6426-DFDF-852F-24881F59EC81}"/>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3" name="Picture Placeholder 14">
            <a:extLst>
              <a:ext uri="{FF2B5EF4-FFF2-40B4-BE49-F238E27FC236}">
                <a16:creationId xmlns:a16="http://schemas.microsoft.com/office/drawing/2014/main" id="{584B5DF4-86BD-4202-1277-BA2E5965C37E}"/>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0" y="0"/>
            <a:ext cx="9144000" cy="5143500"/>
          </a:xfrm>
          <a:prstGeom prst="rect">
            <a:avLst/>
          </a:prstGeom>
          <a:noFill/>
        </p:spPr>
      </p:pic>
      <p:pic>
        <p:nvPicPr>
          <p:cNvPr id="6" name="Picture 5">
            <a:extLst>
              <a:ext uri="{FF2B5EF4-FFF2-40B4-BE49-F238E27FC236}">
                <a16:creationId xmlns:a16="http://schemas.microsoft.com/office/drawing/2014/main" id="{3233FA53-EEF8-0122-15A9-EC14690F4E38}"/>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20"/>
                    </a14:imgEffect>
                  </a14:imgLayer>
                </a14:imgProps>
              </a:ext>
              <a:ext uri="{28A0092B-C50C-407E-A947-70E740481C1C}">
                <a14:useLocalDpi xmlns:a14="http://schemas.microsoft.com/office/drawing/2010/main"/>
              </a:ext>
            </a:extLst>
          </a:blip>
          <a:srcRect/>
          <a:stretch/>
        </p:blipFill>
        <p:spPr>
          <a:xfrm>
            <a:off x="5759986" y="0"/>
            <a:ext cx="3379127" cy="5143500"/>
          </a:xfrm>
          <a:custGeom>
            <a:avLst/>
            <a:gdLst>
              <a:gd name="connsiteX0" fmla="*/ 1106941 w 4505502"/>
              <a:gd name="connsiteY0" fmla="*/ 0 h 6858000"/>
              <a:gd name="connsiteX1" fmla="*/ 1647112 w 4505502"/>
              <a:gd name="connsiteY1" fmla="*/ 0 h 6858000"/>
              <a:gd name="connsiteX2" fmla="*/ 1697679 w 4505502"/>
              <a:gd name="connsiteY2" fmla="*/ 6852 h 6858000"/>
              <a:gd name="connsiteX3" fmla="*/ 1697679 w 4505502"/>
              <a:gd name="connsiteY3" fmla="*/ 6851 h 6858000"/>
              <a:gd name="connsiteX4" fmla="*/ 1647120 w 4505502"/>
              <a:gd name="connsiteY4" fmla="*/ 0 h 6858000"/>
              <a:gd name="connsiteX5" fmla="*/ 4505502 w 4505502"/>
              <a:gd name="connsiteY5" fmla="*/ 0 h 6858000"/>
              <a:gd name="connsiteX6" fmla="*/ 4505502 w 4505502"/>
              <a:gd name="connsiteY6" fmla="*/ 6858000 h 6858000"/>
              <a:gd name="connsiteX7" fmla="*/ 566118 w 4505502"/>
              <a:gd name="connsiteY7" fmla="*/ 6858000 h 6858000"/>
              <a:gd name="connsiteX8" fmla="*/ 568275 w 4505502"/>
              <a:gd name="connsiteY8" fmla="*/ 6856628 h 6858000"/>
              <a:gd name="connsiteX9" fmla="*/ 568274 w 4505502"/>
              <a:gd name="connsiteY9" fmla="*/ 6856628 h 6858000"/>
              <a:gd name="connsiteX10" fmla="*/ 566117 w 4505502"/>
              <a:gd name="connsiteY10" fmla="*/ 6858000 h 6858000"/>
              <a:gd name="connsiteX11" fmla="*/ 0 w 4505502"/>
              <a:gd name="connsiteY11" fmla="*/ 6858000 h 6858000"/>
              <a:gd name="connsiteX12" fmla="*/ 167150 w 4505502"/>
              <a:gd name="connsiteY12" fmla="*/ 5822425 h 6858000"/>
              <a:gd name="connsiteX13" fmla="*/ 925330 w 4505502"/>
              <a:gd name="connsiteY13" fmla="*/ 5822425 h 6858000"/>
              <a:gd name="connsiteX14" fmla="*/ 925330 w 4505502"/>
              <a:gd name="connsiteY14" fmla="*/ 5822424 h 6858000"/>
              <a:gd name="connsiteX15" fmla="*/ 167150 w 4505502"/>
              <a:gd name="connsiteY15" fmla="*/ 5822424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505502" h="6858000">
                <a:moveTo>
                  <a:pt x="1106941" y="0"/>
                </a:moveTo>
                <a:lnTo>
                  <a:pt x="1647112" y="0"/>
                </a:lnTo>
                <a:lnTo>
                  <a:pt x="1697679" y="6852"/>
                </a:lnTo>
                <a:lnTo>
                  <a:pt x="1697679" y="6851"/>
                </a:lnTo>
                <a:lnTo>
                  <a:pt x="1647120" y="0"/>
                </a:lnTo>
                <a:lnTo>
                  <a:pt x="4505502" y="0"/>
                </a:lnTo>
                <a:lnTo>
                  <a:pt x="4505502" y="6858000"/>
                </a:lnTo>
                <a:lnTo>
                  <a:pt x="566118" y="6858000"/>
                </a:lnTo>
                <a:lnTo>
                  <a:pt x="568275" y="6856628"/>
                </a:lnTo>
                <a:lnTo>
                  <a:pt x="568274" y="6856628"/>
                </a:lnTo>
                <a:lnTo>
                  <a:pt x="566117" y="6858000"/>
                </a:lnTo>
                <a:lnTo>
                  <a:pt x="0" y="6858000"/>
                </a:lnTo>
                <a:lnTo>
                  <a:pt x="167150" y="5822425"/>
                </a:lnTo>
                <a:lnTo>
                  <a:pt x="925330" y="5822425"/>
                </a:lnTo>
                <a:lnTo>
                  <a:pt x="925330" y="5822424"/>
                </a:lnTo>
                <a:lnTo>
                  <a:pt x="167150" y="5822424"/>
                </a:lnTo>
                <a:close/>
              </a:path>
            </a:pathLst>
          </a:custGeom>
          <a:noFill/>
          <a:effectLst>
            <a:outerShdw blurRad="190500" dist="63500" dir="10800000" algn="r" rotWithShape="0">
              <a:prstClr val="black">
                <a:alpha val="40000"/>
              </a:prstClr>
            </a:outerShdw>
          </a:effectLst>
        </p:spPr>
      </p:pic>
      <p:sp>
        <p:nvSpPr>
          <p:cNvPr id="9" name="Freeform 8">
            <a:extLst>
              <a:ext uri="{FF2B5EF4-FFF2-40B4-BE49-F238E27FC236}">
                <a16:creationId xmlns:a16="http://schemas.microsoft.com/office/drawing/2014/main" id="{FA439B9D-4ABB-F9CD-BAA4-095D6A45A25A}"/>
              </a:ext>
            </a:extLst>
          </p:cNvPr>
          <p:cNvSpPr/>
          <p:nvPr/>
        </p:nvSpPr>
        <p:spPr>
          <a:xfrm>
            <a:off x="5759789" y="-1220"/>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b="0">
                <a:solidFill>
                  <a:schemeClr val="accent1"/>
                </a:solidFill>
              </a:defRPr>
            </a:lvl1pPr>
          </a:lstStyle>
          <a:p>
            <a:r>
              <a:rPr lang="en-US"/>
              <a:t>Click to edit Master title style</a:t>
            </a:r>
            <a:endParaRPr lang="en-AE"/>
          </a:p>
        </p:txBody>
      </p:sp>
      <p:grpSp>
        <p:nvGrpSpPr>
          <p:cNvPr id="2" name="Graphic 2">
            <a:extLst>
              <a:ext uri="{FF2B5EF4-FFF2-40B4-BE49-F238E27FC236}">
                <a16:creationId xmlns:a16="http://schemas.microsoft.com/office/drawing/2014/main" id="{7CABED26-7966-83BC-CD38-D0FA0ED64687}"/>
              </a:ext>
            </a:extLst>
          </p:cNvPr>
          <p:cNvGrpSpPr>
            <a:grpSpLocks noChangeAspect="1"/>
          </p:cNvGrpSpPr>
          <p:nvPr/>
        </p:nvGrpSpPr>
        <p:grpSpPr>
          <a:xfrm>
            <a:off x="4804" y="2"/>
            <a:ext cx="468178" cy="756000"/>
            <a:chOff x="4425584" y="267785"/>
            <a:chExt cx="2950814" cy="4756864"/>
          </a:xfrm>
          <a:solidFill>
            <a:schemeClr val="accent1"/>
          </a:solidFill>
        </p:grpSpPr>
        <p:grpSp>
          <p:nvGrpSpPr>
            <p:cNvPr id="5" name="Graphic 2">
              <a:extLst>
                <a:ext uri="{FF2B5EF4-FFF2-40B4-BE49-F238E27FC236}">
                  <a16:creationId xmlns:a16="http://schemas.microsoft.com/office/drawing/2014/main" id="{239349BB-20C6-BC4C-ED58-815C227C7286}"/>
                </a:ext>
              </a:extLst>
            </p:cNvPr>
            <p:cNvGrpSpPr/>
            <p:nvPr/>
          </p:nvGrpSpPr>
          <p:grpSpPr>
            <a:xfrm>
              <a:off x="5720269" y="2764575"/>
              <a:ext cx="1656129" cy="1882392"/>
              <a:chOff x="5720269" y="2764575"/>
              <a:chExt cx="1656129" cy="1882392"/>
            </a:xfrm>
            <a:solidFill>
              <a:schemeClr val="accent1"/>
            </a:solidFill>
          </p:grpSpPr>
          <p:grpSp>
            <p:nvGrpSpPr>
              <p:cNvPr id="10" name="Graphic 2">
                <a:extLst>
                  <a:ext uri="{FF2B5EF4-FFF2-40B4-BE49-F238E27FC236}">
                    <a16:creationId xmlns:a16="http://schemas.microsoft.com/office/drawing/2014/main" id="{6C330FD3-37BA-1C25-3EE2-09801A8DD612}"/>
                  </a:ext>
                </a:extLst>
              </p:cNvPr>
              <p:cNvGrpSpPr/>
              <p:nvPr/>
            </p:nvGrpSpPr>
            <p:grpSpPr>
              <a:xfrm>
                <a:off x="5720269" y="2764575"/>
                <a:ext cx="1656129" cy="1882392"/>
                <a:chOff x="5720269" y="2764575"/>
                <a:chExt cx="1656129" cy="1882392"/>
              </a:xfrm>
              <a:solidFill>
                <a:srgbClr val="00A099"/>
              </a:solidFill>
            </p:grpSpPr>
            <p:sp>
              <p:nvSpPr>
                <p:cNvPr id="16" name="Freeform 75">
                  <a:extLst>
                    <a:ext uri="{FF2B5EF4-FFF2-40B4-BE49-F238E27FC236}">
                      <a16:creationId xmlns:a16="http://schemas.microsoft.com/office/drawing/2014/main" id="{59E18091-2FC9-C880-98E1-E9A70B90594A}"/>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6">
                  <a:extLst>
                    <a:ext uri="{FF2B5EF4-FFF2-40B4-BE49-F238E27FC236}">
                      <a16:creationId xmlns:a16="http://schemas.microsoft.com/office/drawing/2014/main" id="{6255805A-685D-617D-2708-C3174AF447CE}"/>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7">
                  <a:extLst>
                    <a:ext uri="{FF2B5EF4-FFF2-40B4-BE49-F238E27FC236}">
                      <a16:creationId xmlns:a16="http://schemas.microsoft.com/office/drawing/2014/main" id="{E00EAD29-3933-B482-285C-895D8109346C}"/>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1" name="Freeform 72">
                <a:extLst>
                  <a:ext uri="{FF2B5EF4-FFF2-40B4-BE49-F238E27FC236}">
                    <a16:creationId xmlns:a16="http://schemas.microsoft.com/office/drawing/2014/main" id="{7E889D02-D7DA-90AC-0292-026985CAC566}"/>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3">
                <a:extLst>
                  <a:ext uri="{FF2B5EF4-FFF2-40B4-BE49-F238E27FC236}">
                    <a16:creationId xmlns:a16="http://schemas.microsoft.com/office/drawing/2014/main" id="{7C92E67A-B504-BBC0-F0D8-D0AF818B23FC}"/>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4">
                <a:extLst>
                  <a:ext uri="{FF2B5EF4-FFF2-40B4-BE49-F238E27FC236}">
                    <a16:creationId xmlns:a16="http://schemas.microsoft.com/office/drawing/2014/main" id="{D5E4B536-3123-2FEC-A986-FC6438E9783E}"/>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7" name="Freeform 69">
              <a:extLst>
                <a:ext uri="{FF2B5EF4-FFF2-40B4-BE49-F238E27FC236}">
                  <a16:creationId xmlns:a16="http://schemas.microsoft.com/office/drawing/2014/main" id="{FA6F6697-5756-A2CA-F234-E7871106B6C1}"/>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8" name="Freeform 70">
              <a:extLst>
                <a:ext uri="{FF2B5EF4-FFF2-40B4-BE49-F238E27FC236}">
                  <a16:creationId xmlns:a16="http://schemas.microsoft.com/office/drawing/2014/main" id="{202CD2B1-3C58-D197-3055-CC1B20A047FB}"/>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1624130036"/>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5_Lunch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8DA86ACB-53DD-D422-B321-A200D26EAF4F}"/>
              </a:ext>
            </a:extLst>
          </p:cNvPr>
          <p:cNvGraphicFramePr>
            <a:graphicFrameLocks noChangeAspect="1"/>
          </p:cNvGraphicFramePr>
          <p:nvPr>
            <p:custDataLst>
              <p:tags r:id="rId1"/>
            </p:custDataLst>
            <p:extLst>
              <p:ext uri="{D42A27DB-BD31-4B8C-83A1-F6EECF244321}">
                <p14:modId xmlns:p14="http://schemas.microsoft.com/office/powerpoint/2010/main" val="576603417"/>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8DA86ACB-53DD-D422-B321-A200D26EAF4F}"/>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3" name="Picture Placeholder 8">
            <a:extLst>
              <a:ext uri="{FF2B5EF4-FFF2-40B4-BE49-F238E27FC236}">
                <a16:creationId xmlns:a16="http://schemas.microsoft.com/office/drawing/2014/main" id="{34A8CF12-0BFB-864B-4D28-45305DDC96B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0" y="0"/>
            <a:ext cx="9144000" cy="5143500"/>
          </a:xfrm>
          <a:prstGeom prst="rect">
            <a:avLst/>
          </a:prstGeom>
        </p:spPr>
      </p:pic>
      <p:pic>
        <p:nvPicPr>
          <p:cNvPr id="20" name="Picture 19">
            <a:extLst>
              <a:ext uri="{FF2B5EF4-FFF2-40B4-BE49-F238E27FC236}">
                <a16:creationId xmlns:a16="http://schemas.microsoft.com/office/drawing/2014/main" id="{7C356C6E-B2B5-7A95-5A61-3DAF040F4DCB}"/>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20"/>
                    </a14:imgEffect>
                  </a14:imgLayer>
                </a14:imgProps>
              </a:ext>
              <a:ext uri="{28A0092B-C50C-407E-A947-70E740481C1C}">
                <a14:useLocalDpi xmlns:a14="http://schemas.microsoft.com/office/drawing/2010/main"/>
              </a:ext>
            </a:extLst>
          </a:blip>
          <a:srcRect/>
          <a:stretch/>
        </p:blipFill>
        <p:spPr>
          <a:xfrm>
            <a:off x="5760699" y="0"/>
            <a:ext cx="3383302" cy="5143500"/>
          </a:xfrm>
          <a:custGeom>
            <a:avLst/>
            <a:gdLst>
              <a:gd name="connsiteX0" fmla="*/ 1106941 w 4511069"/>
              <a:gd name="connsiteY0" fmla="*/ 0 h 6858000"/>
              <a:gd name="connsiteX1" fmla="*/ 1639262 w 4511069"/>
              <a:gd name="connsiteY1" fmla="*/ 0 h 6858000"/>
              <a:gd name="connsiteX2" fmla="*/ 1697511 w 4511069"/>
              <a:gd name="connsiteY2" fmla="*/ 7893 h 6858000"/>
              <a:gd name="connsiteX3" fmla="*/ 1697511 w 4511069"/>
              <a:gd name="connsiteY3" fmla="*/ 7892 h 6858000"/>
              <a:gd name="connsiteX4" fmla="*/ 1639269 w 4511069"/>
              <a:gd name="connsiteY4" fmla="*/ 0 h 6858000"/>
              <a:gd name="connsiteX5" fmla="*/ 4511069 w 4511069"/>
              <a:gd name="connsiteY5" fmla="*/ 0 h 6858000"/>
              <a:gd name="connsiteX6" fmla="*/ 4511069 w 4511069"/>
              <a:gd name="connsiteY6" fmla="*/ 6858000 h 6858000"/>
              <a:gd name="connsiteX7" fmla="*/ 567587 w 4511069"/>
              <a:gd name="connsiteY7" fmla="*/ 6858000 h 6858000"/>
              <a:gd name="connsiteX8" fmla="*/ 568107 w 4511069"/>
              <a:gd name="connsiteY8" fmla="*/ 6857669 h 6858000"/>
              <a:gd name="connsiteX9" fmla="*/ 568106 w 4511069"/>
              <a:gd name="connsiteY9" fmla="*/ 6857669 h 6858000"/>
              <a:gd name="connsiteX10" fmla="*/ 567586 w 4511069"/>
              <a:gd name="connsiteY10" fmla="*/ 6858000 h 6858000"/>
              <a:gd name="connsiteX11" fmla="*/ 0 w 4511069"/>
              <a:gd name="connsiteY11" fmla="*/ 6858000 h 6858000"/>
              <a:gd name="connsiteX12" fmla="*/ 166982 w 4511069"/>
              <a:gd name="connsiteY12" fmla="*/ 5823466 h 6858000"/>
              <a:gd name="connsiteX13" fmla="*/ 925162 w 4511069"/>
              <a:gd name="connsiteY13" fmla="*/ 5823466 h 6858000"/>
              <a:gd name="connsiteX14" fmla="*/ 925162 w 4511069"/>
              <a:gd name="connsiteY14" fmla="*/ 5823465 h 6858000"/>
              <a:gd name="connsiteX15" fmla="*/ 166982 w 4511069"/>
              <a:gd name="connsiteY15" fmla="*/ 5823465 h 6858000"/>
              <a:gd name="connsiteX16" fmla="*/ 1106941 w 4511069"/>
              <a:gd name="connsiteY1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511069" h="6858000">
                <a:moveTo>
                  <a:pt x="1106941" y="0"/>
                </a:moveTo>
                <a:lnTo>
                  <a:pt x="1639262" y="0"/>
                </a:lnTo>
                <a:lnTo>
                  <a:pt x="1697511" y="7893"/>
                </a:lnTo>
                <a:lnTo>
                  <a:pt x="1697511" y="7892"/>
                </a:lnTo>
                <a:lnTo>
                  <a:pt x="1639269" y="0"/>
                </a:lnTo>
                <a:lnTo>
                  <a:pt x="4511069" y="0"/>
                </a:lnTo>
                <a:lnTo>
                  <a:pt x="4511069" y="6858000"/>
                </a:lnTo>
                <a:lnTo>
                  <a:pt x="567587" y="6858000"/>
                </a:lnTo>
                <a:lnTo>
                  <a:pt x="568107" y="6857669"/>
                </a:lnTo>
                <a:lnTo>
                  <a:pt x="568106" y="6857669"/>
                </a:lnTo>
                <a:lnTo>
                  <a:pt x="567586" y="6858000"/>
                </a:lnTo>
                <a:lnTo>
                  <a:pt x="0" y="6858000"/>
                </a:lnTo>
                <a:lnTo>
                  <a:pt x="166982" y="5823466"/>
                </a:lnTo>
                <a:lnTo>
                  <a:pt x="925162" y="5823466"/>
                </a:lnTo>
                <a:lnTo>
                  <a:pt x="925162" y="5823465"/>
                </a:lnTo>
                <a:lnTo>
                  <a:pt x="166982" y="5823465"/>
                </a:lnTo>
                <a:lnTo>
                  <a:pt x="1106941" y="0"/>
                </a:lnTo>
                <a:close/>
              </a:path>
            </a:pathLst>
          </a:custGeom>
          <a:effectLst>
            <a:outerShdw blurRad="190500" dist="63500" dir="10800000" algn="r" rotWithShape="0">
              <a:prstClr val="black">
                <a:alpha val="40000"/>
              </a:prstClr>
            </a:outerShdw>
          </a:effectLst>
        </p:spPr>
      </p:pic>
      <p:sp>
        <p:nvSpPr>
          <p:cNvPr id="9" name="Freeform 8">
            <a:extLst>
              <a:ext uri="{FF2B5EF4-FFF2-40B4-BE49-F238E27FC236}">
                <a16:creationId xmlns:a16="http://schemas.microsoft.com/office/drawing/2014/main" id="{FA439B9D-4ABB-F9CD-BAA4-095D6A45A25A}"/>
              </a:ext>
            </a:extLst>
          </p:cNvPr>
          <p:cNvSpPr/>
          <p:nvPr/>
        </p:nvSpPr>
        <p:spPr>
          <a:xfrm>
            <a:off x="5759789" y="1025"/>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b="0">
                <a:solidFill>
                  <a:schemeClr val="accent1"/>
                </a:solidFill>
              </a:defRPr>
            </a:lvl1pPr>
          </a:lstStyle>
          <a:p>
            <a:r>
              <a:rPr lang="en-US"/>
              <a:t>Click to edit Master title style</a:t>
            </a:r>
            <a:endParaRPr lang="en-AE"/>
          </a:p>
        </p:txBody>
      </p:sp>
      <p:grpSp>
        <p:nvGrpSpPr>
          <p:cNvPr id="2" name="Graphic 2">
            <a:extLst>
              <a:ext uri="{FF2B5EF4-FFF2-40B4-BE49-F238E27FC236}">
                <a16:creationId xmlns:a16="http://schemas.microsoft.com/office/drawing/2014/main" id="{820144DC-C304-B32A-1CBF-DA4182FD900B}"/>
              </a:ext>
            </a:extLst>
          </p:cNvPr>
          <p:cNvGrpSpPr>
            <a:grpSpLocks noChangeAspect="1"/>
          </p:cNvGrpSpPr>
          <p:nvPr/>
        </p:nvGrpSpPr>
        <p:grpSpPr>
          <a:xfrm>
            <a:off x="4804" y="2"/>
            <a:ext cx="468178" cy="756000"/>
            <a:chOff x="4425584" y="267785"/>
            <a:chExt cx="2950814" cy="4756864"/>
          </a:xfrm>
          <a:solidFill>
            <a:schemeClr val="accent1"/>
          </a:solidFill>
        </p:grpSpPr>
        <p:grpSp>
          <p:nvGrpSpPr>
            <p:cNvPr id="5" name="Graphic 2">
              <a:extLst>
                <a:ext uri="{FF2B5EF4-FFF2-40B4-BE49-F238E27FC236}">
                  <a16:creationId xmlns:a16="http://schemas.microsoft.com/office/drawing/2014/main" id="{55029527-F74F-C5AB-91B9-18E81ACFCF52}"/>
                </a:ext>
              </a:extLst>
            </p:cNvPr>
            <p:cNvGrpSpPr/>
            <p:nvPr/>
          </p:nvGrpSpPr>
          <p:grpSpPr>
            <a:xfrm>
              <a:off x="5720269" y="2764575"/>
              <a:ext cx="1656129" cy="1882392"/>
              <a:chOff x="5720269" y="2764575"/>
              <a:chExt cx="1656129" cy="1882392"/>
            </a:xfrm>
            <a:solidFill>
              <a:schemeClr val="accent1"/>
            </a:solidFill>
          </p:grpSpPr>
          <p:grpSp>
            <p:nvGrpSpPr>
              <p:cNvPr id="8" name="Graphic 2">
                <a:extLst>
                  <a:ext uri="{FF2B5EF4-FFF2-40B4-BE49-F238E27FC236}">
                    <a16:creationId xmlns:a16="http://schemas.microsoft.com/office/drawing/2014/main" id="{B1EB0E71-2A88-117D-7FE5-296C8BB3E95C}"/>
                  </a:ext>
                </a:extLst>
              </p:cNvPr>
              <p:cNvGrpSpPr/>
              <p:nvPr/>
            </p:nvGrpSpPr>
            <p:grpSpPr>
              <a:xfrm>
                <a:off x="5720269" y="2764575"/>
                <a:ext cx="1656129" cy="1882392"/>
                <a:chOff x="5720269" y="2764575"/>
                <a:chExt cx="1656129" cy="1882392"/>
              </a:xfrm>
              <a:solidFill>
                <a:srgbClr val="00A099"/>
              </a:solidFill>
            </p:grpSpPr>
            <p:sp>
              <p:nvSpPr>
                <p:cNvPr id="15" name="Freeform 75">
                  <a:extLst>
                    <a:ext uri="{FF2B5EF4-FFF2-40B4-BE49-F238E27FC236}">
                      <a16:creationId xmlns:a16="http://schemas.microsoft.com/office/drawing/2014/main" id="{EBC0A3D5-B89F-E979-C021-6112BA917684}"/>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Freeform 76">
                  <a:extLst>
                    <a:ext uri="{FF2B5EF4-FFF2-40B4-BE49-F238E27FC236}">
                      <a16:creationId xmlns:a16="http://schemas.microsoft.com/office/drawing/2014/main" id="{B240B972-98D0-CFA5-5793-0B58568149E8}"/>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7">
                  <a:extLst>
                    <a:ext uri="{FF2B5EF4-FFF2-40B4-BE49-F238E27FC236}">
                      <a16:creationId xmlns:a16="http://schemas.microsoft.com/office/drawing/2014/main" id="{9B8D86FE-F15B-EA65-70CF-DAC426449208}"/>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0" name="Freeform 72">
                <a:extLst>
                  <a:ext uri="{FF2B5EF4-FFF2-40B4-BE49-F238E27FC236}">
                    <a16:creationId xmlns:a16="http://schemas.microsoft.com/office/drawing/2014/main" id="{7169D97B-1A2B-F9AB-A4A9-A42A92156498}"/>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1" name="Freeform 73">
                <a:extLst>
                  <a:ext uri="{FF2B5EF4-FFF2-40B4-BE49-F238E27FC236}">
                    <a16:creationId xmlns:a16="http://schemas.microsoft.com/office/drawing/2014/main" id="{669906C6-5F5D-C4F7-D241-51CEE1AD242C}"/>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4">
                <a:extLst>
                  <a:ext uri="{FF2B5EF4-FFF2-40B4-BE49-F238E27FC236}">
                    <a16:creationId xmlns:a16="http://schemas.microsoft.com/office/drawing/2014/main" id="{39700647-4829-986E-BBD3-5593D5B2DFA0}"/>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6" name="Freeform 69">
              <a:extLst>
                <a:ext uri="{FF2B5EF4-FFF2-40B4-BE49-F238E27FC236}">
                  <a16:creationId xmlns:a16="http://schemas.microsoft.com/office/drawing/2014/main" id="{DCC31620-3EE7-E5DF-60B2-68B569B435F6}"/>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7" name="Freeform 70">
              <a:extLst>
                <a:ext uri="{FF2B5EF4-FFF2-40B4-BE49-F238E27FC236}">
                  <a16:creationId xmlns:a16="http://schemas.microsoft.com/office/drawing/2014/main" id="{0DF1DE43-19D2-DE99-8F9A-0D8A4B095399}"/>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473890827"/>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12_Lunch slid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3DEBB819-B9E6-4DB5-669C-19A93CDAD22A}"/>
              </a:ext>
            </a:extLst>
          </p:cNvPr>
          <p:cNvGraphicFramePr>
            <a:graphicFrameLocks noChangeAspect="1"/>
          </p:cNvGraphicFramePr>
          <p:nvPr>
            <p:custDataLst>
              <p:tags r:id="rId1"/>
            </p:custDataLst>
            <p:extLst>
              <p:ext uri="{D42A27DB-BD31-4B8C-83A1-F6EECF244321}">
                <p14:modId xmlns:p14="http://schemas.microsoft.com/office/powerpoint/2010/main" val="71848322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3DEBB819-B9E6-4DB5-669C-19A93CDAD22A}"/>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2" name="Picture Placeholder 14">
            <a:extLst>
              <a:ext uri="{FF2B5EF4-FFF2-40B4-BE49-F238E27FC236}">
                <a16:creationId xmlns:a16="http://schemas.microsoft.com/office/drawing/2014/main" id="{EBB36352-569E-80FC-83C4-466A015D7651}"/>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0" y="0"/>
            <a:ext cx="9144000" cy="5143500"/>
          </a:xfrm>
          <a:prstGeom prst="rect">
            <a:avLst/>
          </a:prstGeom>
          <a:noFill/>
        </p:spPr>
      </p:pic>
      <p:pic>
        <p:nvPicPr>
          <p:cNvPr id="8" name="Picture 7">
            <a:extLst>
              <a:ext uri="{FF2B5EF4-FFF2-40B4-BE49-F238E27FC236}">
                <a16:creationId xmlns:a16="http://schemas.microsoft.com/office/drawing/2014/main" id="{BC993C79-BFCE-31FF-CBA8-7ED50119C0D3}"/>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20"/>
                    </a14:imgEffect>
                  </a14:imgLayer>
                </a14:imgProps>
              </a:ext>
              <a:ext uri="{28A0092B-C50C-407E-A947-70E740481C1C}">
                <a14:useLocalDpi xmlns:a14="http://schemas.microsoft.com/office/drawing/2010/main"/>
              </a:ext>
            </a:extLst>
          </a:blip>
          <a:srcRect/>
          <a:stretch/>
        </p:blipFill>
        <p:spPr>
          <a:xfrm>
            <a:off x="5755378" y="0"/>
            <a:ext cx="3388623" cy="5143500"/>
          </a:xfrm>
          <a:custGeom>
            <a:avLst/>
            <a:gdLst>
              <a:gd name="connsiteX0" fmla="*/ 1106942 w 4518164"/>
              <a:gd name="connsiteY0" fmla="*/ 0 h 6858000"/>
              <a:gd name="connsiteX1" fmla="*/ 4518164 w 4518164"/>
              <a:gd name="connsiteY1" fmla="*/ 0 h 6858000"/>
              <a:gd name="connsiteX2" fmla="*/ 4518164 w 4518164"/>
              <a:gd name="connsiteY2" fmla="*/ 6858000 h 6858000"/>
              <a:gd name="connsiteX3" fmla="*/ 0 w 4518164"/>
              <a:gd name="connsiteY3" fmla="*/ 6858000 h 6858000"/>
              <a:gd name="connsiteX4" fmla="*/ 166888 w 4518164"/>
              <a:gd name="connsiteY4" fmla="*/ 5824052 h 6858000"/>
              <a:gd name="connsiteX5" fmla="*/ 925068 w 4518164"/>
              <a:gd name="connsiteY5" fmla="*/ 5824052 h 6858000"/>
              <a:gd name="connsiteX6" fmla="*/ 925068 w 4518164"/>
              <a:gd name="connsiteY6" fmla="*/ 5824051 h 6858000"/>
              <a:gd name="connsiteX7" fmla="*/ 166888 w 4518164"/>
              <a:gd name="connsiteY7" fmla="*/ 5824051 h 6858000"/>
              <a:gd name="connsiteX8" fmla="*/ 1106941 w 4518164"/>
              <a:gd name="connsiteY8" fmla="*/ 2 h 6858000"/>
              <a:gd name="connsiteX9" fmla="*/ 1634858 w 4518164"/>
              <a:gd name="connsiteY9" fmla="*/ 2 h 6858000"/>
              <a:gd name="connsiteX10" fmla="*/ 1697417 w 4518164"/>
              <a:gd name="connsiteY10" fmla="*/ 8479 h 6858000"/>
              <a:gd name="connsiteX11" fmla="*/ 1697417 w 4518164"/>
              <a:gd name="connsiteY11" fmla="*/ 8478 h 6858000"/>
              <a:gd name="connsiteX12" fmla="*/ 1634858 w 4518164"/>
              <a:gd name="connsiteY12" fmla="*/ 1 h 6858000"/>
              <a:gd name="connsiteX13" fmla="*/ 1106941 w 4518164"/>
              <a:gd name="connsiteY13" fmla="*/ 1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518164" h="6858000">
                <a:moveTo>
                  <a:pt x="1106942" y="0"/>
                </a:moveTo>
                <a:lnTo>
                  <a:pt x="4518164" y="0"/>
                </a:lnTo>
                <a:lnTo>
                  <a:pt x="4518164" y="6858000"/>
                </a:lnTo>
                <a:lnTo>
                  <a:pt x="0" y="6858000"/>
                </a:lnTo>
                <a:lnTo>
                  <a:pt x="166888" y="5824052"/>
                </a:lnTo>
                <a:lnTo>
                  <a:pt x="925068" y="5824052"/>
                </a:lnTo>
                <a:lnTo>
                  <a:pt x="925068" y="5824051"/>
                </a:lnTo>
                <a:lnTo>
                  <a:pt x="166888" y="5824051"/>
                </a:lnTo>
                <a:lnTo>
                  <a:pt x="1106941" y="2"/>
                </a:lnTo>
                <a:lnTo>
                  <a:pt x="1634858" y="2"/>
                </a:lnTo>
                <a:lnTo>
                  <a:pt x="1697417" y="8479"/>
                </a:lnTo>
                <a:lnTo>
                  <a:pt x="1697417" y="8478"/>
                </a:lnTo>
                <a:lnTo>
                  <a:pt x="1634858" y="1"/>
                </a:lnTo>
                <a:lnTo>
                  <a:pt x="1106941" y="1"/>
                </a:lnTo>
                <a:close/>
              </a:path>
            </a:pathLst>
          </a:custGeom>
          <a:noFill/>
          <a:effectLst>
            <a:outerShdw blurRad="190500" dist="63500" dir="10800000" algn="r" rotWithShape="0">
              <a:srgbClr val="000000"/>
            </a:outerShdw>
          </a:effectLst>
        </p:spPr>
      </p:pic>
      <p:sp>
        <p:nvSpPr>
          <p:cNvPr id="9" name="Freeform 8">
            <a:extLst>
              <a:ext uri="{FF2B5EF4-FFF2-40B4-BE49-F238E27FC236}">
                <a16:creationId xmlns:a16="http://schemas.microsoft.com/office/drawing/2014/main" id="{FA439B9D-4ABB-F9CD-BAA4-095D6A45A25A}"/>
              </a:ext>
            </a:extLst>
          </p:cNvPr>
          <p:cNvSpPr/>
          <p:nvPr/>
        </p:nvSpPr>
        <p:spPr>
          <a:xfrm>
            <a:off x="5755378" y="1025"/>
            <a:ext cx="3393428"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accent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lgn="l">
              <a:defRPr sz="2400" b="0">
                <a:solidFill>
                  <a:schemeClr val="bg1"/>
                </a:solidFill>
              </a:defRPr>
            </a:lvl1pPr>
          </a:lstStyle>
          <a:p>
            <a:r>
              <a:rPr lang="en-US"/>
              <a:t>Click to edit Master title style</a:t>
            </a:r>
            <a:endParaRPr lang="en-AE"/>
          </a:p>
        </p:txBody>
      </p:sp>
      <p:grpSp>
        <p:nvGrpSpPr>
          <p:cNvPr id="3" name="Graphic 2">
            <a:extLst>
              <a:ext uri="{FF2B5EF4-FFF2-40B4-BE49-F238E27FC236}">
                <a16:creationId xmlns:a16="http://schemas.microsoft.com/office/drawing/2014/main" id="{E92E0EDF-0E5B-D679-E57D-ECE61D68542E}"/>
              </a:ext>
            </a:extLst>
          </p:cNvPr>
          <p:cNvGrpSpPr>
            <a:grpSpLocks noChangeAspect="1"/>
          </p:cNvGrpSpPr>
          <p:nvPr/>
        </p:nvGrpSpPr>
        <p:grpSpPr>
          <a:xfrm>
            <a:off x="4804" y="2"/>
            <a:ext cx="468178" cy="756000"/>
            <a:chOff x="4425584" y="267785"/>
            <a:chExt cx="2950814" cy="4756864"/>
          </a:xfrm>
          <a:solidFill>
            <a:schemeClr val="accent1"/>
          </a:solidFill>
        </p:grpSpPr>
        <p:grpSp>
          <p:nvGrpSpPr>
            <p:cNvPr id="4" name="Graphic 2">
              <a:extLst>
                <a:ext uri="{FF2B5EF4-FFF2-40B4-BE49-F238E27FC236}">
                  <a16:creationId xmlns:a16="http://schemas.microsoft.com/office/drawing/2014/main" id="{CC8C7BED-BE1A-BCD9-846E-90D1F0D07176}"/>
                </a:ext>
              </a:extLst>
            </p:cNvPr>
            <p:cNvGrpSpPr/>
            <p:nvPr/>
          </p:nvGrpSpPr>
          <p:grpSpPr>
            <a:xfrm>
              <a:off x="5720269" y="2764575"/>
              <a:ext cx="1656129" cy="1882392"/>
              <a:chOff x="5720269" y="2764575"/>
              <a:chExt cx="1656129" cy="1882392"/>
            </a:xfrm>
            <a:solidFill>
              <a:schemeClr val="accent1"/>
            </a:solidFill>
          </p:grpSpPr>
          <p:grpSp>
            <p:nvGrpSpPr>
              <p:cNvPr id="10" name="Graphic 2">
                <a:extLst>
                  <a:ext uri="{FF2B5EF4-FFF2-40B4-BE49-F238E27FC236}">
                    <a16:creationId xmlns:a16="http://schemas.microsoft.com/office/drawing/2014/main" id="{8E5EFA46-E019-218F-5055-1AEB65728389}"/>
                  </a:ext>
                </a:extLst>
              </p:cNvPr>
              <p:cNvGrpSpPr/>
              <p:nvPr/>
            </p:nvGrpSpPr>
            <p:grpSpPr>
              <a:xfrm>
                <a:off x="5720269" y="2764575"/>
                <a:ext cx="1656129" cy="1882392"/>
                <a:chOff x="5720269" y="2764575"/>
                <a:chExt cx="1656129" cy="1882392"/>
              </a:xfrm>
              <a:solidFill>
                <a:srgbClr val="00A099"/>
              </a:solidFill>
            </p:grpSpPr>
            <p:sp>
              <p:nvSpPr>
                <p:cNvPr id="16" name="Freeform 75">
                  <a:extLst>
                    <a:ext uri="{FF2B5EF4-FFF2-40B4-BE49-F238E27FC236}">
                      <a16:creationId xmlns:a16="http://schemas.microsoft.com/office/drawing/2014/main" id="{E1F0A470-F632-FB64-6AD9-866075D9D3C9}"/>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6">
                  <a:extLst>
                    <a:ext uri="{FF2B5EF4-FFF2-40B4-BE49-F238E27FC236}">
                      <a16:creationId xmlns:a16="http://schemas.microsoft.com/office/drawing/2014/main" id="{C8A75F81-731B-B4C1-04E8-6442226482E4}"/>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7">
                  <a:extLst>
                    <a:ext uri="{FF2B5EF4-FFF2-40B4-BE49-F238E27FC236}">
                      <a16:creationId xmlns:a16="http://schemas.microsoft.com/office/drawing/2014/main" id="{10ED8382-08CC-AF29-35AC-88E3ADBE4601}"/>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1" name="Freeform 72">
                <a:extLst>
                  <a:ext uri="{FF2B5EF4-FFF2-40B4-BE49-F238E27FC236}">
                    <a16:creationId xmlns:a16="http://schemas.microsoft.com/office/drawing/2014/main" id="{6A92BA1F-A7B8-B6C2-D52C-92944E47D709}"/>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3">
                <a:extLst>
                  <a:ext uri="{FF2B5EF4-FFF2-40B4-BE49-F238E27FC236}">
                    <a16:creationId xmlns:a16="http://schemas.microsoft.com/office/drawing/2014/main" id="{EA6D6A43-CC47-F289-81A1-50360EAECD36}"/>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4">
                <a:extLst>
                  <a:ext uri="{FF2B5EF4-FFF2-40B4-BE49-F238E27FC236}">
                    <a16:creationId xmlns:a16="http://schemas.microsoft.com/office/drawing/2014/main" id="{B3614373-E207-919A-880C-CB801347C982}"/>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6" name="Freeform 69">
              <a:extLst>
                <a:ext uri="{FF2B5EF4-FFF2-40B4-BE49-F238E27FC236}">
                  <a16:creationId xmlns:a16="http://schemas.microsoft.com/office/drawing/2014/main" id="{D4EF08F1-BF1E-7000-EE4B-E5CFCBD97D79}"/>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7" name="Freeform 70">
              <a:extLst>
                <a:ext uri="{FF2B5EF4-FFF2-40B4-BE49-F238E27FC236}">
                  <a16:creationId xmlns:a16="http://schemas.microsoft.com/office/drawing/2014/main" id="{21199E50-4DFF-463B-15B8-92BAFD0AF0B4}"/>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2756714544"/>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7_Lunch slide">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2B361D35-2BBC-923E-175B-2CDE95760283}"/>
              </a:ext>
            </a:extLst>
          </p:cNvPr>
          <p:cNvGraphicFramePr>
            <a:graphicFrameLocks noChangeAspect="1"/>
          </p:cNvGraphicFramePr>
          <p:nvPr>
            <p:custDataLst>
              <p:tags r:id="rId1"/>
            </p:custDataLst>
            <p:extLst>
              <p:ext uri="{D42A27DB-BD31-4B8C-83A1-F6EECF244321}">
                <p14:modId xmlns:p14="http://schemas.microsoft.com/office/powerpoint/2010/main" val="93760273"/>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2B361D35-2BBC-923E-175B-2CDE9576028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5" name="Picture 4" descr="A picture containing text, person&#10;&#10;Description automatically generated">
            <a:extLst>
              <a:ext uri="{FF2B5EF4-FFF2-40B4-BE49-F238E27FC236}">
                <a16:creationId xmlns:a16="http://schemas.microsoft.com/office/drawing/2014/main" id="{D1333C2C-02F8-B78B-30B3-65CCEB8A228B}"/>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1" y="0"/>
            <a:ext cx="9144001" cy="5143500"/>
          </a:xfrm>
          <a:prstGeom prst="rect">
            <a:avLst/>
          </a:prstGeom>
        </p:spPr>
      </p:pic>
      <p:pic>
        <p:nvPicPr>
          <p:cNvPr id="10" name="Picture 9" descr="A picture containing text, person&#10;&#10;Description automatically generated">
            <a:extLst>
              <a:ext uri="{FF2B5EF4-FFF2-40B4-BE49-F238E27FC236}">
                <a16:creationId xmlns:a16="http://schemas.microsoft.com/office/drawing/2014/main" id="{BF4B3445-CC71-1045-7F8C-D4A4676FCE77}"/>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30"/>
                    </a14:imgEffect>
                  </a14:imgLayer>
                </a14:imgProps>
              </a:ext>
              <a:ext uri="{28A0092B-C50C-407E-A947-70E740481C1C}">
                <a14:useLocalDpi xmlns:a14="http://schemas.microsoft.com/office/drawing/2010/main"/>
              </a:ext>
            </a:extLst>
          </a:blip>
          <a:srcRect/>
          <a:stretch/>
        </p:blipFill>
        <p:spPr>
          <a:xfrm>
            <a:off x="5755378" y="0"/>
            <a:ext cx="3388623" cy="5143500"/>
          </a:xfrm>
          <a:custGeom>
            <a:avLst/>
            <a:gdLst>
              <a:gd name="connsiteX0" fmla="*/ 1106942 w 4518164"/>
              <a:gd name="connsiteY0" fmla="*/ 0 h 6858000"/>
              <a:gd name="connsiteX1" fmla="*/ 4518164 w 4518164"/>
              <a:gd name="connsiteY1" fmla="*/ 0 h 6858000"/>
              <a:gd name="connsiteX2" fmla="*/ 4518164 w 4518164"/>
              <a:gd name="connsiteY2" fmla="*/ 6858000 h 6858000"/>
              <a:gd name="connsiteX3" fmla="*/ 0 w 4518164"/>
              <a:gd name="connsiteY3" fmla="*/ 6858000 h 6858000"/>
              <a:gd name="connsiteX4" fmla="*/ 166888 w 4518164"/>
              <a:gd name="connsiteY4" fmla="*/ 5824052 h 6858000"/>
              <a:gd name="connsiteX5" fmla="*/ 925068 w 4518164"/>
              <a:gd name="connsiteY5" fmla="*/ 5824052 h 6858000"/>
              <a:gd name="connsiteX6" fmla="*/ 925068 w 4518164"/>
              <a:gd name="connsiteY6" fmla="*/ 5824051 h 6858000"/>
              <a:gd name="connsiteX7" fmla="*/ 166888 w 4518164"/>
              <a:gd name="connsiteY7" fmla="*/ 5824051 h 6858000"/>
              <a:gd name="connsiteX8" fmla="*/ 1106941 w 4518164"/>
              <a:gd name="connsiteY8" fmla="*/ 2 h 6858000"/>
              <a:gd name="connsiteX9" fmla="*/ 1634858 w 4518164"/>
              <a:gd name="connsiteY9" fmla="*/ 2 h 6858000"/>
              <a:gd name="connsiteX10" fmla="*/ 1697417 w 4518164"/>
              <a:gd name="connsiteY10" fmla="*/ 8479 h 6858000"/>
              <a:gd name="connsiteX11" fmla="*/ 1697417 w 4518164"/>
              <a:gd name="connsiteY11" fmla="*/ 8478 h 6858000"/>
              <a:gd name="connsiteX12" fmla="*/ 1634858 w 4518164"/>
              <a:gd name="connsiteY12" fmla="*/ 1 h 6858000"/>
              <a:gd name="connsiteX13" fmla="*/ 1106941 w 4518164"/>
              <a:gd name="connsiteY13" fmla="*/ 1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518164" h="6858000">
                <a:moveTo>
                  <a:pt x="1106942" y="0"/>
                </a:moveTo>
                <a:lnTo>
                  <a:pt x="4518164" y="0"/>
                </a:lnTo>
                <a:lnTo>
                  <a:pt x="4518164" y="6858000"/>
                </a:lnTo>
                <a:lnTo>
                  <a:pt x="0" y="6858000"/>
                </a:lnTo>
                <a:lnTo>
                  <a:pt x="166888" y="5824052"/>
                </a:lnTo>
                <a:lnTo>
                  <a:pt x="925068" y="5824052"/>
                </a:lnTo>
                <a:lnTo>
                  <a:pt x="925068" y="5824051"/>
                </a:lnTo>
                <a:lnTo>
                  <a:pt x="166888" y="5824051"/>
                </a:lnTo>
                <a:lnTo>
                  <a:pt x="1106941" y="2"/>
                </a:lnTo>
                <a:lnTo>
                  <a:pt x="1634858" y="2"/>
                </a:lnTo>
                <a:lnTo>
                  <a:pt x="1697417" y="8479"/>
                </a:lnTo>
                <a:lnTo>
                  <a:pt x="1697417" y="8478"/>
                </a:lnTo>
                <a:lnTo>
                  <a:pt x="1634858" y="1"/>
                </a:lnTo>
                <a:lnTo>
                  <a:pt x="1106941" y="1"/>
                </a:lnTo>
                <a:close/>
              </a:path>
            </a:pathLst>
          </a:custGeom>
          <a:effectLst>
            <a:outerShdw blurRad="190500" dist="63500" dir="10800000" algn="r" rotWithShape="0">
              <a:prstClr val="black">
                <a:alpha val="40000"/>
              </a:prstClr>
            </a:outerShdw>
          </a:effectLst>
        </p:spPr>
      </p:pic>
      <p:sp>
        <p:nvSpPr>
          <p:cNvPr id="9" name="Freeform 8">
            <a:extLst>
              <a:ext uri="{FF2B5EF4-FFF2-40B4-BE49-F238E27FC236}">
                <a16:creationId xmlns:a16="http://schemas.microsoft.com/office/drawing/2014/main" id="{FA439B9D-4ABB-F9CD-BAA4-095D6A45A25A}"/>
              </a:ext>
            </a:extLst>
          </p:cNvPr>
          <p:cNvSpPr/>
          <p:nvPr/>
        </p:nvSpPr>
        <p:spPr>
          <a:xfrm>
            <a:off x="5754985" y="0"/>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b="0">
                <a:solidFill>
                  <a:schemeClr val="accent1"/>
                </a:solidFill>
              </a:defRPr>
            </a:lvl1pPr>
          </a:lstStyle>
          <a:p>
            <a:r>
              <a:rPr lang="en-US"/>
              <a:t>Click to edit Master title style</a:t>
            </a:r>
            <a:endParaRPr lang="en-AE"/>
          </a:p>
        </p:txBody>
      </p:sp>
      <p:grpSp>
        <p:nvGrpSpPr>
          <p:cNvPr id="2" name="Graphic 2">
            <a:extLst>
              <a:ext uri="{FF2B5EF4-FFF2-40B4-BE49-F238E27FC236}">
                <a16:creationId xmlns:a16="http://schemas.microsoft.com/office/drawing/2014/main" id="{D3F407CC-E96E-8C10-6ACF-483BE3FBBFD7}"/>
              </a:ext>
            </a:extLst>
          </p:cNvPr>
          <p:cNvGrpSpPr>
            <a:grpSpLocks noChangeAspect="1"/>
          </p:cNvGrpSpPr>
          <p:nvPr/>
        </p:nvGrpSpPr>
        <p:grpSpPr>
          <a:xfrm>
            <a:off x="4804" y="2"/>
            <a:ext cx="468178" cy="756000"/>
            <a:chOff x="4425584" y="267785"/>
            <a:chExt cx="2950814" cy="4756864"/>
          </a:xfrm>
          <a:solidFill>
            <a:schemeClr val="accent1"/>
          </a:solidFill>
        </p:grpSpPr>
        <p:grpSp>
          <p:nvGrpSpPr>
            <p:cNvPr id="4" name="Graphic 2">
              <a:extLst>
                <a:ext uri="{FF2B5EF4-FFF2-40B4-BE49-F238E27FC236}">
                  <a16:creationId xmlns:a16="http://schemas.microsoft.com/office/drawing/2014/main" id="{4BFD7DA3-4065-DC4F-E484-B5A0287E0EAE}"/>
                </a:ext>
              </a:extLst>
            </p:cNvPr>
            <p:cNvGrpSpPr/>
            <p:nvPr/>
          </p:nvGrpSpPr>
          <p:grpSpPr>
            <a:xfrm>
              <a:off x="5720269" y="2764575"/>
              <a:ext cx="1656129" cy="1882392"/>
              <a:chOff x="5720269" y="2764575"/>
              <a:chExt cx="1656129" cy="1882392"/>
            </a:xfrm>
            <a:solidFill>
              <a:schemeClr val="accent1"/>
            </a:solidFill>
          </p:grpSpPr>
          <p:grpSp>
            <p:nvGrpSpPr>
              <p:cNvPr id="8" name="Graphic 2">
                <a:extLst>
                  <a:ext uri="{FF2B5EF4-FFF2-40B4-BE49-F238E27FC236}">
                    <a16:creationId xmlns:a16="http://schemas.microsoft.com/office/drawing/2014/main" id="{7431D8A2-D9C9-DCFD-166D-012829BECA6E}"/>
                  </a:ext>
                </a:extLst>
              </p:cNvPr>
              <p:cNvGrpSpPr/>
              <p:nvPr/>
            </p:nvGrpSpPr>
            <p:grpSpPr>
              <a:xfrm>
                <a:off x="5720269" y="2764575"/>
                <a:ext cx="1656129" cy="1882392"/>
                <a:chOff x="5720269" y="2764575"/>
                <a:chExt cx="1656129" cy="1882392"/>
              </a:xfrm>
              <a:solidFill>
                <a:srgbClr val="00A099"/>
              </a:solidFill>
            </p:grpSpPr>
            <p:sp>
              <p:nvSpPr>
                <p:cNvPr id="16" name="Freeform 75">
                  <a:extLst>
                    <a:ext uri="{FF2B5EF4-FFF2-40B4-BE49-F238E27FC236}">
                      <a16:creationId xmlns:a16="http://schemas.microsoft.com/office/drawing/2014/main" id="{199EF448-2A94-4B1C-E9DE-4B456EFCE4D5}"/>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6">
                  <a:extLst>
                    <a:ext uri="{FF2B5EF4-FFF2-40B4-BE49-F238E27FC236}">
                      <a16:creationId xmlns:a16="http://schemas.microsoft.com/office/drawing/2014/main" id="{35DE5CCA-6165-55E3-EB1E-44BCF30802EF}"/>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7">
                  <a:extLst>
                    <a:ext uri="{FF2B5EF4-FFF2-40B4-BE49-F238E27FC236}">
                      <a16:creationId xmlns:a16="http://schemas.microsoft.com/office/drawing/2014/main" id="{D4367764-7C6C-3B75-9B96-BCCCAB43D52D}"/>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1" name="Freeform 72">
                <a:extLst>
                  <a:ext uri="{FF2B5EF4-FFF2-40B4-BE49-F238E27FC236}">
                    <a16:creationId xmlns:a16="http://schemas.microsoft.com/office/drawing/2014/main" id="{542E83BB-908C-D738-BCEA-8C2BA99678BC}"/>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3">
                <a:extLst>
                  <a:ext uri="{FF2B5EF4-FFF2-40B4-BE49-F238E27FC236}">
                    <a16:creationId xmlns:a16="http://schemas.microsoft.com/office/drawing/2014/main" id="{57DFE6D1-FE3B-BA5C-FAD2-2858643AB8DD}"/>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4">
                <a:extLst>
                  <a:ext uri="{FF2B5EF4-FFF2-40B4-BE49-F238E27FC236}">
                    <a16:creationId xmlns:a16="http://schemas.microsoft.com/office/drawing/2014/main" id="{B04FB89B-0278-1877-89E0-D68409C11EBE}"/>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6" name="Freeform 69">
              <a:extLst>
                <a:ext uri="{FF2B5EF4-FFF2-40B4-BE49-F238E27FC236}">
                  <a16:creationId xmlns:a16="http://schemas.microsoft.com/office/drawing/2014/main" id="{54BE19CA-0036-65A8-02DD-728241253BE2}"/>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7" name="Freeform 70">
              <a:extLst>
                <a:ext uri="{FF2B5EF4-FFF2-40B4-BE49-F238E27FC236}">
                  <a16:creationId xmlns:a16="http://schemas.microsoft.com/office/drawing/2014/main" id="{CDAB89A4-BA5E-6F11-50D8-65A0A8C455E8}"/>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14445862"/>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8_Lunch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EDCF461-62AE-2E98-4A7E-3D15C53EB945}"/>
              </a:ext>
            </a:extLst>
          </p:cNvPr>
          <p:cNvGraphicFramePr>
            <a:graphicFrameLocks noChangeAspect="1"/>
          </p:cNvGraphicFramePr>
          <p:nvPr>
            <p:custDataLst>
              <p:tags r:id="rId1"/>
            </p:custDataLst>
            <p:extLst>
              <p:ext uri="{D42A27DB-BD31-4B8C-83A1-F6EECF244321}">
                <p14:modId xmlns:p14="http://schemas.microsoft.com/office/powerpoint/2010/main" val="1778062467"/>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BEDCF461-62AE-2E98-4A7E-3D15C53EB945}"/>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3" name="Picture 2" descr="A picture containing person, child&#10;&#10;Description automatically generated">
            <a:extLst>
              <a:ext uri="{FF2B5EF4-FFF2-40B4-BE49-F238E27FC236}">
                <a16:creationId xmlns:a16="http://schemas.microsoft.com/office/drawing/2014/main" id="{FC1E40EC-62F6-ACBD-7BF8-498D3BEF6FE9}"/>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0" y="0"/>
            <a:ext cx="9144000" cy="5143500"/>
          </a:xfrm>
          <a:prstGeom prst="rect">
            <a:avLst/>
          </a:prstGeom>
        </p:spPr>
      </p:pic>
      <p:pic>
        <p:nvPicPr>
          <p:cNvPr id="7" name="Picture 6" descr="A picture containing person, child&#10;&#10;Description automatically generated">
            <a:extLst>
              <a:ext uri="{FF2B5EF4-FFF2-40B4-BE49-F238E27FC236}">
                <a16:creationId xmlns:a16="http://schemas.microsoft.com/office/drawing/2014/main" id="{1D348B6A-6370-AFE2-6D61-115A09E28A47}"/>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20"/>
                    </a14:imgEffect>
                  </a14:imgLayer>
                </a14:imgProps>
              </a:ext>
              <a:ext uri="{28A0092B-C50C-407E-A947-70E740481C1C}">
                <a14:useLocalDpi xmlns:a14="http://schemas.microsoft.com/office/drawing/2010/main"/>
              </a:ext>
            </a:extLst>
          </a:blip>
          <a:srcRect/>
          <a:stretch/>
        </p:blipFill>
        <p:spPr>
          <a:xfrm>
            <a:off x="5755378" y="0"/>
            <a:ext cx="3388623" cy="5143500"/>
          </a:xfrm>
          <a:custGeom>
            <a:avLst/>
            <a:gdLst>
              <a:gd name="connsiteX0" fmla="*/ 1106942 w 4518164"/>
              <a:gd name="connsiteY0" fmla="*/ 0 h 6858000"/>
              <a:gd name="connsiteX1" fmla="*/ 4518164 w 4518164"/>
              <a:gd name="connsiteY1" fmla="*/ 0 h 6858000"/>
              <a:gd name="connsiteX2" fmla="*/ 4518164 w 4518164"/>
              <a:gd name="connsiteY2" fmla="*/ 6858000 h 6858000"/>
              <a:gd name="connsiteX3" fmla="*/ 0 w 4518164"/>
              <a:gd name="connsiteY3" fmla="*/ 6858000 h 6858000"/>
              <a:gd name="connsiteX4" fmla="*/ 166888 w 4518164"/>
              <a:gd name="connsiteY4" fmla="*/ 5824052 h 6858000"/>
              <a:gd name="connsiteX5" fmla="*/ 925068 w 4518164"/>
              <a:gd name="connsiteY5" fmla="*/ 5824052 h 6858000"/>
              <a:gd name="connsiteX6" fmla="*/ 925068 w 4518164"/>
              <a:gd name="connsiteY6" fmla="*/ 5824051 h 6858000"/>
              <a:gd name="connsiteX7" fmla="*/ 166888 w 4518164"/>
              <a:gd name="connsiteY7" fmla="*/ 5824051 h 6858000"/>
              <a:gd name="connsiteX8" fmla="*/ 1106941 w 4518164"/>
              <a:gd name="connsiteY8" fmla="*/ 2 h 6858000"/>
              <a:gd name="connsiteX9" fmla="*/ 1634858 w 4518164"/>
              <a:gd name="connsiteY9" fmla="*/ 2 h 6858000"/>
              <a:gd name="connsiteX10" fmla="*/ 1697417 w 4518164"/>
              <a:gd name="connsiteY10" fmla="*/ 8479 h 6858000"/>
              <a:gd name="connsiteX11" fmla="*/ 1697417 w 4518164"/>
              <a:gd name="connsiteY11" fmla="*/ 8478 h 6858000"/>
              <a:gd name="connsiteX12" fmla="*/ 1634858 w 4518164"/>
              <a:gd name="connsiteY12" fmla="*/ 1 h 6858000"/>
              <a:gd name="connsiteX13" fmla="*/ 1106941 w 4518164"/>
              <a:gd name="connsiteY13" fmla="*/ 1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518164" h="6858000">
                <a:moveTo>
                  <a:pt x="1106942" y="0"/>
                </a:moveTo>
                <a:lnTo>
                  <a:pt x="4518164" y="0"/>
                </a:lnTo>
                <a:lnTo>
                  <a:pt x="4518164" y="6858000"/>
                </a:lnTo>
                <a:lnTo>
                  <a:pt x="0" y="6858000"/>
                </a:lnTo>
                <a:lnTo>
                  <a:pt x="166888" y="5824052"/>
                </a:lnTo>
                <a:lnTo>
                  <a:pt x="925068" y="5824052"/>
                </a:lnTo>
                <a:lnTo>
                  <a:pt x="925068" y="5824051"/>
                </a:lnTo>
                <a:lnTo>
                  <a:pt x="166888" y="5824051"/>
                </a:lnTo>
                <a:lnTo>
                  <a:pt x="1106941" y="2"/>
                </a:lnTo>
                <a:lnTo>
                  <a:pt x="1634858" y="2"/>
                </a:lnTo>
                <a:lnTo>
                  <a:pt x="1697417" y="8479"/>
                </a:lnTo>
                <a:lnTo>
                  <a:pt x="1697417" y="8478"/>
                </a:lnTo>
                <a:lnTo>
                  <a:pt x="1634858" y="1"/>
                </a:lnTo>
                <a:lnTo>
                  <a:pt x="1106941" y="1"/>
                </a:lnTo>
                <a:close/>
              </a:path>
            </a:pathLst>
          </a:custGeom>
          <a:effectLst>
            <a:outerShdw blurRad="190500" dist="63500" dir="10800000" algn="r" rotWithShape="0">
              <a:prstClr val="black">
                <a:alpha val="40000"/>
              </a:prstClr>
            </a:outerShdw>
          </a:effectLst>
        </p:spPr>
      </p:pic>
      <p:sp>
        <p:nvSpPr>
          <p:cNvPr id="9" name="Freeform 8">
            <a:extLst>
              <a:ext uri="{FF2B5EF4-FFF2-40B4-BE49-F238E27FC236}">
                <a16:creationId xmlns:a16="http://schemas.microsoft.com/office/drawing/2014/main" id="{FA439B9D-4ABB-F9CD-BAA4-095D6A45A25A}"/>
              </a:ext>
            </a:extLst>
          </p:cNvPr>
          <p:cNvSpPr/>
          <p:nvPr/>
        </p:nvSpPr>
        <p:spPr>
          <a:xfrm>
            <a:off x="5759789" y="1025"/>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b="0">
                <a:solidFill>
                  <a:schemeClr val="accent1"/>
                </a:solidFill>
              </a:defRPr>
            </a:lvl1pPr>
          </a:lstStyle>
          <a:p>
            <a:r>
              <a:rPr lang="en-US"/>
              <a:t>Click to edit Master title style</a:t>
            </a:r>
            <a:endParaRPr lang="en-AE"/>
          </a:p>
        </p:txBody>
      </p:sp>
      <p:grpSp>
        <p:nvGrpSpPr>
          <p:cNvPr id="2" name="Graphic 2">
            <a:extLst>
              <a:ext uri="{FF2B5EF4-FFF2-40B4-BE49-F238E27FC236}">
                <a16:creationId xmlns:a16="http://schemas.microsoft.com/office/drawing/2014/main" id="{72CB7CD0-A34F-6F2F-D2D7-ADECAF8238D2}"/>
              </a:ext>
            </a:extLst>
          </p:cNvPr>
          <p:cNvGrpSpPr>
            <a:grpSpLocks noChangeAspect="1"/>
          </p:cNvGrpSpPr>
          <p:nvPr/>
        </p:nvGrpSpPr>
        <p:grpSpPr>
          <a:xfrm>
            <a:off x="4804" y="2"/>
            <a:ext cx="468178" cy="756000"/>
            <a:chOff x="4425584" y="267785"/>
            <a:chExt cx="2950814" cy="4756864"/>
          </a:xfrm>
          <a:solidFill>
            <a:schemeClr val="accent1"/>
          </a:solidFill>
        </p:grpSpPr>
        <p:grpSp>
          <p:nvGrpSpPr>
            <p:cNvPr id="5" name="Graphic 2">
              <a:extLst>
                <a:ext uri="{FF2B5EF4-FFF2-40B4-BE49-F238E27FC236}">
                  <a16:creationId xmlns:a16="http://schemas.microsoft.com/office/drawing/2014/main" id="{D0559BE9-C992-545A-B450-2C8C998BF320}"/>
                </a:ext>
              </a:extLst>
            </p:cNvPr>
            <p:cNvGrpSpPr/>
            <p:nvPr/>
          </p:nvGrpSpPr>
          <p:grpSpPr>
            <a:xfrm>
              <a:off x="5720269" y="2764575"/>
              <a:ext cx="1656129" cy="1882392"/>
              <a:chOff x="5720269" y="2764575"/>
              <a:chExt cx="1656129" cy="1882392"/>
            </a:xfrm>
            <a:solidFill>
              <a:schemeClr val="accent1"/>
            </a:solidFill>
          </p:grpSpPr>
          <p:grpSp>
            <p:nvGrpSpPr>
              <p:cNvPr id="10" name="Graphic 2">
                <a:extLst>
                  <a:ext uri="{FF2B5EF4-FFF2-40B4-BE49-F238E27FC236}">
                    <a16:creationId xmlns:a16="http://schemas.microsoft.com/office/drawing/2014/main" id="{054065DF-357D-8AF5-5D11-4A15C042F83A}"/>
                  </a:ext>
                </a:extLst>
              </p:cNvPr>
              <p:cNvGrpSpPr/>
              <p:nvPr/>
            </p:nvGrpSpPr>
            <p:grpSpPr>
              <a:xfrm>
                <a:off x="5720269" y="2764575"/>
                <a:ext cx="1656129" cy="1882392"/>
                <a:chOff x="5720269" y="2764575"/>
                <a:chExt cx="1656129" cy="1882392"/>
              </a:xfrm>
              <a:solidFill>
                <a:srgbClr val="00A099"/>
              </a:solidFill>
            </p:grpSpPr>
            <p:sp>
              <p:nvSpPr>
                <p:cNvPr id="16" name="Freeform 75">
                  <a:extLst>
                    <a:ext uri="{FF2B5EF4-FFF2-40B4-BE49-F238E27FC236}">
                      <a16:creationId xmlns:a16="http://schemas.microsoft.com/office/drawing/2014/main" id="{ACE123F3-3323-306E-D4D3-677620C2951A}"/>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6">
                  <a:extLst>
                    <a:ext uri="{FF2B5EF4-FFF2-40B4-BE49-F238E27FC236}">
                      <a16:creationId xmlns:a16="http://schemas.microsoft.com/office/drawing/2014/main" id="{902C04C6-EFE6-F499-DC97-6465C84D3605}"/>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7">
                  <a:extLst>
                    <a:ext uri="{FF2B5EF4-FFF2-40B4-BE49-F238E27FC236}">
                      <a16:creationId xmlns:a16="http://schemas.microsoft.com/office/drawing/2014/main" id="{45379FAF-ECB7-5170-E5DC-FE1FCC791A7F}"/>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1" name="Freeform 72">
                <a:extLst>
                  <a:ext uri="{FF2B5EF4-FFF2-40B4-BE49-F238E27FC236}">
                    <a16:creationId xmlns:a16="http://schemas.microsoft.com/office/drawing/2014/main" id="{56B34178-BA66-66D8-FF95-8097DCAEDD79}"/>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3">
                <a:extLst>
                  <a:ext uri="{FF2B5EF4-FFF2-40B4-BE49-F238E27FC236}">
                    <a16:creationId xmlns:a16="http://schemas.microsoft.com/office/drawing/2014/main" id="{E6A555FD-1160-EC48-F3D4-6AC6DD7DDD9F}"/>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4">
                <a:extLst>
                  <a:ext uri="{FF2B5EF4-FFF2-40B4-BE49-F238E27FC236}">
                    <a16:creationId xmlns:a16="http://schemas.microsoft.com/office/drawing/2014/main" id="{AE320C55-0DF1-B5CE-8479-DC3BD2F420B4}"/>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6" name="Freeform 69">
              <a:extLst>
                <a:ext uri="{FF2B5EF4-FFF2-40B4-BE49-F238E27FC236}">
                  <a16:creationId xmlns:a16="http://schemas.microsoft.com/office/drawing/2014/main" id="{41B3E22E-A3D6-4858-800C-24699BDA03CE}"/>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8" name="Freeform 70">
              <a:extLst>
                <a:ext uri="{FF2B5EF4-FFF2-40B4-BE49-F238E27FC236}">
                  <a16:creationId xmlns:a16="http://schemas.microsoft.com/office/drawing/2014/main" id="{5281DDB1-F7A3-E40A-F1AB-E7AC2DD560F0}"/>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2181650648"/>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11_Lunch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34173402-3923-03F5-14F9-FE53A7203C2F}"/>
              </a:ext>
            </a:extLst>
          </p:cNvPr>
          <p:cNvGraphicFramePr>
            <a:graphicFrameLocks noChangeAspect="1"/>
          </p:cNvGraphicFramePr>
          <p:nvPr>
            <p:custDataLst>
              <p:tags r:id="rId1"/>
            </p:custDataLst>
            <p:extLst>
              <p:ext uri="{D42A27DB-BD31-4B8C-83A1-F6EECF244321}">
                <p14:modId xmlns:p14="http://schemas.microsoft.com/office/powerpoint/2010/main" val="41764987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34173402-3923-03F5-14F9-FE53A7203C2F}"/>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6" name="Picture 5" descr="A picture containing text, sign, signage, yellow&#10;&#10;Description automatically generated">
            <a:extLst>
              <a:ext uri="{FF2B5EF4-FFF2-40B4-BE49-F238E27FC236}">
                <a16:creationId xmlns:a16="http://schemas.microsoft.com/office/drawing/2014/main" id="{28EC72DA-2562-B205-1E5B-0E26F87339A1}"/>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0" y="1024"/>
            <a:ext cx="9148805" cy="5146203"/>
          </a:xfrm>
          <a:prstGeom prst="rect">
            <a:avLst/>
          </a:prstGeom>
        </p:spPr>
      </p:pic>
      <p:pic>
        <p:nvPicPr>
          <p:cNvPr id="7" name="Picture 6">
            <a:extLst>
              <a:ext uri="{FF2B5EF4-FFF2-40B4-BE49-F238E27FC236}">
                <a16:creationId xmlns:a16="http://schemas.microsoft.com/office/drawing/2014/main" id="{507853F3-2813-D668-8606-33D082D59599}"/>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30"/>
                    </a14:imgEffect>
                  </a14:imgLayer>
                </a14:imgProps>
              </a:ext>
              <a:ext uri="{28A0092B-C50C-407E-A947-70E740481C1C}">
                <a14:useLocalDpi xmlns:a14="http://schemas.microsoft.com/office/drawing/2010/main"/>
              </a:ext>
            </a:extLst>
          </a:blip>
          <a:srcRect/>
          <a:stretch/>
        </p:blipFill>
        <p:spPr>
          <a:xfrm>
            <a:off x="5755773" y="1"/>
            <a:ext cx="3388228" cy="5142476"/>
          </a:xfrm>
          <a:custGeom>
            <a:avLst/>
            <a:gdLst>
              <a:gd name="connsiteX0" fmla="*/ 1106417 w 4517639"/>
              <a:gd name="connsiteY0" fmla="*/ 0 h 6854747"/>
              <a:gd name="connsiteX1" fmla="*/ 4517639 w 4517639"/>
              <a:gd name="connsiteY1" fmla="*/ 0 h 6854747"/>
              <a:gd name="connsiteX2" fmla="*/ 4517639 w 4517639"/>
              <a:gd name="connsiteY2" fmla="*/ 6854747 h 6854747"/>
              <a:gd name="connsiteX3" fmla="*/ 0 w 4517639"/>
              <a:gd name="connsiteY3" fmla="*/ 6854747 h 6854747"/>
              <a:gd name="connsiteX4" fmla="*/ 166363 w 4517639"/>
              <a:gd name="connsiteY4" fmla="*/ 5824052 h 6854747"/>
              <a:gd name="connsiteX5" fmla="*/ 924543 w 4517639"/>
              <a:gd name="connsiteY5" fmla="*/ 5824052 h 6854747"/>
              <a:gd name="connsiteX6" fmla="*/ 924543 w 4517639"/>
              <a:gd name="connsiteY6" fmla="*/ 5824051 h 6854747"/>
              <a:gd name="connsiteX7" fmla="*/ 166363 w 4517639"/>
              <a:gd name="connsiteY7" fmla="*/ 5824051 h 6854747"/>
              <a:gd name="connsiteX8" fmla="*/ 1106416 w 4517639"/>
              <a:gd name="connsiteY8" fmla="*/ 2 h 6854747"/>
              <a:gd name="connsiteX9" fmla="*/ 1634333 w 4517639"/>
              <a:gd name="connsiteY9" fmla="*/ 2 h 6854747"/>
              <a:gd name="connsiteX10" fmla="*/ 1696892 w 4517639"/>
              <a:gd name="connsiteY10" fmla="*/ 8479 h 6854747"/>
              <a:gd name="connsiteX11" fmla="*/ 1696892 w 4517639"/>
              <a:gd name="connsiteY11" fmla="*/ 8478 h 6854747"/>
              <a:gd name="connsiteX12" fmla="*/ 1634333 w 4517639"/>
              <a:gd name="connsiteY12" fmla="*/ 1 h 6854747"/>
              <a:gd name="connsiteX13" fmla="*/ 1106416 w 4517639"/>
              <a:gd name="connsiteY13" fmla="*/ 1 h 68547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517639" h="6854747">
                <a:moveTo>
                  <a:pt x="1106417" y="0"/>
                </a:moveTo>
                <a:lnTo>
                  <a:pt x="4517639" y="0"/>
                </a:lnTo>
                <a:lnTo>
                  <a:pt x="4517639" y="6854747"/>
                </a:lnTo>
                <a:lnTo>
                  <a:pt x="0" y="6854747"/>
                </a:lnTo>
                <a:lnTo>
                  <a:pt x="166363" y="5824052"/>
                </a:lnTo>
                <a:lnTo>
                  <a:pt x="924543" y="5824052"/>
                </a:lnTo>
                <a:lnTo>
                  <a:pt x="924543" y="5824051"/>
                </a:lnTo>
                <a:lnTo>
                  <a:pt x="166363" y="5824051"/>
                </a:lnTo>
                <a:lnTo>
                  <a:pt x="1106416" y="2"/>
                </a:lnTo>
                <a:lnTo>
                  <a:pt x="1634333" y="2"/>
                </a:lnTo>
                <a:lnTo>
                  <a:pt x="1696892" y="8479"/>
                </a:lnTo>
                <a:lnTo>
                  <a:pt x="1696892" y="8478"/>
                </a:lnTo>
                <a:lnTo>
                  <a:pt x="1634333" y="1"/>
                </a:lnTo>
                <a:lnTo>
                  <a:pt x="1106416" y="1"/>
                </a:lnTo>
                <a:close/>
              </a:path>
            </a:pathLst>
          </a:custGeom>
          <a:noFill/>
          <a:effectLst>
            <a:outerShdw blurRad="190500" dist="63500" dir="10800000" algn="r" rotWithShape="0">
              <a:prstClr val="black">
                <a:alpha val="40000"/>
              </a:prstClr>
            </a:outerShdw>
          </a:effectLst>
        </p:spPr>
      </p:pic>
      <p:sp>
        <p:nvSpPr>
          <p:cNvPr id="9" name="Freeform 8">
            <a:extLst>
              <a:ext uri="{FF2B5EF4-FFF2-40B4-BE49-F238E27FC236}">
                <a16:creationId xmlns:a16="http://schemas.microsoft.com/office/drawing/2014/main" id="{FA439B9D-4ABB-F9CD-BAA4-095D6A45A25A}"/>
              </a:ext>
            </a:extLst>
          </p:cNvPr>
          <p:cNvSpPr/>
          <p:nvPr/>
        </p:nvSpPr>
        <p:spPr>
          <a:xfrm>
            <a:off x="5759789" y="1025"/>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b="0">
                <a:solidFill>
                  <a:schemeClr val="accent1"/>
                </a:solidFill>
              </a:defRPr>
            </a:lvl1pPr>
          </a:lstStyle>
          <a:p>
            <a:r>
              <a:rPr lang="en-US"/>
              <a:t>Click to edit Master title style</a:t>
            </a:r>
            <a:endParaRPr lang="en-AE"/>
          </a:p>
        </p:txBody>
      </p:sp>
      <p:grpSp>
        <p:nvGrpSpPr>
          <p:cNvPr id="2" name="Graphic 2">
            <a:extLst>
              <a:ext uri="{FF2B5EF4-FFF2-40B4-BE49-F238E27FC236}">
                <a16:creationId xmlns:a16="http://schemas.microsoft.com/office/drawing/2014/main" id="{77DCC829-9AFD-F7C5-4948-BF891AFB1B10}"/>
              </a:ext>
            </a:extLst>
          </p:cNvPr>
          <p:cNvGrpSpPr>
            <a:grpSpLocks noChangeAspect="1"/>
          </p:cNvGrpSpPr>
          <p:nvPr/>
        </p:nvGrpSpPr>
        <p:grpSpPr>
          <a:xfrm>
            <a:off x="4804" y="2"/>
            <a:ext cx="468178" cy="756000"/>
            <a:chOff x="4425584" y="267785"/>
            <a:chExt cx="2950814" cy="4756864"/>
          </a:xfrm>
          <a:solidFill>
            <a:schemeClr val="accent1"/>
          </a:solidFill>
        </p:grpSpPr>
        <p:grpSp>
          <p:nvGrpSpPr>
            <p:cNvPr id="3" name="Graphic 2">
              <a:extLst>
                <a:ext uri="{FF2B5EF4-FFF2-40B4-BE49-F238E27FC236}">
                  <a16:creationId xmlns:a16="http://schemas.microsoft.com/office/drawing/2014/main" id="{F33CC6F4-42A0-4769-40D5-476293C79492}"/>
                </a:ext>
              </a:extLst>
            </p:cNvPr>
            <p:cNvGrpSpPr/>
            <p:nvPr/>
          </p:nvGrpSpPr>
          <p:grpSpPr>
            <a:xfrm>
              <a:off x="5720269" y="2764575"/>
              <a:ext cx="1656129" cy="1882392"/>
              <a:chOff x="5720269" y="2764575"/>
              <a:chExt cx="1656129" cy="1882392"/>
            </a:xfrm>
            <a:solidFill>
              <a:schemeClr val="accent1"/>
            </a:solidFill>
          </p:grpSpPr>
          <p:grpSp>
            <p:nvGrpSpPr>
              <p:cNvPr id="10" name="Graphic 2">
                <a:extLst>
                  <a:ext uri="{FF2B5EF4-FFF2-40B4-BE49-F238E27FC236}">
                    <a16:creationId xmlns:a16="http://schemas.microsoft.com/office/drawing/2014/main" id="{4F7D57A8-042E-2749-738E-CDACBB23E88E}"/>
                  </a:ext>
                </a:extLst>
              </p:cNvPr>
              <p:cNvGrpSpPr/>
              <p:nvPr/>
            </p:nvGrpSpPr>
            <p:grpSpPr>
              <a:xfrm>
                <a:off x="5720269" y="2764575"/>
                <a:ext cx="1656129" cy="1882392"/>
                <a:chOff x="5720269" y="2764575"/>
                <a:chExt cx="1656129" cy="1882392"/>
              </a:xfrm>
              <a:solidFill>
                <a:srgbClr val="00A099"/>
              </a:solidFill>
            </p:grpSpPr>
            <p:sp>
              <p:nvSpPr>
                <p:cNvPr id="16" name="Freeform 75">
                  <a:extLst>
                    <a:ext uri="{FF2B5EF4-FFF2-40B4-BE49-F238E27FC236}">
                      <a16:creationId xmlns:a16="http://schemas.microsoft.com/office/drawing/2014/main" id="{42E9497B-1752-8521-D6E7-F9EA945B22F9}"/>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6">
                  <a:extLst>
                    <a:ext uri="{FF2B5EF4-FFF2-40B4-BE49-F238E27FC236}">
                      <a16:creationId xmlns:a16="http://schemas.microsoft.com/office/drawing/2014/main" id="{85D442D1-FA86-8E38-A655-940897877A24}"/>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7">
                  <a:extLst>
                    <a:ext uri="{FF2B5EF4-FFF2-40B4-BE49-F238E27FC236}">
                      <a16:creationId xmlns:a16="http://schemas.microsoft.com/office/drawing/2014/main" id="{9E52AE32-1E08-D1AE-088E-F54F54D11127}"/>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1" name="Freeform 72">
                <a:extLst>
                  <a:ext uri="{FF2B5EF4-FFF2-40B4-BE49-F238E27FC236}">
                    <a16:creationId xmlns:a16="http://schemas.microsoft.com/office/drawing/2014/main" id="{123F2A8E-5E66-9877-F9F6-C986D4774F91}"/>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3">
                <a:extLst>
                  <a:ext uri="{FF2B5EF4-FFF2-40B4-BE49-F238E27FC236}">
                    <a16:creationId xmlns:a16="http://schemas.microsoft.com/office/drawing/2014/main" id="{B6428678-C466-FC8C-156D-C99554F95BC8}"/>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4">
                <a:extLst>
                  <a:ext uri="{FF2B5EF4-FFF2-40B4-BE49-F238E27FC236}">
                    <a16:creationId xmlns:a16="http://schemas.microsoft.com/office/drawing/2014/main" id="{90FA6F79-83D1-3B0F-C268-5CBCD0AE5A0D}"/>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5" name="Freeform 69">
              <a:extLst>
                <a:ext uri="{FF2B5EF4-FFF2-40B4-BE49-F238E27FC236}">
                  <a16:creationId xmlns:a16="http://schemas.microsoft.com/office/drawing/2014/main" id="{2EEA6596-3FA7-9C45-1B7A-D14B72A6525F}"/>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8" name="Freeform 70">
              <a:extLst>
                <a:ext uri="{FF2B5EF4-FFF2-40B4-BE49-F238E27FC236}">
                  <a16:creationId xmlns:a16="http://schemas.microsoft.com/office/drawing/2014/main" id="{6BF1CF44-C41E-0A56-269A-47CFE7ED86A7}"/>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1310372393"/>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6_Lunch slide">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EC066A68-3330-CCD2-0850-5DE93DCBCCE2}"/>
              </a:ext>
            </a:extLst>
          </p:cNvPr>
          <p:cNvGraphicFramePr>
            <a:graphicFrameLocks noChangeAspect="1"/>
          </p:cNvGraphicFramePr>
          <p:nvPr>
            <p:custDataLst>
              <p:tags r:id="rId1"/>
            </p:custDataLst>
            <p:extLst>
              <p:ext uri="{D42A27DB-BD31-4B8C-83A1-F6EECF244321}">
                <p14:modId xmlns:p14="http://schemas.microsoft.com/office/powerpoint/2010/main" val="294784819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EC066A68-3330-CCD2-0850-5DE93DCBCCE2}"/>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4" name="Picture Placeholder 14">
            <a:extLst>
              <a:ext uri="{FF2B5EF4-FFF2-40B4-BE49-F238E27FC236}">
                <a16:creationId xmlns:a16="http://schemas.microsoft.com/office/drawing/2014/main" id="{E56A2616-C3F1-AEB6-ECAE-50731BEF70F7}"/>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flipH="1">
            <a:off x="0" y="0"/>
            <a:ext cx="9144000" cy="5143500"/>
          </a:xfrm>
          <a:prstGeom prst="rect">
            <a:avLst/>
          </a:prstGeom>
          <a:noFill/>
        </p:spPr>
      </p:pic>
      <p:pic>
        <p:nvPicPr>
          <p:cNvPr id="8" name="Picture 7">
            <a:extLst>
              <a:ext uri="{FF2B5EF4-FFF2-40B4-BE49-F238E27FC236}">
                <a16:creationId xmlns:a16="http://schemas.microsoft.com/office/drawing/2014/main" id="{EF1C848C-2A07-EFF6-B882-637547293991}"/>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a14:imgEffect>
                  </a14:imgLayer>
                </a14:imgProps>
              </a:ext>
              <a:ext uri="{28A0092B-C50C-407E-A947-70E740481C1C}">
                <a14:useLocalDpi xmlns:a14="http://schemas.microsoft.com/office/drawing/2010/main"/>
              </a:ext>
            </a:extLst>
          </a:blip>
          <a:srcRect/>
          <a:stretch/>
        </p:blipFill>
        <p:spPr>
          <a:xfrm flipH="1">
            <a:off x="5762680" y="14437"/>
            <a:ext cx="3367129" cy="5143500"/>
          </a:xfrm>
          <a:custGeom>
            <a:avLst/>
            <a:gdLst>
              <a:gd name="connsiteX0" fmla="*/ 3382563 w 4489505"/>
              <a:gd name="connsiteY0" fmla="*/ 0 h 6858000"/>
              <a:gd name="connsiteX1" fmla="*/ 2842399 w 4489505"/>
              <a:gd name="connsiteY1" fmla="*/ 0 h 6858000"/>
              <a:gd name="connsiteX2" fmla="*/ 2791825 w 4489505"/>
              <a:gd name="connsiteY2" fmla="*/ 6853 h 6858000"/>
              <a:gd name="connsiteX3" fmla="*/ 2791825 w 4489505"/>
              <a:gd name="connsiteY3" fmla="*/ 6852 h 6858000"/>
              <a:gd name="connsiteX4" fmla="*/ 2842392 w 4489505"/>
              <a:gd name="connsiteY4" fmla="*/ 0 h 6858000"/>
              <a:gd name="connsiteX5" fmla="*/ 0 w 4489505"/>
              <a:gd name="connsiteY5" fmla="*/ 0 h 6858000"/>
              <a:gd name="connsiteX6" fmla="*/ 0 w 4489505"/>
              <a:gd name="connsiteY6" fmla="*/ 6858000 h 6858000"/>
              <a:gd name="connsiteX7" fmla="*/ 3923385 w 4489505"/>
              <a:gd name="connsiteY7" fmla="*/ 6858000 h 6858000"/>
              <a:gd name="connsiteX8" fmla="*/ 3921229 w 4489505"/>
              <a:gd name="connsiteY8" fmla="*/ 6856629 h 6858000"/>
              <a:gd name="connsiteX9" fmla="*/ 3921230 w 4489505"/>
              <a:gd name="connsiteY9" fmla="*/ 6856629 h 6858000"/>
              <a:gd name="connsiteX10" fmla="*/ 3923386 w 4489505"/>
              <a:gd name="connsiteY10" fmla="*/ 6858000 h 6858000"/>
              <a:gd name="connsiteX11" fmla="*/ 4489505 w 4489505"/>
              <a:gd name="connsiteY11" fmla="*/ 6858000 h 6858000"/>
              <a:gd name="connsiteX12" fmla="*/ 4322354 w 4489505"/>
              <a:gd name="connsiteY12" fmla="*/ 5822426 h 6858000"/>
              <a:gd name="connsiteX13" fmla="*/ 3564174 w 4489505"/>
              <a:gd name="connsiteY13" fmla="*/ 5822426 h 6858000"/>
              <a:gd name="connsiteX14" fmla="*/ 3564174 w 4489505"/>
              <a:gd name="connsiteY14" fmla="*/ 5822425 h 6858000"/>
              <a:gd name="connsiteX15" fmla="*/ 4322354 w 4489505"/>
              <a:gd name="connsiteY15" fmla="*/ 582242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489505" h="6858000">
                <a:moveTo>
                  <a:pt x="3382563" y="0"/>
                </a:moveTo>
                <a:lnTo>
                  <a:pt x="2842399" y="0"/>
                </a:lnTo>
                <a:lnTo>
                  <a:pt x="2791825" y="6853"/>
                </a:lnTo>
                <a:lnTo>
                  <a:pt x="2791825" y="6852"/>
                </a:lnTo>
                <a:lnTo>
                  <a:pt x="2842392" y="0"/>
                </a:lnTo>
                <a:lnTo>
                  <a:pt x="0" y="0"/>
                </a:lnTo>
                <a:lnTo>
                  <a:pt x="0" y="6858000"/>
                </a:lnTo>
                <a:lnTo>
                  <a:pt x="3923385" y="6858000"/>
                </a:lnTo>
                <a:lnTo>
                  <a:pt x="3921229" y="6856629"/>
                </a:lnTo>
                <a:lnTo>
                  <a:pt x="3921230" y="6856629"/>
                </a:lnTo>
                <a:lnTo>
                  <a:pt x="3923386" y="6858000"/>
                </a:lnTo>
                <a:lnTo>
                  <a:pt x="4489505" y="6858000"/>
                </a:lnTo>
                <a:lnTo>
                  <a:pt x="4322354" y="5822426"/>
                </a:lnTo>
                <a:lnTo>
                  <a:pt x="3564174" y="5822426"/>
                </a:lnTo>
                <a:lnTo>
                  <a:pt x="3564174" y="5822425"/>
                </a:lnTo>
                <a:lnTo>
                  <a:pt x="4322354" y="5822425"/>
                </a:lnTo>
                <a:close/>
              </a:path>
            </a:pathLst>
          </a:custGeom>
          <a:noFill/>
          <a:effectLst>
            <a:outerShdw blurRad="190500" dist="63500" dir="10800000" algn="r" rotWithShape="0">
              <a:schemeClr val="tx1">
                <a:alpha val="40000"/>
              </a:schemeClr>
            </a:outerShdw>
          </a:effectLst>
        </p:spPr>
      </p:pic>
      <p:sp>
        <p:nvSpPr>
          <p:cNvPr id="9" name="Freeform 8">
            <a:extLst>
              <a:ext uri="{FF2B5EF4-FFF2-40B4-BE49-F238E27FC236}">
                <a16:creationId xmlns:a16="http://schemas.microsoft.com/office/drawing/2014/main" id="{FA439B9D-4ABB-F9CD-BAA4-095D6A45A25A}"/>
              </a:ext>
            </a:extLst>
          </p:cNvPr>
          <p:cNvSpPr/>
          <p:nvPr/>
        </p:nvSpPr>
        <p:spPr>
          <a:xfrm>
            <a:off x="5759789" y="1025"/>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b="0">
                <a:solidFill>
                  <a:schemeClr val="accent1"/>
                </a:solidFill>
              </a:defRPr>
            </a:lvl1pPr>
          </a:lstStyle>
          <a:p>
            <a:r>
              <a:rPr lang="en-US"/>
              <a:t>Click to edit Master title style</a:t>
            </a:r>
            <a:endParaRPr lang="en-AE"/>
          </a:p>
        </p:txBody>
      </p:sp>
      <p:grpSp>
        <p:nvGrpSpPr>
          <p:cNvPr id="2" name="Graphic 2">
            <a:extLst>
              <a:ext uri="{FF2B5EF4-FFF2-40B4-BE49-F238E27FC236}">
                <a16:creationId xmlns:a16="http://schemas.microsoft.com/office/drawing/2014/main" id="{5859F193-9741-E97F-5548-8313F467A5DA}"/>
              </a:ext>
            </a:extLst>
          </p:cNvPr>
          <p:cNvGrpSpPr>
            <a:grpSpLocks noChangeAspect="1"/>
          </p:cNvGrpSpPr>
          <p:nvPr/>
        </p:nvGrpSpPr>
        <p:grpSpPr>
          <a:xfrm>
            <a:off x="4804" y="2"/>
            <a:ext cx="468178" cy="756000"/>
            <a:chOff x="4425584" y="267785"/>
            <a:chExt cx="2950814" cy="4756864"/>
          </a:xfrm>
          <a:solidFill>
            <a:schemeClr val="accent1"/>
          </a:solidFill>
        </p:grpSpPr>
        <p:grpSp>
          <p:nvGrpSpPr>
            <p:cNvPr id="5" name="Graphic 2">
              <a:extLst>
                <a:ext uri="{FF2B5EF4-FFF2-40B4-BE49-F238E27FC236}">
                  <a16:creationId xmlns:a16="http://schemas.microsoft.com/office/drawing/2014/main" id="{F2E0ADD9-A47B-8421-0015-8460F99EEB75}"/>
                </a:ext>
              </a:extLst>
            </p:cNvPr>
            <p:cNvGrpSpPr/>
            <p:nvPr/>
          </p:nvGrpSpPr>
          <p:grpSpPr>
            <a:xfrm>
              <a:off x="5720269" y="2764575"/>
              <a:ext cx="1656129" cy="1882392"/>
              <a:chOff x="5720269" y="2764575"/>
              <a:chExt cx="1656129" cy="1882392"/>
            </a:xfrm>
            <a:solidFill>
              <a:schemeClr val="accent1"/>
            </a:solidFill>
          </p:grpSpPr>
          <p:grpSp>
            <p:nvGrpSpPr>
              <p:cNvPr id="10" name="Graphic 2">
                <a:extLst>
                  <a:ext uri="{FF2B5EF4-FFF2-40B4-BE49-F238E27FC236}">
                    <a16:creationId xmlns:a16="http://schemas.microsoft.com/office/drawing/2014/main" id="{8271746D-C212-D263-4ABE-39C3A88909AB}"/>
                  </a:ext>
                </a:extLst>
              </p:cNvPr>
              <p:cNvGrpSpPr/>
              <p:nvPr/>
            </p:nvGrpSpPr>
            <p:grpSpPr>
              <a:xfrm>
                <a:off x="5720269" y="2764575"/>
                <a:ext cx="1656129" cy="1882392"/>
                <a:chOff x="5720269" y="2764575"/>
                <a:chExt cx="1656129" cy="1882392"/>
              </a:xfrm>
              <a:solidFill>
                <a:srgbClr val="00A099"/>
              </a:solidFill>
            </p:grpSpPr>
            <p:sp>
              <p:nvSpPr>
                <p:cNvPr id="16" name="Freeform 75">
                  <a:extLst>
                    <a:ext uri="{FF2B5EF4-FFF2-40B4-BE49-F238E27FC236}">
                      <a16:creationId xmlns:a16="http://schemas.microsoft.com/office/drawing/2014/main" id="{C03D4986-0C80-F2E3-FB1A-AC020F95A9B3}"/>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6">
                  <a:extLst>
                    <a:ext uri="{FF2B5EF4-FFF2-40B4-BE49-F238E27FC236}">
                      <a16:creationId xmlns:a16="http://schemas.microsoft.com/office/drawing/2014/main" id="{5BCDDD07-E454-B2A5-9209-ED2B7C50E983}"/>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7">
                  <a:extLst>
                    <a:ext uri="{FF2B5EF4-FFF2-40B4-BE49-F238E27FC236}">
                      <a16:creationId xmlns:a16="http://schemas.microsoft.com/office/drawing/2014/main" id="{4F7F126C-BD33-0F53-A480-E8D849799FC9}"/>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1" name="Freeform 72">
                <a:extLst>
                  <a:ext uri="{FF2B5EF4-FFF2-40B4-BE49-F238E27FC236}">
                    <a16:creationId xmlns:a16="http://schemas.microsoft.com/office/drawing/2014/main" id="{96012C3E-CCF8-8F81-057B-3C62B96952AF}"/>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3">
                <a:extLst>
                  <a:ext uri="{FF2B5EF4-FFF2-40B4-BE49-F238E27FC236}">
                    <a16:creationId xmlns:a16="http://schemas.microsoft.com/office/drawing/2014/main" id="{F4C0C394-9E8F-507D-2ABA-04E05D62CE22}"/>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4">
                <a:extLst>
                  <a:ext uri="{FF2B5EF4-FFF2-40B4-BE49-F238E27FC236}">
                    <a16:creationId xmlns:a16="http://schemas.microsoft.com/office/drawing/2014/main" id="{A6369DCB-B5D4-514F-A46D-F9FBAA6CA574}"/>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6" name="Freeform 69">
              <a:extLst>
                <a:ext uri="{FF2B5EF4-FFF2-40B4-BE49-F238E27FC236}">
                  <a16:creationId xmlns:a16="http://schemas.microsoft.com/office/drawing/2014/main" id="{9B6FD9D0-4DD8-9C6A-F21F-61AA37A068D6}"/>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7" name="Freeform 70">
              <a:extLst>
                <a:ext uri="{FF2B5EF4-FFF2-40B4-BE49-F238E27FC236}">
                  <a16:creationId xmlns:a16="http://schemas.microsoft.com/office/drawing/2014/main" id="{7AD702FF-20DB-66B4-76E4-F17C4B56AA33}"/>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421487348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Date Placeholder 4">
            <a:extLst>
              <a:ext uri="{FF2B5EF4-FFF2-40B4-BE49-F238E27FC236}">
                <a16:creationId xmlns:a16="http://schemas.microsoft.com/office/drawing/2014/main" id="{86BD3F46-FE40-E8E1-1A94-2F5EA06F0399}"/>
              </a:ext>
            </a:extLst>
          </p:cNvPr>
          <p:cNvSpPr>
            <a:spLocks noGrp="1"/>
          </p:cNvSpPr>
          <p:nvPr>
            <p:ph type="dt" sz="half" idx="14"/>
          </p:nvPr>
        </p:nvSpPr>
        <p:spPr>
          <a:xfrm>
            <a:off x="7024385" y="4972050"/>
            <a:ext cx="609508" cy="171450"/>
          </a:xfrm>
        </p:spPr>
        <p:txBody>
          <a:bodyPr/>
          <a:lstStyle/>
          <a:p>
            <a:fld id="{9BF31F0E-667C-40DC-9AB9-748B8A18706F}" type="datetime1">
              <a:rPr lang="en-US" smtClean="0"/>
              <a:t>7/8/2024</a:t>
            </a:fld>
            <a:endParaRPr lang="en-US"/>
          </a:p>
        </p:txBody>
      </p:sp>
      <p:sp>
        <p:nvSpPr>
          <p:cNvPr id="9" name="Footer Placeholder 8">
            <a:extLst>
              <a:ext uri="{FF2B5EF4-FFF2-40B4-BE49-F238E27FC236}">
                <a16:creationId xmlns:a16="http://schemas.microsoft.com/office/drawing/2014/main" id="{70E0A28E-1EB0-50D3-1E79-8B5E8811D972}"/>
              </a:ext>
            </a:extLst>
          </p:cNvPr>
          <p:cNvSpPr>
            <a:spLocks noGrp="1"/>
          </p:cNvSpPr>
          <p:nvPr>
            <p:ph type="ftr" sz="quarter" idx="15"/>
          </p:nvPr>
        </p:nvSpPr>
        <p:spPr/>
        <p:txBody>
          <a:bodyPr/>
          <a:lstStyle/>
          <a:p>
            <a:endParaRPr lang="en-US"/>
          </a:p>
        </p:txBody>
      </p:sp>
      <p:sp>
        <p:nvSpPr>
          <p:cNvPr id="10" name="Slide Number Placeholder 9">
            <a:extLst>
              <a:ext uri="{FF2B5EF4-FFF2-40B4-BE49-F238E27FC236}">
                <a16:creationId xmlns:a16="http://schemas.microsoft.com/office/drawing/2014/main" id="{691B4B0F-DC2F-D7E5-8DC4-79399C81417D}"/>
              </a:ext>
            </a:extLst>
          </p:cNvPr>
          <p:cNvSpPr>
            <a:spLocks noGrp="1"/>
          </p:cNvSpPr>
          <p:nvPr>
            <p:ph type="sldNum" sz="quarter" idx="16"/>
          </p:nvPr>
        </p:nvSpPr>
        <p:spPr>
          <a:xfrm>
            <a:off x="7638966" y="4972050"/>
            <a:ext cx="400722" cy="172800"/>
          </a:xfrm>
        </p:spPr>
        <p:txBody>
          <a:bodyPr/>
          <a:lstStyle/>
          <a:p>
            <a:fld id="{7B1F438D-4EAF-094E-9162-80CF3EF77236}" type="slidenum">
              <a:rPr lang="en-US" smtClean="0"/>
              <a:pPr/>
              <a:t>‹#›</a:t>
            </a:fld>
            <a:endParaRPr lang="en-US"/>
          </a:p>
        </p:txBody>
      </p:sp>
      <p:sp>
        <p:nvSpPr>
          <p:cNvPr id="2" name="Rectangle 1">
            <a:extLst>
              <a:ext uri="{FF2B5EF4-FFF2-40B4-BE49-F238E27FC236}">
                <a16:creationId xmlns:a16="http://schemas.microsoft.com/office/drawing/2014/main" id="{CE55527A-F940-CE7A-2B4E-A82C8A91165C}"/>
              </a:ext>
            </a:extLst>
          </p:cNvPr>
          <p:cNvSpPr/>
          <p:nvPr/>
        </p:nvSpPr>
        <p:spPr>
          <a:xfrm>
            <a:off x="521495" y="753627"/>
            <a:ext cx="8182891" cy="1205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690935119"/>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10_Lunch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DBAEA34-A133-F477-38AC-6261E38E644D}"/>
              </a:ext>
            </a:extLst>
          </p:cNvPr>
          <p:cNvGraphicFramePr>
            <a:graphicFrameLocks noChangeAspect="1"/>
          </p:cNvGraphicFramePr>
          <p:nvPr>
            <p:custDataLst>
              <p:tags r:id="rId1"/>
            </p:custDataLst>
            <p:extLst>
              <p:ext uri="{D42A27DB-BD31-4B8C-83A1-F6EECF244321}">
                <p14:modId xmlns:p14="http://schemas.microsoft.com/office/powerpoint/2010/main" val="3790269590"/>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BDBAEA34-A133-F477-38AC-6261E38E644D}"/>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2" name="Picture Placeholder 14">
            <a:extLst>
              <a:ext uri="{FF2B5EF4-FFF2-40B4-BE49-F238E27FC236}">
                <a16:creationId xmlns:a16="http://schemas.microsoft.com/office/drawing/2014/main" id="{43859227-41B1-FA74-F544-0FC47C2A08F5}"/>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1" y="1"/>
            <a:ext cx="9148805" cy="5146202"/>
          </a:xfrm>
          <a:prstGeom prst="rect">
            <a:avLst/>
          </a:prstGeom>
          <a:noFill/>
        </p:spPr>
      </p:pic>
      <p:pic>
        <p:nvPicPr>
          <p:cNvPr id="5" name="Picture 4">
            <a:extLst>
              <a:ext uri="{FF2B5EF4-FFF2-40B4-BE49-F238E27FC236}">
                <a16:creationId xmlns:a16="http://schemas.microsoft.com/office/drawing/2014/main" id="{76D9B89E-0ABB-FDC7-88FF-85EC5B92D13B}"/>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30"/>
                    </a14:imgEffect>
                  </a14:imgLayer>
                </a14:imgProps>
              </a:ext>
              <a:ext uri="{28A0092B-C50C-407E-A947-70E740481C1C}">
                <a14:useLocalDpi xmlns:a14="http://schemas.microsoft.com/office/drawing/2010/main"/>
              </a:ext>
            </a:extLst>
          </a:blip>
          <a:srcRect/>
          <a:stretch/>
        </p:blipFill>
        <p:spPr>
          <a:xfrm>
            <a:off x="5754985" y="0"/>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noFill/>
          <a:effectLst>
            <a:outerShdw blurRad="190500" dist="63500" dir="10800000" algn="r" rotWithShape="0">
              <a:schemeClr val="tx2">
                <a:alpha val="40000"/>
              </a:schemeClr>
            </a:outerShdw>
          </a:effectLst>
        </p:spPr>
      </p:pic>
      <p:sp>
        <p:nvSpPr>
          <p:cNvPr id="9" name="Freeform 8">
            <a:extLst>
              <a:ext uri="{FF2B5EF4-FFF2-40B4-BE49-F238E27FC236}">
                <a16:creationId xmlns:a16="http://schemas.microsoft.com/office/drawing/2014/main" id="{FA439B9D-4ABB-F9CD-BAA4-095D6A45A25A}"/>
              </a:ext>
            </a:extLst>
          </p:cNvPr>
          <p:cNvSpPr/>
          <p:nvPr/>
        </p:nvSpPr>
        <p:spPr>
          <a:xfrm>
            <a:off x="5759789" y="1025"/>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b="0">
                <a:solidFill>
                  <a:schemeClr val="accent1"/>
                </a:solidFill>
              </a:defRPr>
            </a:lvl1pPr>
          </a:lstStyle>
          <a:p>
            <a:r>
              <a:rPr lang="en-US"/>
              <a:t>Click to edit Master title style</a:t>
            </a:r>
            <a:endParaRPr lang="en-AE"/>
          </a:p>
        </p:txBody>
      </p:sp>
      <p:grpSp>
        <p:nvGrpSpPr>
          <p:cNvPr id="3" name="Graphic 2">
            <a:extLst>
              <a:ext uri="{FF2B5EF4-FFF2-40B4-BE49-F238E27FC236}">
                <a16:creationId xmlns:a16="http://schemas.microsoft.com/office/drawing/2014/main" id="{867EDFD2-793F-05CC-8ECA-2E7BBAC755FD}"/>
              </a:ext>
            </a:extLst>
          </p:cNvPr>
          <p:cNvGrpSpPr>
            <a:grpSpLocks noChangeAspect="1"/>
          </p:cNvGrpSpPr>
          <p:nvPr/>
        </p:nvGrpSpPr>
        <p:grpSpPr>
          <a:xfrm>
            <a:off x="4804" y="2"/>
            <a:ext cx="468178" cy="756000"/>
            <a:chOff x="4425584" y="267785"/>
            <a:chExt cx="2950814" cy="4756864"/>
          </a:xfrm>
          <a:solidFill>
            <a:schemeClr val="accent1"/>
          </a:solidFill>
        </p:grpSpPr>
        <p:grpSp>
          <p:nvGrpSpPr>
            <p:cNvPr id="6" name="Graphic 2">
              <a:extLst>
                <a:ext uri="{FF2B5EF4-FFF2-40B4-BE49-F238E27FC236}">
                  <a16:creationId xmlns:a16="http://schemas.microsoft.com/office/drawing/2014/main" id="{A9DBC34F-F3A6-E907-F187-528EA1DAE99E}"/>
                </a:ext>
              </a:extLst>
            </p:cNvPr>
            <p:cNvGrpSpPr/>
            <p:nvPr/>
          </p:nvGrpSpPr>
          <p:grpSpPr>
            <a:xfrm>
              <a:off x="5720269" y="2764575"/>
              <a:ext cx="1656129" cy="1882392"/>
              <a:chOff x="5720269" y="2764575"/>
              <a:chExt cx="1656129" cy="1882392"/>
            </a:xfrm>
            <a:solidFill>
              <a:schemeClr val="accent1"/>
            </a:solidFill>
          </p:grpSpPr>
          <p:grpSp>
            <p:nvGrpSpPr>
              <p:cNvPr id="10" name="Graphic 2">
                <a:extLst>
                  <a:ext uri="{FF2B5EF4-FFF2-40B4-BE49-F238E27FC236}">
                    <a16:creationId xmlns:a16="http://schemas.microsoft.com/office/drawing/2014/main" id="{033C72C7-D37C-B450-EB26-B4E28AECE86E}"/>
                  </a:ext>
                </a:extLst>
              </p:cNvPr>
              <p:cNvGrpSpPr/>
              <p:nvPr/>
            </p:nvGrpSpPr>
            <p:grpSpPr>
              <a:xfrm>
                <a:off x="5720269" y="2764575"/>
                <a:ext cx="1656129" cy="1882392"/>
                <a:chOff x="5720269" y="2764575"/>
                <a:chExt cx="1656129" cy="1882392"/>
              </a:xfrm>
              <a:solidFill>
                <a:srgbClr val="00A099"/>
              </a:solidFill>
            </p:grpSpPr>
            <p:sp>
              <p:nvSpPr>
                <p:cNvPr id="16" name="Freeform 75">
                  <a:extLst>
                    <a:ext uri="{FF2B5EF4-FFF2-40B4-BE49-F238E27FC236}">
                      <a16:creationId xmlns:a16="http://schemas.microsoft.com/office/drawing/2014/main" id="{3A008AF3-E97E-F390-2EEC-755DBCB363D8}"/>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6">
                  <a:extLst>
                    <a:ext uri="{FF2B5EF4-FFF2-40B4-BE49-F238E27FC236}">
                      <a16:creationId xmlns:a16="http://schemas.microsoft.com/office/drawing/2014/main" id="{EBC3E639-F228-9588-6718-219B5D098792}"/>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7">
                  <a:extLst>
                    <a:ext uri="{FF2B5EF4-FFF2-40B4-BE49-F238E27FC236}">
                      <a16:creationId xmlns:a16="http://schemas.microsoft.com/office/drawing/2014/main" id="{833F1154-3CA4-D24D-5F54-7E37D01D799A}"/>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1" name="Freeform 72">
                <a:extLst>
                  <a:ext uri="{FF2B5EF4-FFF2-40B4-BE49-F238E27FC236}">
                    <a16:creationId xmlns:a16="http://schemas.microsoft.com/office/drawing/2014/main" id="{5745BCC4-600A-40DC-EF58-FEF5DF8C1847}"/>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3">
                <a:extLst>
                  <a:ext uri="{FF2B5EF4-FFF2-40B4-BE49-F238E27FC236}">
                    <a16:creationId xmlns:a16="http://schemas.microsoft.com/office/drawing/2014/main" id="{1F11A763-011D-E075-D573-BE82D0539618}"/>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4">
                <a:extLst>
                  <a:ext uri="{FF2B5EF4-FFF2-40B4-BE49-F238E27FC236}">
                    <a16:creationId xmlns:a16="http://schemas.microsoft.com/office/drawing/2014/main" id="{320273BD-13FD-BB35-A367-7269815650D0}"/>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7" name="Freeform 69">
              <a:extLst>
                <a:ext uri="{FF2B5EF4-FFF2-40B4-BE49-F238E27FC236}">
                  <a16:creationId xmlns:a16="http://schemas.microsoft.com/office/drawing/2014/main" id="{6CBF7EA9-C734-FDF4-181B-C362EBF7B34C}"/>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8" name="Freeform 70">
              <a:extLst>
                <a:ext uri="{FF2B5EF4-FFF2-40B4-BE49-F238E27FC236}">
                  <a16:creationId xmlns:a16="http://schemas.microsoft.com/office/drawing/2014/main" id="{F083D06C-43D6-486F-8869-A52CFD5172B4}"/>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2439986174"/>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13_Lunch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93395373-C2C6-6A46-353B-AA58BC52B206}"/>
              </a:ext>
            </a:extLst>
          </p:cNvPr>
          <p:cNvGraphicFramePr>
            <a:graphicFrameLocks noChangeAspect="1"/>
          </p:cNvGraphicFramePr>
          <p:nvPr>
            <p:custDataLst>
              <p:tags r:id="rId1"/>
            </p:custDataLst>
            <p:extLst>
              <p:ext uri="{D42A27DB-BD31-4B8C-83A1-F6EECF244321}">
                <p14:modId xmlns:p14="http://schemas.microsoft.com/office/powerpoint/2010/main" val="1769598928"/>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93395373-C2C6-6A46-353B-AA58BC52B206}"/>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73961AF3-0BAC-3B23-DECC-06C944A8A0FC}"/>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a:xfrm>
            <a:off x="509" y="1"/>
            <a:ext cx="9138645" cy="5141060"/>
          </a:xfrm>
          <a:prstGeom prst="rect">
            <a:avLst/>
          </a:prstGeom>
        </p:spPr>
      </p:pic>
      <p:pic>
        <p:nvPicPr>
          <p:cNvPr id="17" name="Picture 16">
            <a:extLst>
              <a:ext uri="{FF2B5EF4-FFF2-40B4-BE49-F238E27FC236}">
                <a16:creationId xmlns:a16="http://schemas.microsoft.com/office/drawing/2014/main" id="{11511514-914E-FC06-D18F-12E951B5EDFF}"/>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30"/>
                    </a14:imgEffect>
                  </a14:imgLayer>
                </a14:imgProps>
              </a:ext>
              <a:ext uri="{28A0092B-C50C-407E-A947-70E740481C1C}">
                <a14:useLocalDpi xmlns:a14="http://schemas.microsoft.com/office/drawing/2010/main"/>
              </a:ext>
            </a:extLst>
          </a:blip>
          <a:srcRect t="-218" r="-245"/>
          <a:stretch/>
        </p:blipFill>
        <p:spPr>
          <a:xfrm>
            <a:off x="5744200" y="0"/>
            <a:ext cx="3394915" cy="5147988"/>
          </a:xfrm>
          <a:custGeom>
            <a:avLst/>
            <a:gdLst>
              <a:gd name="connsiteX0" fmla="*/ 1106417 w 4511121"/>
              <a:gd name="connsiteY0" fmla="*/ 0 h 6854747"/>
              <a:gd name="connsiteX1" fmla="*/ 4511121 w 4511121"/>
              <a:gd name="connsiteY1" fmla="*/ 0 h 6854747"/>
              <a:gd name="connsiteX2" fmla="*/ 4511121 w 4511121"/>
              <a:gd name="connsiteY2" fmla="*/ 6854747 h 6854747"/>
              <a:gd name="connsiteX3" fmla="*/ 0 w 4511121"/>
              <a:gd name="connsiteY3" fmla="*/ 6854747 h 6854747"/>
              <a:gd name="connsiteX4" fmla="*/ 166363 w 4511121"/>
              <a:gd name="connsiteY4" fmla="*/ 5824052 h 6854747"/>
              <a:gd name="connsiteX5" fmla="*/ 924543 w 4511121"/>
              <a:gd name="connsiteY5" fmla="*/ 5824052 h 6854747"/>
              <a:gd name="connsiteX6" fmla="*/ 924543 w 4511121"/>
              <a:gd name="connsiteY6" fmla="*/ 5824051 h 6854747"/>
              <a:gd name="connsiteX7" fmla="*/ 166363 w 4511121"/>
              <a:gd name="connsiteY7" fmla="*/ 5824051 h 6854747"/>
              <a:gd name="connsiteX8" fmla="*/ 1106416 w 4511121"/>
              <a:gd name="connsiteY8" fmla="*/ 2 h 6854747"/>
              <a:gd name="connsiteX9" fmla="*/ 1634333 w 4511121"/>
              <a:gd name="connsiteY9" fmla="*/ 2 h 6854747"/>
              <a:gd name="connsiteX10" fmla="*/ 1696892 w 4511121"/>
              <a:gd name="connsiteY10" fmla="*/ 8479 h 6854747"/>
              <a:gd name="connsiteX11" fmla="*/ 1696892 w 4511121"/>
              <a:gd name="connsiteY11" fmla="*/ 8478 h 6854747"/>
              <a:gd name="connsiteX12" fmla="*/ 1634333 w 4511121"/>
              <a:gd name="connsiteY12" fmla="*/ 1 h 6854747"/>
              <a:gd name="connsiteX13" fmla="*/ 1106416 w 4511121"/>
              <a:gd name="connsiteY13" fmla="*/ 1 h 68547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511121" h="6854747">
                <a:moveTo>
                  <a:pt x="1106417" y="0"/>
                </a:moveTo>
                <a:lnTo>
                  <a:pt x="4511121" y="0"/>
                </a:lnTo>
                <a:lnTo>
                  <a:pt x="4511121" y="6854747"/>
                </a:lnTo>
                <a:lnTo>
                  <a:pt x="0" y="6854747"/>
                </a:lnTo>
                <a:lnTo>
                  <a:pt x="166363" y="5824052"/>
                </a:lnTo>
                <a:lnTo>
                  <a:pt x="924543" y="5824052"/>
                </a:lnTo>
                <a:lnTo>
                  <a:pt x="924543" y="5824051"/>
                </a:lnTo>
                <a:lnTo>
                  <a:pt x="166363" y="5824051"/>
                </a:lnTo>
                <a:lnTo>
                  <a:pt x="1106416" y="2"/>
                </a:lnTo>
                <a:lnTo>
                  <a:pt x="1634333" y="2"/>
                </a:lnTo>
                <a:lnTo>
                  <a:pt x="1696892" y="8479"/>
                </a:lnTo>
                <a:lnTo>
                  <a:pt x="1696892" y="8478"/>
                </a:lnTo>
                <a:lnTo>
                  <a:pt x="1634333" y="1"/>
                </a:lnTo>
                <a:lnTo>
                  <a:pt x="1106416" y="1"/>
                </a:lnTo>
                <a:close/>
              </a:path>
            </a:pathLst>
          </a:custGeom>
          <a:effectLst>
            <a:outerShdw blurRad="190500" dist="63500" dir="10800000" algn="r" rotWithShape="0">
              <a:prstClr val="black">
                <a:alpha val="40000"/>
              </a:prstClr>
            </a:outerShdw>
          </a:effectLst>
        </p:spPr>
      </p:pic>
      <p:sp>
        <p:nvSpPr>
          <p:cNvPr id="9" name="Freeform 8">
            <a:extLst>
              <a:ext uri="{FF2B5EF4-FFF2-40B4-BE49-F238E27FC236}">
                <a16:creationId xmlns:a16="http://schemas.microsoft.com/office/drawing/2014/main" id="{FA439B9D-4ABB-F9CD-BAA4-095D6A45A25A}"/>
              </a:ext>
            </a:extLst>
          </p:cNvPr>
          <p:cNvSpPr/>
          <p:nvPr/>
        </p:nvSpPr>
        <p:spPr>
          <a:xfrm>
            <a:off x="5759789" y="1025"/>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b="0">
                <a:solidFill>
                  <a:schemeClr val="accent1"/>
                </a:solidFill>
              </a:defRPr>
            </a:lvl1pPr>
          </a:lstStyle>
          <a:p>
            <a:r>
              <a:rPr lang="en-US"/>
              <a:t>Click to edit Master title style</a:t>
            </a:r>
            <a:endParaRPr lang="en-AE"/>
          </a:p>
        </p:txBody>
      </p:sp>
      <p:grpSp>
        <p:nvGrpSpPr>
          <p:cNvPr id="2" name="Graphic 2">
            <a:extLst>
              <a:ext uri="{FF2B5EF4-FFF2-40B4-BE49-F238E27FC236}">
                <a16:creationId xmlns:a16="http://schemas.microsoft.com/office/drawing/2014/main" id="{ABEF3C90-A9AF-7986-9EC9-D328CD35443B}"/>
              </a:ext>
            </a:extLst>
          </p:cNvPr>
          <p:cNvGrpSpPr>
            <a:grpSpLocks noChangeAspect="1"/>
          </p:cNvGrpSpPr>
          <p:nvPr/>
        </p:nvGrpSpPr>
        <p:grpSpPr>
          <a:xfrm>
            <a:off x="4804" y="2"/>
            <a:ext cx="468178" cy="756000"/>
            <a:chOff x="4425584" y="267785"/>
            <a:chExt cx="2950814" cy="4756864"/>
          </a:xfrm>
          <a:solidFill>
            <a:schemeClr val="accent1"/>
          </a:solidFill>
        </p:grpSpPr>
        <p:grpSp>
          <p:nvGrpSpPr>
            <p:cNvPr id="3" name="Graphic 2">
              <a:extLst>
                <a:ext uri="{FF2B5EF4-FFF2-40B4-BE49-F238E27FC236}">
                  <a16:creationId xmlns:a16="http://schemas.microsoft.com/office/drawing/2014/main" id="{72D73334-B35C-7954-1936-98ACBBAC9012}"/>
                </a:ext>
              </a:extLst>
            </p:cNvPr>
            <p:cNvGrpSpPr/>
            <p:nvPr/>
          </p:nvGrpSpPr>
          <p:grpSpPr>
            <a:xfrm>
              <a:off x="5720269" y="2764575"/>
              <a:ext cx="1656129" cy="1882392"/>
              <a:chOff x="5720269" y="2764575"/>
              <a:chExt cx="1656129" cy="1882392"/>
            </a:xfrm>
            <a:solidFill>
              <a:schemeClr val="accent1"/>
            </a:solidFill>
          </p:grpSpPr>
          <p:grpSp>
            <p:nvGrpSpPr>
              <p:cNvPr id="8" name="Graphic 2">
                <a:extLst>
                  <a:ext uri="{FF2B5EF4-FFF2-40B4-BE49-F238E27FC236}">
                    <a16:creationId xmlns:a16="http://schemas.microsoft.com/office/drawing/2014/main" id="{86939B4E-B5F4-9BB2-6772-8A5D1D9D2560}"/>
                  </a:ext>
                </a:extLst>
              </p:cNvPr>
              <p:cNvGrpSpPr/>
              <p:nvPr/>
            </p:nvGrpSpPr>
            <p:grpSpPr>
              <a:xfrm>
                <a:off x="5720269" y="2764575"/>
                <a:ext cx="1656129" cy="1882392"/>
                <a:chOff x="5720269" y="2764575"/>
                <a:chExt cx="1656129" cy="1882392"/>
              </a:xfrm>
              <a:solidFill>
                <a:srgbClr val="00A099"/>
              </a:solidFill>
            </p:grpSpPr>
            <p:sp>
              <p:nvSpPr>
                <p:cNvPr id="15" name="Freeform 75">
                  <a:extLst>
                    <a:ext uri="{FF2B5EF4-FFF2-40B4-BE49-F238E27FC236}">
                      <a16:creationId xmlns:a16="http://schemas.microsoft.com/office/drawing/2014/main" id="{17CF27B8-71E3-E5AD-D343-39885DAE95CB}"/>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Freeform 76">
                  <a:extLst>
                    <a:ext uri="{FF2B5EF4-FFF2-40B4-BE49-F238E27FC236}">
                      <a16:creationId xmlns:a16="http://schemas.microsoft.com/office/drawing/2014/main" id="{4D998468-CD7C-54A7-A31D-1DC97D0965E8}"/>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7">
                  <a:extLst>
                    <a:ext uri="{FF2B5EF4-FFF2-40B4-BE49-F238E27FC236}">
                      <a16:creationId xmlns:a16="http://schemas.microsoft.com/office/drawing/2014/main" id="{B86D4BE5-E10A-D56A-C6E9-E0971B82FD15}"/>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0" name="Freeform 72">
                <a:extLst>
                  <a:ext uri="{FF2B5EF4-FFF2-40B4-BE49-F238E27FC236}">
                    <a16:creationId xmlns:a16="http://schemas.microsoft.com/office/drawing/2014/main" id="{FEB3C013-7EE7-CA9E-91FB-85FCBD75D280}"/>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1" name="Freeform 73">
                <a:extLst>
                  <a:ext uri="{FF2B5EF4-FFF2-40B4-BE49-F238E27FC236}">
                    <a16:creationId xmlns:a16="http://schemas.microsoft.com/office/drawing/2014/main" id="{2F50CD9D-0F73-DD28-EE1E-47C74F19ADD5}"/>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4">
                <a:extLst>
                  <a:ext uri="{FF2B5EF4-FFF2-40B4-BE49-F238E27FC236}">
                    <a16:creationId xmlns:a16="http://schemas.microsoft.com/office/drawing/2014/main" id="{7C822FDB-D784-BC8E-2E16-DA792FF76843}"/>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6" name="Freeform 69">
              <a:extLst>
                <a:ext uri="{FF2B5EF4-FFF2-40B4-BE49-F238E27FC236}">
                  <a16:creationId xmlns:a16="http://schemas.microsoft.com/office/drawing/2014/main" id="{10782F7F-4E40-D04E-1A96-BA3197EBF5AB}"/>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7" name="Freeform 70">
              <a:extLst>
                <a:ext uri="{FF2B5EF4-FFF2-40B4-BE49-F238E27FC236}">
                  <a16:creationId xmlns:a16="http://schemas.microsoft.com/office/drawing/2014/main" id="{27227963-6E9C-F37F-ACAA-53CC991CFDE1}"/>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2289753564"/>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14_Lunch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93395373-C2C6-6A46-353B-AA58BC52B206}"/>
              </a:ext>
            </a:extLst>
          </p:cNvPr>
          <p:cNvGraphicFramePr>
            <a:graphicFrameLocks noChangeAspect="1"/>
          </p:cNvGraphicFramePr>
          <p:nvPr>
            <p:custDataLst>
              <p:tags r:id="rId1"/>
            </p:custDataLst>
            <p:extLst>
              <p:ext uri="{D42A27DB-BD31-4B8C-83A1-F6EECF244321}">
                <p14:modId xmlns:p14="http://schemas.microsoft.com/office/powerpoint/2010/main" val="3932563872"/>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93395373-C2C6-6A46-353B-AA58BC52B206}"/>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2" name="Picture Placeholder 14" descr="Close-up of a pen writing on a chart">
            <a:extLst>
              <a:ext uri="{FF2B5EF4-FFF2-40B4-BE49-F238E27FC236}">
                <a16:creationId xmlns:a16="http://schemas.microsoft.com/office/drawing/2014/main" id="{2117F75F-8932-4B18-5263-6FD54F2D617B}"/>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0" y="0"/>
            <a:ext cx="9144000" cy="5143500"/>
          </a:xfrm>
          <a:prstGeom prst="rect">
            <a:avLst/>
          </a:prstGeom>
          <a:noFill/>
        </p:spPr>
      </p:pic>
      <p:pic>
        <p:nvPicPr>
          <p:cNvPr id="8" name="Picture 7" descr="Close-up of a pen writing on a chart">
            <a:extLst>
              <a:ext uri="{FF2B5EF4-FFF2-40B4-BE49-F238E27FC236}">
                <a16:creationId xmlns:a16="http://schemas.microsoft.com/office/drawing/2014/main" id="{B140270D-787B-3A30-8E81-F2B0349FDB5E}"/>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20"/>
                    </a14:imgEffect>
                  </a14:imgLayer>
                </a14:imgProps>
              </a:ext>
              <a:ext uri="{28A0092B-C50C-407E-A947-70E740481C1C}">
                <a14:useLocalDpi xmlns:a14="http://schemas.microsoft.com/office/drawing/2010/main"/>
              </a:ext>
            </a:extLst>
          </a:blip>
          <a:srcRect/>
          <a:stretch/>
        </p:blipFill>
        <p:spPr>
          <a:xfrm>
            <a:off x="5755378" y="0"/>
            <a:ext cx="3383735" cy="5143500"/>
          </a:xfrm>
          <a:custGeom>
            <a:avLst/>
            <a:gdLst>
              <a:gd name="connsiteX0" fmla="*/ 1106942 w 4511646"/>
              <a:gd name="connsiteY0" fmla="*/ 0 h 6858000"/>
              <a:gd name="connsiteX1" fmla="*/ 4511646 w 4511646"/>
              <a:gd name="connsiteY1" fmla="*/ 0 h 6858000"/>
              <a:gd name="connsiteX2" fmla="*/ 4511646 w 4511646"/>
              <a:gd name="connsiteY2" fmla="*/ 6858000 h 6858000"/>
              <a:gd name="connsiteX3" fmla="*/ 0 w 4511646"/>
              <a:gd name="connsiteY3" fmla="*/ 6858000 h 6858000"/>
              <a:gd name="connsiteX4" fmla="*/ 166888 w 4511646"/>
              <a:gd name="connsiteY4" fmla="*/ 5824052 h 6858000"/>
              <a:gd name="connsiteX5" fmla="*/ 925068 w 4511646"/>
              <a:gd name="connsiteY5" fmla="*/ 5824052 h 6858000"/>
              <a:gd name="connsiteX6" fmla="*/ 925068 w 4511646"/>
              <a:gd name="connsiteY6" fmla="*/ 5824051 h 6858000"/>
              <a:gd name="connsiteX7" fmla="*/ 166888 w 4511646"/>
              <a:gd name="connsiteY7" fmla="*/ 5824051 h 6858000"/>
              <a:gd name="connsiteX8" fmla="*/ 1106941 w 4511646"/>
              <a:gd name="connsiteY8" fmla="*/ 2 h 6858000"/>
              <a:gd name="connsiteX9" fmla="*/ 1634858 w 4511646"/>
              <a:gd name="connsiteY9" fmla="*/ 2 h 6858000"/>
              <a:gd name="connsiteX10" fmla="*/ 1697417 w 4511646"/>
              <a:gd name="connsiteY10" fmla="*/ 8479 h 6858000"/>
              <a:gd name="connsiteX11" fmla="*/ 1697417 w 4511646"/>
              <a:gd name="connsiteY11" fmla="*/ 8478 h 6858000"/>
              <a:gd name="connsiteX12" fmla="*/ 1634858 w 4511646"/>
              <a:gd name="connsiteY12" fmla="*/ 1 h 6858000"/>
              <a:gd name="connsiteX13" fmla="*/ 1106941 w 4511646"/>
              <a:gd name="connsiteY13" fmla="*/ 1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511646" h="6858000">
                <a:moveTo>
                  <a:pt x="1106942" y="0"/>
                </a:moveTo>
                <a:lnTo>
                  <a:pt x="4511646" y="0"/>
                </a:lnTo>
                <a:lnTo>
                  <a:pt x="4511646" y="6858000"/>
                </a:lnTo>
                <a:lnTo>
                  <a:pt x="0" y="6858000"/>
                </a:lnTo>
                <a:lnTo>
                  <a:pt x="166888" y="5824052"/>
                </a:lnTo>
                <a:lnTo>
                  <a:pt x="925068" y="5824052"/>
                </a:lnTo>
                <a:lnTo>
                  <a:pt x="925068" y="5824051"/>
                </a:lnTo>
                <a:lnTo>
                  <a:pt x="166888" y="5824051"/>
                </a:lnTo>
                <a:lnTo>
                  <a:pt x="1106941" y="2"/>
                </a:lnTo>
                <a:lnTo>
                  <a:pt x="1634858" y="2"/>
                </a:lnTo>
                <a:lnTo>
                  <a:pt x="1697417" y="8479"/>
                </a:lnTo>
                <a:lnTo>
                  <a:pt x="1697417" y="8478"/>
                </a:lnTo>
                <a:lnTo>
                  <a:pt x="1634858" y="1"/>
                </a:lnTo>
                <a:lnTo>
                  <a:pt x="1106941" y="1"/>
                </a:lnTo>
                <a:close/>
              </a:path>
            </a:pathLst>
          </a:custGeom>
          <a:noFill/>
          <a:effectLst>
            <a:outerShdw blurRad="190500" dist="63500" dir="10800000" algn="r" rotWithShape="0">
              <a:prstClr val="black">
                <a:alpha val="40000"/>
              </a:prstClr>
            </a:outerShdw>
          </a:effectLst>
        </p:spPr>
      </p:pic>
      <p:sp>
        <p:nvSpPr>
          <p:cNvPr id="9" name="Freeform 8">
            <a:extLst>
              <a:ext uri="{FF2B5EF4-FFF2-40B4-BE49-F238E27FC236}">
                <a16:creationId xmlns:a16="http://schemas.microsoft.com/office/drawing/2014/main" id="{FA439B9D-4ABB-F9CD-BAA4-095D6A45A25A}"/>
              </a:ext>
            </a:extLst>
          </p:cNvPr>
          <p:cNvSpPr/>
          <p:nvPr/>
        </p:nvSpPr>
        <p:spPr>
          <a:xfrm>
            <a:off x="5759789" y="1025"/>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b="0">
                <a:solidFill>
                  <a:schemeClr val="accent1"/>
                </a:solidFill>
              </a:defRPr>
            </a:lvl1pPr>
          </a:lstStyle>
          <a:p>
            <a:r>
              <a:rPr lang="en-US"/>
              <a:t>Click to edit Master title style</a:t>
            </a:r>
            <a:endParaRPr lang="en-AE"/>
          </a:p>
        </p:txBody>
      </p:sp>
      <p:grpSp>
        <p:nvGrpSpPr>
          <p:cNvPr id="3" name="Graphic 2">
            <a:extLst>
              <a:ext uri="{FF2B5EF4-FFF2-40B4-BE49-F238E27FC236}">
                <a16:creationId xmlns:a16="http://schemas.microsoft.com/office/drawing/2014/main" id="{9EC6A14E-CAD9-71F4-033C-4A4002363410}"/>
              </a:ext>
            </a:extLst>
          </p:cNvPr>
          <p:cNvGrpSpPr>
            <a:grpSpLocks noChangeAspect="1"/>
          </p:cNvGrpSpPr>
          <p:nvPr/>
        </p:nvGrpSpPr>
        <p:grpSpPr>
          <a:xfrm>
            <a:off x="4804" y="2"/>
            <a:ext cx="468178" cy="756000"/>
            <a:chOff x="4425584" y="267785"/>
            <a:chExt cx="2950814" cy="4756864"/>
          </a:xfrm>
          <a:solidFill>
            <a:schemeClr val="accent1"/>
          </a:solidFill>
        </p:grpSpPr>
        <p:grpSp>
          <p:nvGrpSpPr>
            <p:cNvPr id="5" name="Graphic 2">
              <a:extLst>
                <a:ext uri="{FF2B5EF4-FFF2-40B4-BE49-F238E27FC236}">
                  <a16:creationId xmlns:a16="http://schemas.microsoft.com/office/drawing/2014/main" id="{6F74C849-406E-D1CC-5AF9-BC946A661D5C}"/>
                </a:ext>
              </a:extLst>
            </p:cNvPr>
            <p:cNvGrpSpPr/>
            <p:nvPr/>
          </p:nvGrpSpPr>
          <p:grpSpPr>
            <a:xfrm>
              <a:off x="5720269" y="2764575"/>
              <a:ext cx="1656129" cy="1882392"/>
              <a:chOff x="5720269" y="2764575"/>
              <a:chExt cx="1656129" cy="1882392"/>
            </a:xfrm>
            <a:solidFill>
              <a:schemeClr val="accent1"/>
            </a:solidFill>
          </p:grpSpPr>
          <p:grpSp>
            <p:nvGrpSpPr>
              <p:cNvPr id="10" name="Graphic 2">
                <a:extLst>
                  <a:ext uri="{FF2B5EF4-FFF2-40B4-BE49-F238E27FC236}">
                    <a16:creationId xmlns:a16="http://schemas.microsoft.com/office/drawing/2014/main" id="{39F00991-38F4-4141-276C-06D7690DE4AF}"/>
                  </a:ext>
                </a:extLst>
              </p:cNvPr>
              <p:cNvGrpSpPr/>
              <p:nvPr/>
            </p:nvGrpSpPr>
            <p:grpSpPr>
              <a:xfrm>
                <a:off x="5720269" y="2764575"/>
                <a:ext cx="1656129" cy="1882392"/>
                <a:chOff x="5720269" y="2764575"/>
                <a:chExt cx="1656129" cy="1882392"/>
              </a:xfrm>
              <a:solidFill>
                <a:srgbClr val="00A099"/>
              </a:solidFill>
            </p:grpSpPr>
            <p:sp>
              <p:nvSpPr>
                <p:cNvPr id="16" name="Freeform 75">
                  <a:extLst>
                    <a:ext uri="{FF2B5EF4-FFF2-40B4-BE49-F238E27FC236}">
                      <a16:creationId xmlns:a16="http://schemas.microsoft.com/office/drawing/2014/main" id="{9FE81324-22A5-5E78-9524-675E738F8A78}"/>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6">
                  <a:extLst>
                    <a:ext uri="{FF2B5EF4-FFF2-40B4-BE49-F238E27FC236}">
                      <a16:creationId xmlns:a16="http://schemas.microsoft.com/office/drawing/2014/main" id="{01EFE7C2-812E-10E2-7124-751F08F05418}"/>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7">
                  <a:extLst>
                    <a:ext uri="{FF2B5EF4-FFF2-40B4-BE49-F238E27FC236}">
                      <a16:creationId xmlns:a16="http://schemas.microsoft.com/office/drawing/2014/main" id="{CA2F1E99-699F-80C2-51EE-08E8C81D0F75}"/>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1" name="Freeform 72">
                <a:extLst>
                  <a:ext uri="{FF2B5EF4-FFF2-40B4-BE49-F238E27FC236}">
                    <a16:creationId xmlns:a16="http://schemas.microsoft.com/office/drawing/2014/main" id="{4C8B2E6E-2AA1-60BD-6690-8F5DCEF5704C}"/>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3">
                <a:extLst>
                  <a:ext uri="{FF2B5EF4-FFF2-40B4-BE49-F238E27FC236}">
                    <a16:creationId xmlns:a16="http://schemas.microsoft.com/office/drawing/2014/main" id="{C454ACAA-9ED9-3F5E-F151-A766E07A1E4E}"/>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4">
                <a:extLst>
                  <a:ext uri="{FF2B5EF4-FFF2-40B4-BE49-F238E27FC236}">
                    <a16:creationId xmlns:a16="http://schemas.microsoft.com/office/drawing/2014/main" id="{55413CD3-186D-6E43-7C77-8F8E75A7FE08}"/>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6" name="Freeform 69">
              <a:extLst>
                <a:ext uri="{FF2B5EF4-FFF2-40B4-BE49-F238E27FC236}">
                  <a16:creationId xmlns:a16="http://schemas.microsoft.com/office/drawing/2014/main" id="{E1EE5F01-B53C-C4A2-A3B6-DAEA42072395}"/>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7" name="Freeform 70">
              <a:extLst>
                <a:ext uri="{FF2B5EF4-FFF2-40B4-BE49-F238E27FC236}">
                  <a16:creationId xmlns:a16="http://schemas.microsoft.com/office/drawing/2014/main" id="{F756E25D-FFEA-C4E5-A3FF-C0294371F54B}"/>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2570898372"/>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17_Lunch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93395373-C2C6-6A46-353B-AA58BC52B206}"/>
              </a:ext>
            </a:extLst>
          </p:cNvPr>
          <p:cNvGraphicFramePr>
            <a:graphicFrameLocks noChangeAspect="1"/>
          </p:cNvGraphicFramePr>
          <p:nvPr>
            <p:custDataLst>
              <p:tags r:id="rId1"/>
            </p:custDataLst>
            <p:extLst>
              <p:ext uri="{D42A27DB-BD31-4B8C-83A1-F6EECF244321}">
                <p14:modId xmlns:p14="http://schemas.microsoft.com/office/powerpoint/2010/main" val="507375766"/>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93395373-C2C6-6A46-353B-AA58BC52B206}"/>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2" name="Picture Placeholder 14">
            <a:extLst>
              <a:ext uri="{FF2B5EF4-FFF2-40B4-BE49-F238E27FC236}">
                <a16:creationId xmlns:a16="http://schemas.microsoft.com/office/drawing/2014/main" id="{5488AB93-1CC5-1523-C61D-F92B49553FD4}"/>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a:xfrm>
            <a:off x="0" y="0"/>
            <a:ext cx="9144000" cy="5143500"/>
          </a:xfrm>
          <a:prstGeom prst="rect">
            <a:avLst/>
          </a:prstGeom>
          <a:noFill/>
        </p:spPr>
      </p:pic>
      <p:pic>
        <p:nvPicPr>
          <p:cNvPr id="8" name="Picture 7">
            <a:extLst>
              <a:ext uri="{FF2B5EF4-FFF2-40B4-BE49-F238E27FC236}">
                <a16:creationId xmlns:a16="http://schemas.microsoft.com/office/drawing/2014/main" id="{FDFA8344-EDB2-8E0A-0741-7E68EC526B00}"/>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30"/>
                    </a14:imgEffect>
                  </a14:imgLayer>
                </a14:imgProps>
              </a:ext>
              <a:ext uri="{28A0092B-C50C-407E-A947-70E740481C1C}">
                <a14:useLocalDpi xmlns:a14="http://schemas.microsoft.com/office/drawing/2010/main"/>
              </a:ext>
            </a:extLst>
          </a:blip>
          <a:srcRect b="-20"/>
          <a:stretch/>
        </p:blipFill>
        <p:spPr>
          <a:xfrm>
            <a:off x="5755378" y="0"/>
            <a:ext cx="3388623" cy="5143500"/>
          </a:xfrm>
          <a:custGeom>
            <a:avLst/>
            <a:gdLst>
              <a:gd name="connsiteX0" fmla="*/ 1106942 w 4518164"/>
              <a:gd name="connsiteY0" fmla="*/ 0 h 6858000"/>
              <a:gd name="connsiteX1" fmla="*/ 4518164 w 4518164"/>
              <a:gd name="connsiteY1" fmla="*/ 0 h 6858000"/>
              <a:gd name="connsiteX2" fmla="*/ 4518164 w 4518164"/>
              <a:gd name="connsiteY2" fmla="*/ 6858000 h 6858000"/>
              <a:gd name="connsiteX3" fmla="*/ 0 w 4518164"/>
              <a:gd name="connsiteY3" fmla="*/ 6858000 h 6858000"/>
              <a:gd name="connsiteX4" fmla="*/ 166888 w 4518164"/>
              <a:gd name="connsiteY4" fmla="*/ 5824052 h 6858000"/>
              <a:gd name="connsiteX5" fmla="*/ 925068 w 4518164"/>
              <a:gd name="connsiteY5" fmla="*/ 5824052 h 6858000"/>
              <a:gd name="connsiteX6" fmla="*/ 925068 w 4518164"/>
              <a:gd name="connsiteY6" fmla="*/ 5824051 h 6858000"/>
              <a:gd name="connsiteX7" fmla="*/ 166888 w 4518164"/>
              <a:gd name="connsiteY7" fmla="*/ 5824051 h 6858000"/>
              <a:gd name="connsiteX8" fmla="*/ 1106941 w 4518164"/>
              <a:gd name="connsiteY8" fmla="*/ 2 h 6858000"/>
              <a:gd name="connsiteX9" fmla="*/ 1634858 w 4518164"/>
              <a:gd name="connsiteY9" fmla="*/ 2 h 6858000"/>
              <a:gd name="connsiteX10" fmla="*/ 1697417 w 4518164"/>
              <a:gd name="connsiteY10" fmla="*/ 8479 h 6858000"/>
              <a:gd name="connsiteX11" fmla="*/ 1697417 w 4518164"/>
              <a:gd name="connsiteY11" fmla="*/ 8478 h 6858000"/>
              <a:gd name="connsiteX12" fmla="*/ 1634858 w 4518164"/>
              <a:gd name="connsiteY12" fmla="*/ 1 h 6858000"/>
              <a:gd name="connsiteX13" fmla="*/ 1106941 w 4518164"/>
              <a:gd name="connsiteY13" fmla="*/ 1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518164" h="6858000">
                <a:moveTo>
                  <a:pt x="1106942" y="0"/>
                </a:moveTo>
                <a:lnTo>
                  <a:pt x="4518164" y="0"/>
                </a:lnTo>
                <a:lnTo>
                  <a:pt x="4518164" y="6858000"/>
                </a:lnTo>
                <a:lnTo>
                  <a:pt x="0" y="6858000"/>
                </a:lnTo>
                <a:lnTo>
                  <a:pt x="166888" y="5824052"/>
                </a:lnTo>
                <a:lnTo>
                  <a:pt x="925068" y="5824052"/>
                </a:lnTo>
                <a:lnTo>
                  <a:pt x="925068" y="5824051"/>
                </a:lnTo>
                <a:lnTo>
                  <a:pt x="166888" y="5824051"/>
                </a:lnTo>
                <a:lnTo>
                  <a:pt x="1106941" y="2"/>
                </a:lnTo>
                <a:lnTo>
                  <a:pt x="1634858" y="2"/>
                </a:lnTo>
                <a:lnTo>
                  <a:pt x="1697417" y="8479"/>
                </a:lnTo>
                <a:lnTo>
                  <a:pt x="1697417" y="8478"/>
                </a:lnTo>
                <a:lnTo>
                  <a:pt x="1634858" y="1"/>
                </a:lnTo>
                <a:lnTo>
                  <a:pt x="1106941" y="1"/>
                </a:lnTo>
                <a:close/>
              </a:path>
            </a:pathLst>
          </a:custGeom>
          <a:noFill/>
          <a:effectLst>
            <a:outerShdw blurRad="190500" dist="63500" dir="10800000" algn="r" rotWithShape="0">
              <a:prstClr val="black">
                <a:alpha val="40000"/>
              </a:prstClr>
            </a:outerShdw>
          </a:effectLst>
        </p:spPr>
      </p:pic>
      <p:sp>
        <p:nvSpPr>
          <p:cNvPr id="9" name="Freeform 8">
            <a:extLst>
              <a:ext uri="{FF2B5EF4-FFF2-40B4-BE49-F238E27FC236}">
                <a16:creationId xmlns:a16="http://schemas.microsoft.com/office/drawing/2014/main" id="{FA439B9D-4ABB-F9CD-BAA4-095D6A45A25A}"/>
              </a:ext>
            </a:extLst>
          </p:cNvPr>
          <p:cNvSpPr/>
          <p:nvPr/>
        </p:nvSpPr>
        <p:spPr>
          <a:xfrm>
            <a:off x="5754985" y="1025"/>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b="0">
                <a:solidFill>
                  <a:schemeClr val="accent1"/>
                </a:solidFill>
              </a:defRPr>
            </a:lvl1pPr>
          </a:lstStyle>
          <a:p>
            <a:r>
              <a:rPr lang="en-US"/>
              <a:t>Click to edit Master title style</a:t>
            </a:r>
            <a:endParaRPr lang="en-AE"/>
          </a:p>
        </p:txBody>
      </p:sp>
      <p:grpSp>
        <p:nvGrpSpPr>
          <p:cNvPr id="3" name="Graphic 2">
            <a:extLst>
              <a:ext uri="{FF2B5EF4-FFF2-40B4-BE49-F238E27FC236}">
                <a16:creationId xmlns:a16="http://schemas.microsoft.com/office/drawing/2014/main" id="{04FE90DF-C7D4-8746-E3F6-95FCC169D3C9}"/>
              </a:ext>
            </a:extLst>
          </p:cNvPr>
          <p:cNvGrpSpPr>
            <a:grpSpLocks noChangeAspect="1"/>
          </p:cNvGrpSpPr>
          <p:nvPr/>
        </p:nvGrpSpPr>
        <p:grpSpPr>
          <a:xfrm>
            <a:off x="4804" y="2"/>
            <a:ext cx="468178" cy="756000"/>
            <a:chOff x="4425584" y="267785"/>
            <a:chExt cx="2950814" cy="4756864"/>
          </a:xfrm>
          <a:solidFill>
            <a:schemeClr val="accent1"/>
          </a:solidFill>
        </p:grpSpPr>
        <p:grpSp>
          <p:nvGrpSpPr>
            <p:cNvPr id="5" name="Graphic 2">
              <a:extLst>
                <a:ext uri="{FF2B5EF4-FFF2-40B4-BE49-F238E27FC236}">
                  <a16:creationId xmlns:a16="http://schemas.microsoft.com/office/drawing/2014/main" id="{3B7CD4DD-47D5-52E0-F9BB-212D85B04C32}"/>
                </a:ext>
              </a:extLst>
            </p:cNvPr>
            <p:cNvGrpSpPr/>
            <p:nvPr/>
          </p:nvGrpSpPr>
          <p:grpSpPr>
            <a:xfrm>
              <a:off x="5720269" y="2764575"/>
              <a:ext cx="1656129" cy="1882392"/>
              <a:chOff x="5720269" y="2764575"/>
              <a:chExt cx="1656129" cy="1882392"/>
            </a:xfrm>
            <a:solidFill>
              <a:schemeClr val="accent1"/>
            </a:solidFill>
          </p:grpSpPr>
          <p:grpSp>
            <p:nvGrpSpPr>
              <p:cNvPr id="10" name="Graphic 2">
                <a:extLst>
                  <a:ext uri="{FF2B5EF4-FFF2-40B4-BE49-F238E27FC236}">
                    <a16:creationId xmlns:a16="http://schemas.microsoft.com/office/drawing/2014/main" id="{420519BF-0BE4-DBAC-CAE5-9836244F21CD}"/>
                  </a:ext>
                </a:extLst>
              </p:cNvPr>
              <p:cNvGrpSpPr/>
              <p:nvPr/>
            </p:nvGrpSpPr>
            <p:grpSpPr>
              <a:xfrm>
                <a:off x="5720269" y="2764575"/>
                <a:ext cx="1656129" cy="1882392"/>
                <a:chOff x="5720269" y="2764575"/>
                <a:chExt cx="1656129" cy="1882392"/>
              </a:xfrm>
              <a:solidFill>
                <a:srgbClr val="00A099"/>
              </a:solidFill>
            </p:grpSpPr>
            <p:sp>
              <p:nvSpPr>
                <p:cNvPr id="16" name="Freeform 75">
                  <a:extLst>
                    <a:ext uri="{FF2B5EF4-FFF2-40B4-BE49-F238E27FC236}">
                      <a16:creationId xmlns:a16="http://schemas.microsoft.com/office/drawing/2014/main" id="{1FA6642A-1534-9ED0-8D41-7C2300ECB332}"/>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6">
                  <a:extLst>
                    <a:ext uri="{FF2B5EF4-FFF2-40B4-BE49-F238E27FC236}">
                      <a16:creationId xmlns:a16="http://schemas.microsoft.com/office/drawing/2014/main" id="{41D268AB-F881-F75A-CC10-9E2695B51653}"/>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7">
                  <a:extLst>
                    <a:ext uri="{FF2B5EF4-FFF2-40B4-BE49-F238E27FC236}">
                      <a16:creationId xmlns:a16="http://schemas.microsoft.com/office/drawing/2014/main" id="{59B6614E-82EF-98E5-93A0-7A3145592869}"/>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1" name="Freeform 72">
                <a:extLst>
                  <a:ext uri="{FF2B5EF4-FFF2-40B4-BE49-F238E27FC236}">
                    <a16:creationId xmlns:a16="http://schemas.microsoft.com/office/drawing/2014/main" id="{5FC18EA1-19C1-EF5B-C7F8-9DEDC8101BDA}"/>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3">
                <a:extLst>
                  <a:ext uri="{FF2B5EF4-FFF2-40B4-BE49-F238E27FC236}">
                    <a16:creationId xmlns:a16="http://schemas.microsoft.com/office/drawing/2014/main" id="{65C3E232-6124-BD30-7B34-D85C8087EBA6}"/>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4">
                <a:extLst>
                  <a:ext uri="{FF2B5EF4-FFF2-40B4-BE49-F238E27FC236}">
                    <a16:creationId xmlns:a16="http://schemas.microsoft.com/office/drawing/2014/main" id="{F0BA64A2-1D33-9F57-D2B4-51CEA3FBAF7F}"/>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6" name="Freeform 69">
              <a:extLst>
                <a:ext uri="{FF2B5EF4-FFF2-40B4-BE49-F238E27FC236}">
                  <a16:creationId xmlns:a16="http://schemas.microsoft.com/office/drawing/2014/main" id="{3BAB17F1-553B-4DC3-AD60-DB86D9CD0945}"/>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7" name="Freeform 70">
              <a:extLst>
                <a:ext uri="{FF2B5EF4-FFF2-40B4-BE49-F238E27FC236}">
                  <a16:creationId xmlns:a16="http://schemas.microsoft.com/office/drawing/2014/main" id="{B24904F8-B3A1-A913-348E-1E258A695E6F}"/>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152843475"/>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9_Lunch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93395373-C2C6-6A46-353B-AA58BC52B206}"/>
              </a:ext>
            </a:extLst>
          </p:cNvPr>
          <p:cNvGraphicFramePr>
            <a:graphicFrameLocks noChangeAspect="1"/>
          </p:cNvGraphicFramePr>
          <p:nvPr>
            <p:custDataLst>
              <p:tags r:id="rId1"/>
            </p:custDataLst>
            <p:extLst>
              <p:ext uri="{D42A27DB-BD31-4B8C-83A1-F6EECF244321}">
                <p14:modId xmlns:p14="http://schemas.microsoft.com/office/powerpoint/2010/main" val="2059038088"/>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93395373-C2C6-6A46-353B-AA58BC52B206}"/>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2" name="Picture Placeholder 14">
            <a:extLst>
              <a:ext uri="{FF2B5EF4-FFF2-40B4-BE49-F238E27FC236}">
                <a16:creationId xmlns:a16="http://schemas.microsoft.com/office/drawing/2014/main" id="{43859227-41B1-FA74-F544-0FC47C2A08F5}"/>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0" y="0"/>
            <a:ext cx="9144000" cy="5143500"/>
          </a:xfrm>
          <a:prstGeom prst="rect">
            <a:avLst/>
          </a:prstGeom>
          <a:noFill/>
        </p:spPr>
      </p:pic>
      <p:pic>
        <p:nvPicPr>
          <p:cNvPr id="6" name="Picture 5">
            <a:extLst>
              <a:ext uri="{FF2B5EF4-FFF2-40B4-BE49-F238E27FC236}">
                <a16:creationId xmlns:a16="http://schemas.microsoft.com/office/drawing/2014/main" id="{E86C371C-FB21-D6EA-4464-FF380523A5B4}"/>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20"/>
                    </a14:imgEffect>
                  </a14:imgLayer>
                </a14:imgProps>
              </a:ext>
              <a:ext uri="{28A0092B-C50C-407E-A947-70E740481C1C}">
                <a14:useLocalDpi xmlns:a14="http://schemas.microsoft.com/office/drawing/2010/main"/>
              </a:ext>
            </a:extLst>
          </a:blip>
          <a:srcRect/>
          <a:stretch/>
        </p:blipFill>
        <p:spPr>
          <a:xfrm>
            <a:off x="5755773" y="1"/>
            <a:ext cx="3383341" cy="5141060"/>
          </a:xfrm>
          <a:custGeom>
            <a:avLst/>
            <a:gdLst>
              <a:gd name="connsiteX0" fmla="*/ 1106417 w 4511121"/>
              <a:gd name="connsiteY0" fmla="*/ 0 h 6854747"/>
              <a:gd name="connsiteX1" fmla="*/ 4511121 w 4511121"/>
              <a:gd name="connsiteY1" fmla="*/ 0 h 6854747"/>
              <a:gd name="connsiteX2" fmla="*/ 4511121 w 4511121"/>
              <a:gd name="connsiteY2" fmla="*/ 6854747 h 6854747"/>
              <a:gd name="connsiteX3" fmla="*/ 0 w 4511121"/>
              <a:gd name="connsiteY3" fmla="*/ 6854747 h 6854747"/>
              <a:gd name="connsiteX4" fmla="*/ 166363 w 4511121"/>
              <a:gd name="connsiteY4" fmla="*/ 5824052 h 6854747"/>
              <a:gd name="connsiteX5" fmla="*/ 924543 w 4511121"/>
              <a:gd name="connsiteY5" fmla="*/ 5824052 h 6854747"/>
              <a:gd name="connsiteX6" fmla="*/ 924543 w 4511121"/>
              <a:gd name="connsiteY6" fmla="*/ 5824051 h 6854747"/>
              <a:gd name="connsiteX7" fmla="*/ 166363 w 4511121"/>
              <a:gd name="connsiteY7" fmla="*/ 5824051 h 6854747"/>
              <a:gd name="connsiteX8" fmla="*/ 1106416 w 4511121"/>
              <a:gd name="connsiteY8" fmla="*/ 2 h 6854747"/>
              <a:gd name="connsiteX9" fmla="*/ 1634333 w 4511121"/>
              <a:gd name="connsiteY9" fmla="*/ 2 h 6854747"/>
              <a:gd name="connsiteX10" fmla="*/ 1696892 w 4511121"/>
              <a:gd name="connsiteY10" fmla="*/ 8479 h 6854747"/>
              <a:gd name="connsiteX11" fmla="*/ 1696892 w 4511121"/>
              <a:gd name="connsiteY11" fmla="*/ 8478 h 6854747"/>
              <a:gd name="connsiteX12" fmla="*/ 1634333 w 4511121"/>
              <a:gd name="connsiteY12" fmla="*/ 1 h 6854747"/>
              <a:gd name="connsiteX13" fmla="*/ 1106416 w 4511121"/>
              <a:gd name="connsiteY13" fmla="*/ 1 h 68547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511121" h="6854747">
                <a:moveTo>
                  <a:pt x="1106417" y="0"/>
                </a:moveTo>
                <a:lnTo>
                  <a:pt x="4511121" y="0"/>
                </a:lnTo>
                <a:lnTo>
                  <a:pt x="4511121" y="6854747"/>
                </a:lnTo>
                <a:lnTo>
                  <a:pt x="0" y="6854747"/>
                </a:lnTo>
                <a:lnTo>
                  <a:pt x="166363" y="5824052"/>
                </a:lnTo>
                <a:lnTo>
                  <a:pt x="924543" y="5824052"/>
                </a:lnTo>
                <a:lnTo>
                  <a:pt x="924543" y="5824051"/>
                </a:lnTo>
                <a:lnTo>
                  <a:pt x="166363" y="5824051"/>
                </a:lnTo>
                <a:lnTo>
                  <a:pt x="1106416" y="2"/>
                </a:lnTo>
                <a:lnTo>
                  <a:pt x="1634333" y="2"/>
                </a:lnTo>
                <a:lnTo>
                  <a:pt x="1696892" y="8479"/>
                </a:lnTo>
                <a:lnTo>
                  <a:pt x="1696892" y="8478"/>
                </a:lnTo>
                <a:lnTo>
                  <a:pt x="1634333" y="1"/>
                </a:lnTo>
                <a:lnTo>
                  <a:pt x="1106416" y="1"/>
                </a:lnTo>
                <a:close/>
              </a:path>
            </a:pathLst>
          </a:custGeom>
          <a:noFill/>
          <a:effectLst>
            <a:outerShdw blurRad="190500" dist="63500" dir="10800000" algn="r" rotWithShape="0">
              <a:prstClr val="black">
                <a:alpha val="40000"/>
              </a:prstClr>
            </a:outerShdw>
          </a:effectLst>
        </p:spPr>
      </p:pic>
      <p:sp>
        <p:nvSpPr>
          <p:cNvPr id="9" name="Freeform 8">
            <a:extLst>
              <a:ext uri="{FF2B5EF4-FFF2-40B4-BE49-F238E27FC236}">
                <a16:creationId xmlns:a16="http://schemas.microsoft.com/office/drawing/2014/main" id="{FA439B9D-4ABB-F9CD-BAA4-095D6A45A25A}"/>
              </a:ext>
            </a:extLst>
          </p:cNvPr>
          <p:cNvSpPr/>
          <p:nvPr/>
        </p:nvSpPr>
        <p:spPr>
          <a:xfrm>
            <a:off x="5759789" y="1025"/>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b="0">
                <a:solidFill>
                  <a:schemeClr val="accent1"/>
                </a:solidFill>
              </a:defRPr>
            </a:lvl1pPr>
          </a:lstStyle>
          <a:p>
            <a:r>
              <a:rPr lang="en-US"/>
              <a:t>Click to edit Master title style</a:t>
            </a:r>
            <a:endParaRPr lang="en-AE"/>
          </a:p>
        </p:txBody>
      </p:sp>
      <p:grpSp>
        <p:nvGrpSpPr>
          <p:cNvPr id="3" name="Graphic 2">
            <a:extLst>
              <a:ext uri="{FF2B5EF4-FFF2-40B4-BE49-F238E27FC236}">
                <a16:creationId xmlns:a16="http://schemas.microsoft.com/office/drawing/2014/main" id="{9A7759E3-A183-27BD-4CCE-09F922F4FDF5}"/>
              </a:ext>
            </a:extLst>
          </p:cNvPr>
          <p:cNvGrpSpPr>
            <a:grpSpLocks noChangeAspect="1"/>
          </p:cNvGrpSpPr>
          <p:nvPr/>
        </p:nvGrpSpPr>
        <p:grpSpPr>
          <a:xfrm>
            <a:off x="4804" y="2"/>
            <a:ext cx="468178" cy="756000"/>
            <a:chOff x="4425584" y="267785"/>
            <a:chExt cx="2950814" cy="4756864"/>
          </a:xfrm>
          <a:solidFill>
            <a:schemeClr val="accent1"/>
          </a:solidFill>
        </p:grpSpPr>
        <p:grpSp>
          <p:nvGrpSpPr>
            <p:cNvPr id="5" name="Graphic 2">
              <a:extLst>
                <a:ext uri="{FF2B5EF4-FFF2-40B4-BE49-F238E27FC236}">
                  <a16:creationId xmlns:a16="http://schemas.microsoft.com/office/drawing/2014/main" id="{E4DB8B3B-3E8E-3B0D-6176-159D7745F26E}"/>
                </a:ext>
              </a:extLst>
            </p:cNvPr>
            <p:cNvGrpSpPr/>
            <p:nvPr/>
          </p:nvGrpSpPr>
          <p:grpSpPr>
            <a:xfrm>
              <a:off x="5720269" y="2764575"/>
              <a:ext cx="1656129" cy="1882392"/>
              <a:chOff x="5720269" y="2764575"/>
              <a:chExt cx="1656129" cy="1882392"/>
            </a:xfrm>
            <a:solidFill>
              <a:schemeClr val="accent1"/>
            </a:solidFill>
          </p:grpSpPr>
          <p:grpSp>
            <p:nvGrpSpPr>
              <p:cNvPr id="10" name="Graphic 2">
                <a:extLst>
                  <a:ext uri="{FF2B5EF4-FFF2-40B4-BE49-F238E27FC236}">
                    <a16:creationId xmlns:a16="http://schemas.microsoft.com/office/drawing/2014/main" id="{8EC0F9E3-7712-626B-3965-79322F2D2F33}"/>
                  </a:ext>
                </a:extLst>
              </p:cNvPr>
              <p:cNvGrpSpPr/>
              <p:nvPr/>
            </p:nvGrpSpPr>
            <p:grpSpPr>
              <a:xfrm>
                <a:off x="5720269" y="2764575"/>
                <a:ext cx="1656129" cy="1882392"/>
                <a:chOff x="5720269" y="2764575"/>
                <a:chExt cx="1656129" cy="1882392"/>
              </a:xfrm>
              <a:solidFill>
                <a:srgbClr val="00A099"/>
              </a:solidFill>
            </p:grpSpPr>
            <p:sp>
              <p:nvSpPr>
                <p:cNvPr id="16" name="Freeform 75">
                  <a:extLst>
                    <a:ext uri="{FF2B5EF4-FFF2-40B4-BE49-F238E27FC236}">
                      <a16:creationId xmlns:a16="http://schemas.microsoft.com/office/drawing/2014/main" id="{BA4CCC59-494F-091D-DCB5-23F21DA93489}"/>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6">
                  <a:extLst>
                    <a:ext uri="{FF2B5EF4-FFF2-40B4-BE49-F238E27FC236}">
                      <a16:creationId xmlns:a16="http://schemas.microsoft.com/office/drawing/2014/main" id="{DCEA12D7-D968-C9F0-F436-782592C03424}"/>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7">
                  <a:extLst>
                    <a:ext uri="{FF2B5EF4-FFF2-40B4-BE49-F238E27FC236}">
                      <a16:creationId xmlns:a16="http://schemas.microsoft.com/office/drawing/2014/main" id="{F4FEA879-8D7D-3598-C055-4C7BD47EA515}"/>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1" name="Freeform 72">
                <a:extLst>
                  <a:ext uri="{FF2B5EF4-FFF2-40B4-BE49-F238E27FC236}">
                    <a16:creationId xmlns:a16="http://schemas.microsoft.com/office/drawing/2014/main" id="{3DA045B4-9641-5CBD-D231-5BB2B0D81341}"/>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3">
                <a:extLst>
                  <a:ext uri="{FF2B5EF4-FFF2-40B4-BE49-F238E27FC236}">
                    <a16:creationId xmlns:a16="http://schemas.microsoft.com/office/drawing/2014/main" id="{E03FB336-4D82-722A-1A40-528C18C106AC}"/>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4">
                <a:extLst>
                  <a:ext uri="{FF2B5EF4-FFF2-40B4-BE49-F238E27FC236}">
                    <a16:creationId xmlns:a16="http://schemas.microsoft.com/office/drawing/2014/main" id="{4AAED0AB-6D6E-0958-02E2-A651579E8D49}"/>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7" name="Freeform 69">
              <a:extLst>
                <a:ext uri="{FF2B5EF4-FFF2-40B4-BE49-F238E27FC236}">
                  <a16:creationId xmlns:a16="http://schemas.microsoft.com/office/drawing/2014/main" id="{9619FCC4-E57B-ABA0-CE52-E34ADC1D64B1}"/>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8" name="Freeform 70">
              <a:extLst>
                <a:ext uri="{FF2B5EF4-FFF2-40B4-BE49-F238E27FC236}">
                  <a16:creationId xmlns:a16="http://schemas.microsoft.com/office/drawing/2014/main" id="{DB428BAF-FBA7-DE9B-F236-A984CF644D17}"/>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398050887"/>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16_Lunch slid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4924CABC-6B2B-0EB2-D552-1EEEEFE14A7F}"/>
              </a:ext>
            </a:extLst>
          </p:cNvPr>
          <p:cNvGraphicFramePr>
            <a:graphicFrameLocks noChangeAspect="1"/>
          </p:cNvGraphicFramePr>
          <p:nvPr>
            <p:custDataLst>
              <p:tags r:id="rId1"/>
            </p:custDataLst>
            <p:extLst>
              <p:ext uri="{D42A27DB-BD31-4B8C-83A1-F6EECF244321}">
                <p14:modId xmlns:p14="http://schemas.microsoft.com/office/powerpoint/2010/main" val="88184857"/>
              </p:ext>
            </p:ext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5" name="think-cell data - do not delete" hidden="1">
                        <a:extLst>
                          <a:ext uri="{FF2B5EF4-FFF2-40B4-BE49-F238E27FC236}">
                            <a16:creationId xmlns:a16="http://schemas.microsoft.com/office/drawing/2014/main" id="{4924CABC-6B2B-0EB2-D552-1EEEEFE14A7F}"/>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pic>
        <p:nvPicPr>
          <p:cNvPr id="3" name="Picture 2" descr="A picture containing text, table, person, indoor&#10;&#10;Description automatically generated">
            <a:extLst>
              <a:ext uri="{FF2B5EF4-FFF2-40B4-BE49-F238E27FC236}">
                <a16:creationId xmlns:a16="http://schemas.microsoft.com/office/drawing/2014/main" id="{6E669C65-A98C-ED4F-411A-6AEBA075375E}"/>
              </a:ext>
            </a:extLst>
          </p:cNvPr>
          <p:cNvPicPr>
            <a:picLocks noChangeAspect="1"/>
          </p:cNvPicPr>
          <p:nvPr/>
        </p:nvPicPr>
        <p:blipFill rotWithShape="1">
          <a:blip r:embed="rId5" cstate="screen">
            <a:extLst>
              <a:ext uri="{BEBA8EAE-BF5A-486C-A8C5-ECC9F3942E4B}">
                <a14:imgProps xmlns:a14="http://schemas.microsoft.com/office/drawing/2010/main">
                  <a14:imgLayer r:embed="rId6">
                    <a14:imgEffect>
                      <a14:brightnessContrast bright="-40000" contrast="-40000"/>
                    </a14:imgEffect>
                  </a14:imgLayer>
                </a14:imgProps>
              </a:ext>
              <a:ext uri="{28A0092B-C50C-407E-A947-70E740481C1C}">
                <a14:useLocalDpi xmlns:a14="http://schemas.microsoft.com/office/drawing/2010/main"/>
              </a:ext>
            </a:extLst>
          </a:blip>
          <a:srcRect/>
          <a:stretch/>
        </p:blipFill>
        <p:spPr>
          <a:xfrm>
            <a:off x="1" y="1"/>
            <a:ext cx="9139661" cy="5141060"/>
          </a:xfrm>
          <a:prstGeom prst="rect">
            <a:avLst/>
          </a:prstGeom>
        </p:spPr>
      </p:pic>
      <p:pic>
        <p:nvPicPr>
          <p:cNvPr id="7" name="Picture 6" descr="A picture containing text, table, person, indoor&#10;&#10;Description automatically generated">
            <a:extLst>
              <a:ext uri="{FF2B5EF4-FFF2-40B4-BE49-F238E27FC236}">
                <a16:creationId xmlns:a16="http://schemas.microsoft.com/office/drawing/2014/main" id="{C14B8F9F-639D-C63D-C2E9-6FB171F2A099}"/>
              </a:ext>
            </a:extLst>
          </p:cNvPr>
          <p:cNvPicPr>
            <a:picLocks noChangeAspect="1"/>
          </p:cNvPicPr>
          <p:nvPr/>
        </p:nvPicPr>
        <p:blipFill rotWithShape="1">
          <a:blip r:embed="rId7" cstate="email">
            <a:extLst>
              <a:ext uri="{BEBA8EAE-BF5A-486C-A8C5-ECC9F3942E4B}">
                <a14:imgProps xmlns:a14="http://schemas.microsoft.com/office/drawing/2010/main">
                  <a14:imgLayer r:embed="rId8">
                    <a14:imgEffect>
                      <a14:artisticBlur radius="20"/>
                    </a14:imgEffect>
                  </a14:imgLayer>
                </a14:imgProps>
              </a:ext>
              <a:ext uri="{28A0092B-C50C-407E-A947-70E740481C1C}">
                <a14:useLocalDpi xmlns:a14="http://schemas.microsoft.com/office/drawing/2010/main"/>
              </a:ext>
            </a:extLst>
          </a:blip>
          <a:srcRect/>
          <a:stretch/>
        </p:blipFill>
        <p:spPr>
          <a:xfrm>
            <a:off x="5755773" y="1"/>
            <a:ext cx="3383890" cy="5141060"/>
          </a:xfrm>
          <a:custGeom>
            <a:avLst/>
            <a:gdLst>
              <a:gd name="connsiteX0" fmla="*/ 1106416 w 4511853"/>
              <a:gd name="connsiteY0" fmla="*/ 0 h 6854746"/>
              <a:gd name="connsiteX1" fmla="*/ 4511853 w 4511853"/>
              <a:gd name="connsiteY1" fmla="*/ 0 h 6854746"/>
              <a:gd name="connsiteX2" fmla="*/ 4511853 w 4511853"/>
              <a:gd name="connsiteY2" fmla="*/ 6854746 h 6854746"/>
              <a:gd name="connsiteX3" fmla="*/ 0 w 4511853"/>
              <a:gd name="connsiteY3" fmla="*/ 6854746 h 6854746"/>
              <a:gd name="connsiteX4" fmla="*/ 166362 w 4511853"/>
              <a:gd name="connsiteY4" fmla="*/ 5824052 h 6854746"/>
              <a:gd name="connsiteX5" fmla="*/ 924542 w 4511853"/>
              <a:gd name="connsiteY5" fmla="*/ 5824052 h 6854746"/>
              <a:gd name="connsiteX6" fmla="*/ 924542 w 4511853"/>
              <a:gd name="connsiteY6" fmla="*/ 5824051 h 6854746"/>
              <a:gd name="connsiteX7" fmla="*/ 166362 w 4511853"/>
              <a:gd name="connsiteY7" fmla="*/ 5824051 h 6854746"/>
              <a:gd name="connsiteX8" fmla="*/ 1106415 w 4511853"/>
              <a:gd name="connsiteY8" fmla="*/ 2 h 6854746"/>
              <a:gd name="connsiteX9" fmla="*/ 1634332 w 4511853"/>
              <a:gd name="connsiteY9" fmla="*/ 2 h 6854746"/>
              <a:gd name="connsiteX10" fmla="*/ 1696891 w 4511853"/>
              <a:gd name="connsiteY10" fmla="*/ 8479 h 6854746"/>
              <a:gd name="connsiteX11" fmla="*/ 1696891 w 4511853"/>
              <a:gd name="connsiteY11" fmla="*/ 8478 h 6854746"/>
              <a:gd name="connsiteX12" fmla="*/ 1634332 w 4511853"/>
              <a:gd name="connsiteY12" fmla="*/ 1 h 6854746"/>
              <a:gd name="connsiteX13" fmla="*/ 1106415 w 4511853"/>
              <a:gd name="connsiteY13" fmla="*/ 1 h 68547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511853" h="6854746">
                <a:moveTo>
                  <a:pt x="1106416" y="0"/>
                </a:moveTo>
                <a:lnTo>
                  <a:pt x="4511853" y="0"/>
                </a:lnTo>
                <a:lnTo>
                  <a:pt x="4511853" y="6854746"/>
                </a:lnTo>
                <a:lnTo>
                  <a:pt x="0" y="6854746"/>
                </a:lnTo>
                <a:lnTo>
                  <a:pt x="166362" y="5824052"/>
                </a:lnTo>
                <a:lnTo>
                  <a:pt x="924542" y="5824052"/>
                </a:lnTo>
                <a:lnTo>
                  <a:pt x="924542" y="5824051"/>
                </a:lnTo>
                <a:lnTo>
                  <a:pt x="166362" y="5824051"/>
                </a:lnTo>
                <a:lnTo>
                  <a:pt x="1106415" y="2"/>
                </a:lnTo>
                <a:lnTo>
                  <a:pt x="1634332" y="2"/>
                </a:lnTo>
                <a:lnTo>
                  <a:pt x="1696891" y="8479"/>
                </a:lnTo>
                <a:lnTo>
                  <a:pt x="1696891" y="8478"/>
                </a:lnTo>
                <a:lnTo>
                  <a:pt x="1634332" y="1"/>
                </a:lnTo>
                <a:lnTo>
                  <a:pt x="1106415" y="1"/>
                </a:lnTo>
                <a:close/>
              </a:path>
            </a:pathLst>
          </a:custGeom>
          <a:effectLst>
            <a:outerShdw blurRad="190500" dist="63500" dir="10800000" algn="r" rotWithShape="0">
              <a:prstClr val="black">
                <a:alpha val="40000"/>
              </a:prstClr>
            </a:outerShdw>
          </a:effectLst>
        </p:spPr>
      </p:pic>
      <p:sp>
        <p:nvSpPr>
          <p:cNvPr id="9" name="Freeform 8">
            <a:extLst>
              <a:ext uri="{FF2B5EF4-FFF2-40B4-BE49-F238E27FC236}">
                <a16:creationId xmlns:a16="http://schemas.microsoft.com/office/drawing/2014/main" id="{FA439B9D-4ABB-F9CD-BAA4-095D6A45A25A}"/>
              </a:ext>
            </a:extLst>
          </p:cNvPr>
          <p:cNvSpPr/>
          <p:nvPr/>
        </p:nvSpPr>
        <p:spPr>
          <a:xfrm>
            <a:off x="5754985" y="0"/>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b="0">
                <a:solidFill>
                  <a:schemeClr val="accent1"/>
                </a:solidFill>
              </a:defRPr>
            </a:lvl1pPr>
          </a:lstStyle>
          <a:p>
            <a:r>
              <a:rPr lang="en-US"/>
              <a:t>Click to edit Master title style</a:t>
            </a:r>
            <a:endParaRPr lang="en-AE"/>
          </a:p>
        </p:txBody>
      </p:sp>
      <p:grpSp>
        <p:nvGrpSpPr>
          <p:cNvPr id="2" name="Graphic 2">
            <a:extLst>
              <a:ext uri="{FF2B5EF4-FFF2-40B4-BE49-F238E27FC236}">
                <a16:creationId xmlns:a16="http://schemas.microsoft.com/office/drawing/2014/main" id="{A0DEEBA9-7BBF-9066-9AD9-814A666AAA57}"/>
              </a:ext>
            </a:extLst>
          </p:cNvPr>
          <p:cNvGrpSpPr>
            <a:grpSpLocks noChangeAspect="1"/>
          </p:cNvGrpSpPr>
          <p:nvPr/>
        </p:nvGrpSpPr>
        <p:grpSpPr>
          <a:xfrm>
            <a:off x="4804" y="2"/>
            <a:ext cx="468178" cy="756000"/>
            <a:chOff x="4425584" y="267785"/>
            <a:chExt cx="2950814" cy="4756864"/>
          </a:xfrm>
          <a:solidFill>
            <a:schemeClr val="accent1"/>
          </a:solidFill>
        </p:grpSpPr>
        <p:grpSp>
          <p:nvGrpSpPr>
            <p:cNvPr id="4" name="Graphic 2">
              <a:extLst>
                <a:ext uri="{FF2B5EF4-FFF2-40B4-BE49-F238E27FC236}">
                  <a16:creationId xmlns:a16="http://schemas.microsoft.com/office/drawing/2014/main" id="{9F52AFEC-BAB4-4C24-6530-8E881EC2B322}"/>
                </a:ext>
              </a:extLst>
            </p:cNvPr>
            <p:cNvGrpSpPr/>
            <p:nvPr/>
          </p:nvGrpSpPr>
          <p:grpSpPr>
            <a:xfrm>
              <a:off x="5720269" y="2764575"/>
              <a:ext cx="1656129" cy="1882392"/>
              <a:chOff x="5720269" y="2764575"/>
              <a:chExt cx="1656129" cy="1882392"/>
            </a:xfrm>
            <a:solidFill>
              <a:schemeClr val="accent1"/>
            </a:solidFill>
          </p:grpSpPr>
          <p:grpSp>
            <p:nvGrpSpPr>
              <p:cNvPr id="10" name="Graphic 2">
                <a:extLst>
                  <a:ext uri="{FF2B5EF4-FFF2-40B4-BE49-F238E27FC236}">
                    <a16:creationId xmlns:a16="http://schemas.microsoft.com/office/drawing/2014/main" id="{A686350E-9352-280A-C43E-4C1DAE50642F}"/>
                  </a:ext>
                </a:extLst>
              </p:cNvPr>
              <p:cNvGrpSpPr/>
              <p:nvPr/>
            </p:nvGrpSpPr>
            <p:grpSpPr>
              <a:xfrm>
                <a:off x="5720269" y="2764575"/>
                <a:ext cx="1656129" cy="1882392"/>
                <a:chOff x="5720269" y="2764575"/>
                <a:chExt cx="1656129" cy="1882392"/>
              </a:xfrm>
              <a:solidFill>
                <a:srgbClr val="00A099"/>
              </a:solidFill>
            </p:grpSpPr>
            <p:sp>
              <p:nvSpPr>
                <p:cNvPr id="16" name="Freeform 75">
                  <a:extLst>
                    <a:ext uri="{FF2B5EF4-FFF2-40B4-BE49-F238E27FC236}">
                      <a16:creationId xmlns:a16="http://schemas.microsoft.com/office/drawing/2014/main" id="{FC719EC5-48AE-04D8-4E26-2390B98E1FA2}"/>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6">
                  <a:extLst>
                    <a:ext uri="{FF2B5EF4-FFF2-40B4-BE49-F238E27FC236}">
                      <a16:creationId xmlns:a16="http://schemas.microsoft.com/office/drawing/2014/main" id="{FA0F339F-286F-B39E-EEF3-19DF62AB63C9}"/>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7">
                  <a:extLst>
                    <a:ext uri="{FF2B5EF4-FFF2-40B4-BE49-F238E27FC236}">
                      <a16:creationId xmlns:a16="http://schemas.microsoft.com/office/drawing/2014/main" id="{52C3A899-E06B-129B-0B67-D272E2EA8DA3}"/>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1" name="Freeform 72">
                <a:extLst>
                  <a:ext uri="{FF2B5EF4-FFF2-40B4-BE49-F238E27FC236}">
                    <a16:creationId xmlns:a16="http://schemas.microsoft.com/office/drawing/2014/main" id="{5429F100-6DEB-46D2-A6C9-8C5F421F8164}"/>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3">
                <a:extLst>
                  <a:ext uri="{FF2B5EF4-FFF2-40B4-BE49-F238E27FC236}">
                    <a16:creationId xmlns:a16="http://schemas.microsoft.com/office/drawing/2014/main" id="{795E4EB8-EB67-EEEA-759D-7FB263E7053D}"/>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4">
                <a:extLst>
                  <a:ext uri="{FF2B5EF4-FFF2-40B4-BE49-F238E27FC236}">
                    <a16:creationId xmlns:a16="http://schemas.microsoft.com/office/drawing/2014/main" id="{F899A539-AE95-C379-070F-0C5BDD78796B}"/>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6" name="Freeform 69">
              <a:extLst>
                <a:ext uri="{FF2B5EF4-FFF2-40B4-BE49-F238E27FC236}">
                  <a16:creationId xmlns:a16="http://schemas.microsoft.com/office/drawing/2014/main" id="{E75F5C94-5DB8-2715-88E4-AF09ABADD090}"/>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8" name="Freeform 70">
              <a:extLst>
                <a:ext uri="{FF2B5EF4-FFF2-40B4-BE49-F238E27FC236}">
                  <a16:creationId xmlns:a16="http://schemas.microsoft.com/office/drawing/2014/main" id="{E15942AF-EAA1-84B4-DACA-5D8516420FD8}"/>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252363895"/>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15_Lunch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93395373-C2C6-6A46-353B-AA58BC52B206}"/>
              </a:ext>
            </a:extLst>
          </p:cNvPr>
          <p:cNvGraphicFramePr>
            <a:graphicFrameLocks noChangeAspect="1"/>
          </p:cNvGraphicFramePr>
          <p:nvPr>
            <p:custDataLst>
              <p:tags r:id="rId1"/>
            </p:custDataLst>
            <p:extLst>
              <p:ext uri="{D42A27DB-BD31-4B8C-83A1-F6EECF244321}">
                <p14:modId xmlns:p14="http://schemas.microsoft.com/office/powerpoint/2010/main" val="2755118180"/>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93395373-C2C6-6A46-353B-AA58BC52B206}"/>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5" name="Picture Placeholder 4">
            <a:extLst>
              <a:ext uri="{FF2B5EF4-FFF2-40B4-BE49-F238E27FC236}">
                <a16:creationId xmlns:a16="http://schemas.microsoft.com/office/drawing/2014/main" id="{043D925F-E9DE-97E7-72EB-034C2AE8191C}"/>
              </a:ext>
            </a:extLst>
          </p:cNvPr>
          <p:cNvSpPr>
            <a:spLocks noGrp="1"/>
          </p:cNvSpPr>
          <p:nvPr>
            <p:ph type="pic" sz="quarter" idx="10"/>
          </p:nvPr>
        </p:nvSpPr>
        <p:spPr>
          <a:xfrm>
            <a:off x="4762" y="0"/>
            <a:ext cx="9139238" cy="5143500"/>
          </a:xfrm>
          <a:prstGeom prst="rect">
            <a:avLst/>
          </a:prstGeom>
          <a:solidFill>
            <a:schemeClr val="bg2">
              <a:lumMod val="90000"/>
            </a:schemeClr>
          </a:solidFill>
        </p:spPr>
        <p:txBody>
          <a:bodyPr/>
          <a:lstStyle/>
          <a:p>
            <a:r>
              <a:rPr lang="en-US"/>
              <a:t>Click icon to add picture</a:t>
            </a:r>
            <a:endParaRPr lang="en-GB"/>
          </a:p>
        </p:txBody>
      </p:sp>
      <p:sp>
        <p:nvSpPr>
          <p:cNvPr id="11" name="Picture Placeholder 10">
            <a:extLst>
              <a:ext uri="{FF2B5EF4-FFF2-40B4-BE49-F238E27FC236}">
                <a16:creationId xmlns:a16="http://schemas.microsoft.com/office/drawing/2014/main" id="{10D4FF9D-1245-7A3E-62CB-AF889860A481}"/>
              </a:ext>
            </a:extLst>
          </p:cNvPr>
          <p:cNvSpPr>
            <a:spLocks noGrp="1"/>
          </p:cNvSpPr>
          <p:nvPr>
            <p:ph type="pic" sz="quarter" idx="11"/>
          </p:nvPr>
        </p:nvSpPr>
        <p:spPr>
          <a:xfrm>
            <a:off x="5755773" y="1"/>
            <a:ext cx="3383341" cy="5141060"/>
          </a:xfrm>
          <a:custGeom>
            <a:avLst/>
            <a:gdLst>
              <a:gd name="connsiteX0" fmla="*/ 1106417 w 4511121"/>
              <a:gd name="connsiteY0" fmla="*/ 0 h 6854747"/>
              <a:gd name="connsiteX1" fmla="*/ 4511121 w 4511121"/>
              <a:gd name="connsiteY1" fmla="*/ 0 h 6854747"/>
              <a:gd name="connsiteX2" fmla="*/ 4511121 w 4511121"/>
              <a:gd name="connsiteY2" fmla="*/ 6854747 h 6854747"/>
              <a:gd name="connsiteX3" fmla="*/ 0 w 4511121"/>
              <a:gd name="connsiteY3" fmla="*/ 6854747 h 6854747"/>
              <a:gd name="connsiteX4" fmla="*/ 166363 w 4511121"/>
              <a:gd name="connsiteY4" fmla="*/ 5824052 h 6854747"/>
              <a:gd name="connsiteX5" fmla="*/ 924543 w 4511121"/>
              <a:gd name="connsiteY5" fmla="*/ 5824052 h 6854747"/>
              <a:gd name="connsiteX6" fmla="*/ 924543 w 4511121"/>
              <a:gd name="connsiteY6" fmla="*/ 5824051 h 6854747"/>
              <a:gd name="connsiteX7" fmla="*/ 166363 w 4511121"/>
              <a:gd name="connsiteY7" fmla="*/ 5824051 h 6854747"/>
              <a:gd name="connsiteX8" fmla="*/ 1106416 w 4511121"/>
              <a:gd name="connsiteY8" fmla="*/ 2 h 6854747"/>
              <a:gd name="connsiteX9" fmla="*/ 1634333 w 4511121"/>
              <a:gd name="connsiteY9" fmla="*/ 2 h 6854747"/>
              <a:gd name="connsiteX10" fmla="*/ 1696892 w 4511121"/>
              <a:gd name="connsiteY10" fmla="*/ 8479 h 6854747"/>
              <a:gd name="connsiteX11" fmla="*/ 1696892 w 4511121"/>
              <a:gd name="connsiteY11" fmla="*/ 8478 h 6854747"/>
              <a:gd name="connsiteX12" fmla="*/ 1634333 w 4511121"/>
              <a:gd name="connsiteY12" fmla="*/ 1 h 6854747"/>
              <a:gd name="connsiteX13" fmla="*/ 1106416 w 4511121"/>
              <a:gd name="connsiteY13" fmla="*/ 1 h 68547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511121" h="6854747">
                <a:moveTo>
                  <a:pt x="1106417" y="0"/>
                </a:moveTo>
                <a:lnTo>
                  <a:pt x="4511121" y="0"/>
                </a:lnTo>
                <a:lnTo>
                  <a:pt x="4511121" y="6854747"/>
                </a:lnTo>
                <a:lnTo>
                  <a:pt x="0" y="6854747"/>
                </a:lnTo>
                <a:lnTo>
                  <a:pt x="166363" y="5824052"/>
                </a:lnTo>
                <a:lnTo>
                  <a:pt x="924543" y="5824052"/>
                </a:lnTo>
                <a:lnTo>
                  <a:pt x="924543" y="5824051"/>
                </a:lnTo>
                <a:lnTo>
                  <a:pt x="166363" y="5824051"/>
                </a:lnTo>
                <a:lnTo>
                  <a:pt x="1106416" y="2"/>
                </a:lnTo>
                <a:lnTo>
                  <a:pt x="1634333" y="2"/>
                </a:lnTo>
                <a:lnTo>
                  <a:pt x="1696892" y="8479"/>
                </a:lnTo>
                <a:lnTo>
                  <a:pt x="1696892" y="8478"/>
                </a:lnTo>
                <a:lnTo>
                  <a:pt x="1634333" y="1"/>
                </a:lnTo>
                <a:lnTo>
                  <a:pt x="1106416" y="1"/>
                </a:lnTo>
                <a:close/>
              </a:path>
            </a:pathLst>
          </a:custGeom>
          <a:solidFill>
            <a:schemeClr val="accent3"/>
          </a:solidFill>
          <a:effectLst>
            <a:outerShdw blurRad="190500" dist="63500" dir="10800000" algn="r" rotWithShape="0">
              <a:prstClr val="black">
                <a:alpha val="40000"/>
              </a:prstClr>
            </a:outerShdw>
          </a:effectLst>
        </p:spPr>
        <p:txBody>
          <a:bodyPr wrap="square">
            <a:noAutofit/>
          </a:bodyPr>
          <a:lstStyle/>
          <a:p>
            <a:r>
              <a:rPr lang="en-US"/>
              <a:t>Click icon to add picture</a:t>
            </a:r>
            <a:endParaRPr lang="en-GB"/>
          </a:p>
        </p:txBody>
      </p:sp>
      <p:sp>
        <p:nvSpPr>
          <p:cNvPr id="9" name="Freeform 8">
            <a:extLst>
              <a:ext uri="{FF2B5EF4-FFF2-40B4-BE49-F238E27FC236}">
                <a16:creationId xmlns:a16="http://schemas.microsoft.com/office/drawing/2014/main" id="{FA439B9D-4ABB-F9CD-BAA4-095D6A45A25A}"/>
              </a:ext>
            </a:extLst>
          </p:cNvPr>
          <p:cNvSpPr/>
          <p:nvPr/>
        </p:nvSpPr>
        <p:spPr>
          <a:xfrm>
            <a:off x="5759789" y="1025"/>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lstStyle>
            <a:lvl1pPr>
              <a:defRPr sz="2400" b="0">
                <a:solidFill>
                  <a:schemeClr val="accent1"/>
                </a:solidFill>
              </a:defRPr>
            </a:lvl1pPr>
          </a:lstStyle>
          <a:p>
            <a:r>
              <a:rPr lang="en-US"/>
              <a:t>Click to edit Master title style</a:t>
            </a:r>
            <a:endParaRPr lang="en-AE"/>
          </a:p>
        </p:txBody>
      </p:sp>
      <p:grpSp>
        <p:nvGrpSpPr>
          <p:cNvPr id="3" name="Graphic 2">
            <a:extLst>
              <a:ext uri="{FF2B5EF4-FFF2-40B4-BE49-F238E27FC236}">
                <a16:creationId xmlns:a16="http://schemas.microsoft.com/office/drawing/2014/main" id="{ABDF37E0-D086-07E4-E53D-1BE5E7332528}"/>
              </a:ext>
            </a:extLst>
          </p:cNvPr>
          <p:cNvGrpSpPr>
            <a:grpSpLocks noChangeAspect="1"/>
          </p:cNvGrpSpPr>
          <p:nvPr/>
        </p:nvGrpSpPr>
        <p:grpSpPr>
          <a:xfrm>
            <a:off x="4804" y="2"/>
            <a:ext cx="468178" cy="756000"/>
            <a:chOff x="4425584" y="267785"/>
            <a:chExt cx="2950814" cy="4756864"/>
          </a:xfrm>
          <a:solidFill>
            <a:schemeClr val="accent1"/>
          </a:solidFill>
        </p:grpSpPr>
        <p:grpSp>
          <p:nvGrpSpPr>
            <p:cNvPr id="6" name="Graphic 2">
              <a:extLst>
                <a:ext uri="{FF2B5EF4-FFF2-40B4-BE49-F238E27FC236}">
                  <a16:creationId xmlns:a16="http://schemas.microsoft.com/office/drawing/2014/main" id="{180BE3B6-5EA3-D02C-4D7E-21667A11A530}"/>
                </a:ext>
              </a:extLst>
            </p:cNvPr>
            <p:cNvGrpSpPr/>
            <p:nvPr/>
          </p:nvGrpSpPr>
          <p:grpSpPr>
            <a:xfrm>
              <a:off x="5720269" y="2764575"/>
              <a:ext cx="1656129" cy="1882392"/>
              <a:chOff x="5720269" y="2764575"/>
              <a:chExt cx="1656129" cy="1882392"/>
            </a:xfrm>
            <a:solidFill>
              <a:schemeClr val="accent1"/>
            </a:solidFill>
          </p:grpSpPr>
          <p:grpSp>
            <p:nvGrpSpPr>
              <p:cNvPr id="10" name="Graphic 2">
                <a:extLst>
                  <a:ext uri="{FF2B5EF4-FFF2-40B4-BE49-F238E27FC236}">
                    <a16:creationId xmlns:a16="http://schemas.microsoft.com/office/drawing/2014/main" id="{CCBA39EC-9686-8783-321B-270D8D6F3610}"/>
                  </a:ext>
                </a:extLst>
              </p:cNvPr>
              <p:cNvGrpSpPr/>
              <p:nvPr/>
            </p:nvGrpSpPr>
            <p:grpSpPr>
              <a:xfrm>
                <a:off x="5720269" y="2764575"/>
                <a:ext cx="1656129" cy="1882392"/>
                <a:chOff x="5720269" y="2764575"/>
                <a:chExt cx="1656129" cy="1882392"/>
              </a:xfrm>
              <a:solidFill>
                <a:srgbClr val="00A099"/>
              </a:solidFill>
            </p:grpSpPr>
            <p:sp>
              <p:nvSpPr>
                <p:cNvPr id="17" name="Freeform 75">
                  <a:extLst>
                    <a:ext uri="{FF2B5EF4-FFF2-40B4-BE49-F238E27FC236}">
                      <a16:creationId xmlns:a16="http://schemas.microsoft.com/office/drawing/2014/main" id="{AA94029E-F23C-C08C-F7E1-C2F2A9C85B53}"/>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6">
                  <a:extLst>
                    <a:ext uri="{FF2B5EF4-FFF2-40B4-BE49-F238E27FC236}">
                      <a16:creationId xmlns:a16="http://schemas.microsoft.com/office/drawing/2014/main" id="{E88982F6-91B8-45EB-3398-40D18384588B}"/>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Freeform 77">
                  <a:extLst>
                    <a:ext uri="{FF2B5EF4-FFF2-40B4-BE49-F238E27FC236}">
                      <a16:creationId xmlns:a16="http://schemas.microsoft.com/office/drawing/2014/main" id="{75D78B35-9DF4-D8E2-E0C3-83A3EEA0781E}"/>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2" name="Freeform 72">
                <a:extLst>
                  <a:ext uri="{FF2B5EF4-FFF2-40B4-BE49-F238E27FC236}">
                    <a16:creationId xmlns:a16="http://schemas.microsoft.com/office/drawing/2014/main" id="{E573A3C6-6716-D982-C1EA-0014F3817456}"/>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3">
                <a:extLst>
                  <a:ext uri="{FF2B5EF4-FFF2-40B4-BE49-F238E27FC236}">
                    <a16:creationId xmlns:a16="http://schemas.microsoft.com/office/drawing/2014/main" id="{94F203DD-CA5D-B8E1-7DD0-E6C7CB46A1C7}"/>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Freeform 74">
                <a:extLst>
                  <a:ext uri="{FF2B5EF4-FFF2-40B4-BE49-F238E27FC236}">
                    <a16:creationId xmlns:a16="http://schemas.microsoft.com/office/drawing/2014/main" id="{5A15357C-17E0-841C-89B3-46D729D59C1E}"/>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7" name="Freeform 69">
              <a:extLst>
                <a:ext uri="{FF2B5EF4-FFF2-40B4-BE49-F238E27FC236}">
                  <a16:creationId xmlns:a16="http://schemas.microsoft.com/office/drawing/2014/main" id="{2D3083DA-E962-222E-D6F1-A29AC7213A0A}"/>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8" name="Freeform 70">
              <a:extLst>
                <a:ext uri="{FF2B5EF4-FFF2-40B4-BE49-F238E27FC236}">
                  <a16:creationId xmlns:a16="http://schemas.microsoft.com/office/drawing/2014/main" id="{6B6EAFFB-C231-8056-2DBB-B287971D9F5A}"/>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3040551898"/>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3_Custom Layout">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470281FC-4DA5-CBF6-3888-C1BF84972142}"/>
              </a:ext>
            </a:extLst>
          </p:cNvPr>
          <p:cNvGraphicFramePr>
            <a:graphicFrameLocks noChangeAspect="1"/>
          </p:cNvGraphicFramePr>
          <p:nvPr>
            <p:custDataLst>
              <p:tags r:id="rId1"/>
            </p:custDataLst>
            <p:extLst>
              <p:ext uri="{D42A27DB-BD31-4B8C-83A1-F6EECF244321}">
                <p14:modId xmlns:p14="http://schemas.microsoft.com/office/powerpoint/2010/main" val="4060982385"/>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470281FC-4DA5-CBF6-3888-C1BF84972142}"/>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17" name="Rectangle 16">
            <a:extLst>
              <a:ext uri="{FF2B5EF4-FFF2-40B4-BE49-F238E27FC236}">
                <a16:creationId xmlns:a16="http://schemas.microsoft.com/office/drawing/2014/main" id="{44C0A6C8-0742-BFC5-6418-EB121B24625B}"/>
              </a:ext>
            </a:extLst>
          </p:cNvPr>
          <p:cNvSpPr/>
          <p:nvPr/>
        </p:nvSpPr>
        <p:spPr>
          <a:xfrm flipV="1">
            <a:off x="298174" y="765831"/>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4" name="Picture 3">
            <a:extLst>
              <a:ext uri="{FF2B5EF4-FFF2-40B4-BE49-F238E27FC236}">
                <a16:creationId xmlns:a16="http://schemas.microsoft.com/office/drawing/2014/main" id="{881EF171-5190-4F6B-A583-DC58847928D4}"/>
              </a:ext>
            </a:extLst>
          </p:cNvPr>
          <p:cNvPicPr>
            <a:picLocks noChangeAspect="1"/>
          </p:cNvPicPr>
          <p:nvPr/>
        </p:nvPicPr>
        <p:blipFill rotWithShape="1">
          <a:blip r:embed="rId5" cstate="print">
            <a:alphaModFix/>
            <a:extLst>
              <a:ext uri="{BEBA8EAE-BF5A-486C-A8C5-ECC9F3942E4B}">
                <a14:imgProps xmlns:a14="http://schemas.microsoft.com/office/drawing/2010/main">
                  <a14:imgLayer r:embed="rId6">
                    <a14:imgEffect>
                      <a14:artisticBlur radius="20"/>
                    </a14:imgEffect>
                  </a14:imgLayer>
                </a14:imgProps>
              </a:ext>
              <a:ext uri="{28A0092B-C50C-407E-A947-70E740481C1C}">
                <a14:useLocalDpi xmlns:a14="http://schemas.microsoft.com/office/drawing/2010/main"/>
              </a:ext>
            </a:extLst>
          </a:blip>
          <a:srcRect/>
          <a:stretch/>
        </p:blipFill>
        <p:spPr>
          <a:xfrm>
            <a:off x="1" y="2"/>
            <a:ext cx="2001645" cy="5138927"/>
          </a:xfrm>
          <a:custGeom>
            <a:avLst/>
            <a:gdLst>
              <a:gd name="connsiteX0" fmla="*/ 0 w 2668860"/>
              <a:gd name="connsiteY0" fmla="*/ 0 h 6851903"/>
              <a:gd name="connsiteX1" fmla="*/ 2668860 w 2668860"/>
              <a:gd name="connsiteY1" fmla="*/ 0 h 6851903"/>
              <a:gd name="connsiteX2" fmla="*/ 2427625 w 2668860"/>
              <a:gd name="connsiteY2" fmla="*/ 1012659 h 6851903"/>
              <a:gd name="connsiteX3" fmla="*/ 2427624 w 2668860"/>
              <a:gd name="connsiteY3" fmla="*/ 1012658 h 6851903"/>
              <a:gd name="connsiteX4" fmla="*/ 1036595 w 2668860"/>
              <a:gd name="connsiteY4" fmla="*/ 6851903 h 6851903"/>
              <a:gd name="connsiteX5" fmla="*/ 0 w 2668860"/>
              <a:gd name="connsiteY5" fmla="*/ 6851903 h 68519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68860" h="6851903">
                <a:moveTo>
                  <a:pt x="0" y="0"/>
                </a:moveTo>
                <a:lnTo>
                  <a:pt x="2668860" y="0"/>
                </a:lnTo>
                <a:lnTo>
                  <a:pt x="2427625" y="1012659"/>
                </a:lnTo>
                <a:lnTo>
                  <a:pt x="2427624" y="1012658"/>
                </a:lnTo>
                <a:lnTo>
                  <a:pt x="1036595" y="6851903"/>
                </a:lnTo>
                <a:lnTo>
                  <a:pt x="0" y="6851903"/>
                </a:lnTo>
                <a:close/>
              </a:path>
            </a:pathLst>
          </a:custGeom>
          <a:effectLst>
            <a:outerShdw blurRad="190500" dist="63500" algn="l" rotWithShape="0">
              <a:prstClr val="black">
                <a:alpha val="40000"/>
              </a:prstClr>
            </a:outerShdw>
          </a:effectLst>
        </p:spPr>
      </p:pic>
      <p:sp>
        <p:nvSpPr>
          <p:cNvPr id="5" name="Freeform 4">
            <a:extLst>
              <a:ext uri="{FF2B5EF4-FFF2-40B4-BE49-F238E27FC236}">
                <a16:creationId xmlns:a16="http://schemas.microsoft.com/office/drawing/2014/main" id="{BAE36E4B-15E5-8A2D-E35B-6E086214BBB5}"/>
              </a:ext>
            </a:extLst>
          </p:cNvPr>
          <p:cNvSpPr/>
          <p:nvPr/>
        </p:nvSpPr>
        <p:spPr>
          <a:xfrm>
            <a:off x="1" y="1"/>
            <a:ext cx="2003631" cy="5147264"/>
          </a:xfrm>
          <a:custGeom>
            <a:avLst/>
            <a:gdLst>
              <a:gd name="connsiteX0" fmla="*/ 2671508 w 2671508"/>
              <a:gd name="connsiteY0" fmla="*/ 0 h 6863018"/>
              <a:gd name="connsiteX1" fmla="*/ 2427625 w 2671508"/>
              <a:gd name="connsiteY1" fmla="*/ 1023774 h 6863018"/>
              <a:gd name="connsiteX2" fmla="*/ 2427624 w 2671508"/>
              <a:gd name="connsiteY2" fmla="*/ 1023773 h 6863018"/>
              <a:gd name="connsiteX3" fmla="*/ 1036595 w 2671508"/>
              <a:gd name="connsiteY3" fmla="*/ 6863018 h 6863018"/>
              <a:gd name="connsiteX4" fmla="*/ 0 w 2671508"/>
              <a:gd name="connsiteY4" fmla="*/ 6863018 h 6863018"/>
              <a:gd name="connsiteX5" fmla="*/ 0 w 2671508"/>
              <a:gd name="connsiteY5" fmla="*/ 1 h 6863018"/>
              <a:gd name="connsiteX6" fmla="*/ 2668167 w 2671508"/>
              <a:gd name="connsiteY6" fmla="*/ 1 h 6863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71508" h="6863018">
                <a:moveTo>
                  <a:pt x="2671508" y="0"/>
                </a:moveTo>
                <a:lnTo>
                  <a:pt x="2427625" y="1023774"/>
                </a:lnTo>
                <a:lnTo>
                  <a:pt x="2427624" y="1023773"/>
                </a:lnTo>
                <a:lnTo>
                  <a:pt x="1036595" y="6863018"/>
                </a:lnTo>
                <a:lnTo>
                  <a:pt x="0" y="6863018"/>
                </a:lnTo>
                <a:lnTo>
                  <a:pt x="0" y="1"/>
                </a:lnTo>
                <a:lnTo>
                  <a:pt x="2668167" y="1"/>
                </a:lnTo>
                <a:close/>
              </a:path>
            </a:pathLst>
          </a:custGeom>
          <a:solidFill>
            <a:schemeClr val="accent1">
              <a:alpha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AE"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22" name="Title 21">
            <a:extLst>
              <a:ext uri="{FF2B5EF4-FFF2-40B4-BE49-F238E27FC236}">
                <a16:creationId xmlns:a16="http://schemas.microsoft.com/office/drawing/2014/main" id="{D2E328E9-ECC3-9B40-8F43-108C67AF3D54}"/>
              </a:ext>
            </a:extLst>
          </p:cNvPr>
          <p:cNvSpPr>
            <a:spLocks noGrp="1"/>
          </p:cNvSpPr>
          <p:nvPr>
            <p:ph type="title"/>
          </p:nvPr>
        </p:nvSpPr>
        <p:spPr>
          <a:xfrm>
            <a:off x="2546749" y="1984773"/>
            <a:ext cx="4050506" cy="586979"/>
          </a:xfrm>
          <a:prstGeom prst="rect">
            <a:avLst/>
          </a:prstGeom>
        </p:spPr>
        <p:txBody>
          <a:bodyPr vert="horz" anchor="b"/>
          <a:lstStyle>
            <a:lvl1pPr>
              <a:defRPr sz="1800"/>
            </a:lvl1pPr>
          </a:lstStyle>
          <a:p>
            <a:r>
              <a:rPr lang="en-US"/>
              <a:t>Click to edit Master title style</a:t>
            </a:r>
            <a:endParaRPr lang="en-GB"/>
          </a:p>
        </p:txBody>
      </p:sp>
      <p:sp>
        <p:nvSpPr>
          <p:cNvPr id="39" name="Text Placeholder 38">
            <a:extLst>
              <a:ext uri="{FF2B5EF4-FFF2-40B4-BE49-F238E27FC236}">
                <a16:creationId xmlns:a16="http://schemas.microsoft.com/office/drawing/2014/main" id="{766AA8F2-ED66-C8B6-F02F-A758C76F686D}"/>
              </a:ext>
            </a:extLst>
          </p:cNvPr>
          <p:cNvSpPr>
            <a:spLocks noGrp="1"/>
          </p:cNvSpPr>
          <p:nvPr>
            <p:ph type="body" sz="quarter" idx="10"/>
          </p:nvPr>
        </p:nvSpPr>
        <p:spPr>
          <a:xfrm>
            <a:off x="2546749" y="2571750"/>
            <a:ext cx="4050506" cy="2159794"/>
          </a:xfrm>
          <a:prstGeom prst="rect">
            <a:avLst/>
          </a:prstGeom>
        </p:spPr>
        <p:txBody>
          <a:bodyPr anchor="ctr"/>
          <a:lstStyle>
            <a:lvl1pPr>
              <a:spcBef>
                <a:spcPts val="450"/>
              </a:spcBef>
              <a:spcAft>
                <a:spcPts val="450"/>
              </a:spcAft>
              <a:defRPr sz="1500">
                <a:latin typeface="Nexa Book" panose="00000400000000000000" pitchFamily="50" charset="0"/>
              </a:defRPr>
            </a:lvl1pPr>
            <a:lvl2pPr>
              <a:spcBef>
                <a:spcPts val="450"/>
              </a:spcBef>
              <a:spcAft>
                <a:spcPts val="450"/>
              </a:spcAft>
              <a:defRPr sz="1500">
                <a:latin typeface="Nexa Book" panose="00000400000000000000" pitchFamily="50" charset="0"/>
              </a:defRPr>
            </a:lvl2pPr>
            <a:lvl3pPr>
              <a:spcBef>
                <a:spcPts val="450"/>
              </a:spcBef>
              <a:spcAft>
                <a:spcPts val="450"/>
              </a:spcAft>
              <a:defRPr sz="1500">
                <a:latin typeface="Nexa Book" panose="00000400000000000000" pitchFamily="50" charset="0"/>
              </a:defRPr>
            </a:lvl3pPr>
            <a:lvl4pPr>
              <a:spcBef>
                <a:spcPts val="450"/>
              </a:spcBef>
              <a:spcAft>
                <a:spcPts val="450"/>
              </a:spcAft>
              <a:defRPr sz="1500">
                <a:latin typeface="Nexa Book" panose="00000400000000000000" pitchFamily="50" charset="0"/>
              </a:defRPr>
            </a:lvl4pPr>
            <a:lvl5pPr>
              <a:spcBef>
                <a:spcPts val="450"/>
              </a:spcBef>
              <a:spcAft>
                <a:spcPts val="450"/>
              </a:spcAft>
              <a:defRPr sz="1500">
                <a:latin typeface="Nexa Book" panose="00000400000000000000" pitchFamily="50"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5" name="TextBox 44">
            <a:extLst>
              <a:ext uri="{FF2B5EF4-FFF2-40B4-BE49-F238E27FC236}">
                <a16:creationId xmlns:a16="http://schemas.microsoft.com/office/drawing/2014/main" id="{2F2E65BA-3CC6-053E-18B1-3637B12D11C0}"/>
              </a:ext>
            </a:extLst>
          </p:cNvPr>
          <p:cNvSpPr txBox="1"/>
          <p:nvPr/>
        </p:nvSpPr>
        <p:spPr>
          <a:xfrm>
            <a:off x="2546747" y="715779"/>
            <a:ext cx="3140308" cy="51619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algn="l"/>
            <a:r>
              <a:rPr lang="en-GB" sz="3000">
                <a:solidFill>
                  <a:schemeClr val="accent1"/>
                </a:solidFill>
                <a:latin typeface="+mj-lt"/>
              </a:rPr>
              <a:t>Survey Question</a:t>
            </a:r>
          </a:p>
        </p:txBody>
      </p:sp>
      <p:pic>
        <p:nvPicPr>
          <p:cNvPr id="47" name="Graphic 46" descr="Questions with solid fill">
            <a:extLst>
              <a:ext uri="{FF2B5EF4-FFF2-40B4-BE49-F238E27FC236}">
                <a16:creationId xmlns:a16="http://schemas.microsoft.com/office/drawing/2014/main" id="{EE4A1AD7-6636-14B4-D364-9C1B63ABA4FB}"/>
              </a:ext>
            </a:extLst>
          </p:cNvPr>
          <p:cNvPicPr>
            <a:picLocks noChangeAspect="1"/>
          </p:cNvPicPr>
          <p:nvPr/>
        </p:nvPicPr>
        <p:blipFill>
          <a:blip r:embed="rId7">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6591301" y="816769"/>
            <a:ext cx="2031206" cy="2031206"/>
          </a:xfrm>
          <a:prstGeom prst="rect">
            <a:avLst/>
          </a:prstGeom>
        </p:spPr>
      </p:pic>
      <p:grpSp>
        <p:nvGrpSpPr>
          <p:cNvPr id="18" name="Graphic 2">
            <a:extLst>
              <a:ext uri="{FF2B5EF4-FFF2-40B4-BE49-F238E27FC236}">
                <a16:creationId xmlns:a16="http://schemas.microsoft.com/office/drawing/2014/main" id="{AC89D95A-44CB-5A85-7E39-2788EA87B3EE}"/>
              </a:ext>
            </a:extLst>
          </p:cNvPr>
          <p:cNvGrpSpPr>
            <a:grpSpLocks noChangeAspect="1"/>
          </p:cNvGrpSpPr>
          <p:nvPr/>
        </p:nvGrpSpPr>
        <p:grpSpPr>
          <a:xfrm>
            <a:off x="4804" y="2"/>
            <a:ext cx="468178" cy="756000"/>
            <a:chOff x="4425584" y="267785"/>
            <a:chExt cx="2950814" cy="4756864"/>
          </a:xfrm>
          <a:solidFill>
            <a:schemeClr val="accent1"/>
          </a:solidFill>
        </p:grpSpPr>
        <p:grpSp>
          <p:nvGrpSpPr>
            <p:cNvPr id="19" name="Graphic 2">
              <a:extLst>
                <a:ext uri="{FF2B5EF4-FFF2-40B4-BE49-F238E27FC236}">
                  <a16:creationId xmlns:a16="http://schemas.microsoft.com/office/drawing/2014/main" id="{07D5AF5A-A3F3-267D-FFAA-BC9D3C756DE6}"/>
                </a:ext>
              </a:extLst>
            </p:cNvPr>
            <p:cNvGrpSpPr/>
            <p:nvPr/>
          </p:nvGrpSpPr>
          <p:grpSpPr>
            <a:xfrm>
              <a:off x="5720269" y="2764575"/>
              <a:ext cx="1656129" cy="1882392"/>
              <a:chOff x="5720269" y="2764575"/>
              <a:chExt cx="1656129" cy="1882392"/>
            </a:xfrm>
            <a:solidFill>
              <a:schemeClr val="accent1"/>
            </a:solidFill>
          </p:grpSpPr>
          <p:grpSp>
            <p:nvGrpSpPr>
              <p:cNvPr id="23" name="Graphic 2">
                <a:extLst>
                  <a:ext uri="{FF2B5EF4-FFF2-40B4-BE49-F238E27FC236}">
                    <a16:creationId xmlns:a16="http://schemas.microsoft.com/office/drawing/2014/main" id="{F9D1F83B-5E48-47F2-871D-FCA00540AA41}"/>
                  </a:ext>
                </a:extLst>
              </p:cNvPr>
              <p:cNvGrpSpPr/>
              <p:nvPr/>
            </p:nvGrpSpPr>
            <p:grpSpPr>
              <a:xfrm>
                <a:off x="5720269" y="2764575"/>
                <a:ext cx="1656129" cy="1882392"/>
                <a:chOff x="5720269" y="2764575"/>
                <a:chExt cx="1656129" cy="1882392"/>
              </a:xfrm>
              <a:solidFill>
                <a:srgbClr val="00A099"/>
              </a:solidFill>
            </p:grpSpPr>
            <p:sp>
              <p:nvSpPr>
                <p:cNvPr id="27" name="Freeform 75">
                  <a:extLst>
                    <a:ext uri="{FF2B5EF4-FFF2-40B4-BE49-F238E27FC236}">
                      <a16:creationId xmlns:a16="http://schemas.microsoft.com/office/drawing/2014/main" id="{06E72622-92E3-EBEA-0027-609D87E2ABFF}"/>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8" name="Freeform 76">
                  <a:extLst>
                    <a:ext uri="{FF2B5EF4-FFF2-40B4-BE49-F238E27FC236}">
                      <a16:creationId xmlns:a16="http://schemas.microsoft.com/office/drawing/2014/main" id="{2B9678C2-3912-814A-9644-8970C8799649}"/>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9" name="Freeform 77">
                  <a:extLst>
                    <a:ext uri="{FF2B5EF4-FFF2-40B4-BE49-F238E27FC236}">
                      <a16:creationId xmlns:a16="http://schemas.microsoft.com/office/drawing/2014/main" id="{C201A351-4259-F058-EE37-824824A0E6ED}"/>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24" name="Freeform 72">
                <a:extLst>
                  <a:ext uri="{FF2B5EF4-FFF2-40B4-BE49-F238E27FC236}">
                    <a16:creationId xmlns:a16="http://schemas.microsoft.com/office/drawing/2014/main" id="{A3240831-BB86-B9EF-BA18-BC2F6676C85D}"/>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5" name="Freeform 73">
                <a:extLst>
                  <a:ext uri="{FF2B5EF4-FFF2-40B4-BE49-F238E27FC236}">
                    <a16:creationId xmlns:a16="http://schemas.microsoft.com/office/drawing/2014/main" id="{82EB7286-1FF6-5D46-2A5F-38283459E3FF}"/>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6" name="Freeform 74">
                <a:extLst>
                  <a:ext uri="{FF2B5EF4-FFF2-40B4-BE49-F238E27FC236}">
                    <a16:creationId xmlns:a16="http://schemas.microsoft.com/office/drawing/2014/main" id="{9D06B755-51DE-33E0-305E-3D5826FB359F}"/>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20" name="Freeform 69">
              <a:extLst>
                <a:ext uri="{FF2B5EF4-FFF2-40B4-BE49-F238E27FC236}">
                  <a16:creationId xmlns:a16="http://schemas.microsoft.com/office/drawing/2014/main" id="{5697664E-6246-DD80-7AA1-B652A4EE3AC4}"/>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1" name="Freeform 70">
              <a:extLst>
                <a:ext uri="{FF2B5EF4-FFF2-40B4-BE49-F238E27FC236}">
                  <a16:creationId xmlns:a16="http://schemas.microsoft.com/office/drawing/2014/main" id="{224D0000-E85A-4DB6-88D9-D6B1AA97D3C5}"/>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1285415080"/>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046006910"/>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818837608"/>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p:txBody>
          <a:bodyPr/>
          <a:lstStyle/>
          <a:p>
            <a:fld id="{46587C87-8FDD-4605-B89F-5662D8826220}" type="datetime1">
              <a:rPr lang="en-US" smtClean="0"/>
              <a:t>7/8/2024</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p>
            <a:endParaRPr lang="en-US" dirty="0"/>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521495" y="753627"/>
            <a:ext cx="8182891" cy="1205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104999" y="756000"/>
            <a:ext cx="5678691"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9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9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9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9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9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9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9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9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9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3104999" y="135002"/>
            <a:ext cx="5805000"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2" cstate="screen">
            <a:alphaModFix amt="15000"/>
            <a:extLst>
              <a:ext uri="{28A0092B-C50C-407E-A947-70E740481C1C}">
                <a14:useLocalDpi xmlns:a14="http://schemas.microsoft.com/office/drawing/2010/main"/>
              </a:ext>
            </a:extLst>
          </a:blip>
          <a:srcRect/>
          <a:stretch/>
        </p:blipFill>
        <p:spPr>
          <a:xfrm>
            <a:off x="1" y="790660"/>
            <a:ext cx="2653131" cy="4270686"/>
          </a:xfrm>
          <a:prstGeom prst="rect">
            <a:avLst/>
          </a:prstGeom>
        </p:spPr>
      </p:pic>
      <p:sp>
        <p:nvSpPr>
          <p:cNvPr id="9" name="TextBox 8">
            <a:extLst>
              <a:ext uri="{FF2B5EF4-FFF2-40B4-BE49-F238E27FC236}">
                <a16:creationId xmlns:a16="http://schemas.microsoft.com/office/drawing/2014/main" id="{24C37508-30D9-2465-C0CD-E7BD021CEDF9}"/>
              </a:ext>
            </a:extLst>
          </p:cNvPr>
          <p:cNvSpPr txBox="1"/>
          <p:nvPr/>
        </p:nvSpPr>
        <p:spPr>
          <a:xfrm>
            <a:off x="3104999" y="756000"/>
            <a:ext cx="5678691"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900" b="0" i="0" u="none" strike="noStrike" kern="1200" cap="none" spc="0" normalizeH="0" baseline="0" noProof="0" dirty="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900" b="0" i="0" u="none" strike="noStrike" kern="1200" cap="none" spc="0" normalizeH="0" baseline="0" noProof="0" dirty="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900" b="0" i="0" u="none" strike="noStrike" kern="1200" cap="none" spc="0" normalizeH="0" baseline="0" noProof="0" dirty="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900" b="0" i="0" u="none" strike="noStrike" kern="1200" cap="none" spc="0" normalizeH="0" baseline="0" noProof="0" dirty="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900" b="0" i="0" u="none" strike="noStrike" kern="1200" cap="none" spc="0" normalizeH="0" baseline="0" noProof="0" dirty="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900" b="0" i="0" u="none" strike="noStrike" kern="1200" cap="none" spc="0" normalizeH="0" baseline="0" noProof="0" dirty="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900" b="0" i="0" u="none" strike="noStrike" kern="1200" cap="none" spc="0" normalizeH="0" baseline="0" noProof="0" dirty="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900" b="0" i="0" u="none" strike="noStrike" kern="1200" cap="none" spc="0" normalizeH="0" baseline="0" noProof="0" dirty="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900" b="0" i="0" u="none" strike="noStrike" kern="1200" cap="none" spc="0" normalizeH="0" baseline="0" noProof="0" dirty="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900" b="0" i="0" u="none" strike="noStrike" kern="1200" cap="none" spc="0" normalizeH="0" baseline="0" noProof="0" dirty="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900" b="0" i="0" u="none" strike="noStrike" kern="1200" cap="none" spc="0" normalizeH="0" baseline="0" noProof="0" dirty="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900" b="0" i="0" u="none" strike="noStrike" kern="1200" cap="none" spc="0" normalizeH="0" baseline="0" noProof="0" dirty="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900" b="0" i="0" u="none" strike="noStrike" kern="1200" cap="none" spc="0" normalizeH="0" baseline="0" noProof="0" dirty="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900" b="0" i="0" u="none" strike="noStrike" kern="1200" cap="none" spc="0" normalizeH="0" baseline="0" noProof="0" dirty="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900" b="0" i="0" u="none" strike="noStrike" kern="1200" cap="none" spc="0" normalizeH="0" baseline="0" noProof="0" dirty="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900" b="0" i="0" u="none" strike="noStrike" kern="1200" cap="none" spc="0" normalizeH="0" baseline="0" noProof="0" dirty="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900" b="0" i="0" u="none" strike="noStrike" kern="1200" cap="none" spc="0" normalizeH="0" baseline="0" noProof="0" dirty="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900" b="0" i="0" u="none" strike="noStrike" kern="1200" cap="none" spc="0" normalizeH="0" baseline="0" noProof="0" dirty="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pic>
        <p:nvPicPr>
          <p:cNvPr id="10" name="Image 6">
            <a:extLst>
              <a:ext uri="{FF2B5EF4-FFF2-40B4-BE49-F238E27FC236}">
                <a16:creationId xmlns:a16="http://schemas.microsoft.com/office/drawing/2014/main" id="{2FDFE172-C699-F3B4-46FA-178D94B5A338}"/>
              </a:ext>
            </a:extLst>
          </p:cNvPr>
          <p:cNvPicPr>
            <a:picLocks noChangeAspect="1"/>
          </p:cNvPicPr>
          <p:nvPr/>
        </p:nvPicPr>
        <p:blipFill>
          <a:blip r:embed="rId2" cstate="screen">
            <a:alphaModFix amt="15000"/>
            <a:extLst>
              <a:ext uri="{28A0092B-C50C-407E-A947-70E740481C1C}">
                <a14:useLocalDpi xmlns:a14="http://schemas.microsoft.com/office/drawing/2010/main"/>
              </a:ext>
            </a:extLst>
          </a:blip>
          <a:srcRect/>
          <a:stretch/>
        </p:blipFill>
        <p:spPr>
          <a:xfrm>
            <a:off x="1" y="790660"/>
            <a:ext cx="2653131" cy="4270686"/>
          </a:xfrm>
          <a:prstGeom prst="rect">
            <a:avLst/>
          </a:prstGeom>
        </p:spPr>
      </p:pic>
    </p:spTree>
    <p:extLst>
      <p:ext uri="{BB962C8B-B14F-4D97-AF65-F5344CB8AC3E}">
        <p14:creationId xmlns:p14="http://schemas.microsoft.com/office/powerpoint/2010/main" val="231023999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31342241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p:txBody>
          <a:bodyPr/>
          <a:lstStyle>
            <a:lvl1pPr>
              <a:defRPr b="0" i="0">
                <a:latin typeface="Nexa Book" panose="00000400000000000000" pitchFamily="50" charset="0"/>
              </a:defRPr>
            </a:lvl1pPr>
          </a:lstStyle>
          <a:p>
            <a:fld id="{93B7D14C-106C-4A28-A54C-ABFAFE88CFF0}" type="datetime1">
              <a:rPr lang="en-US" smtClean="0"/>
              <a:t>7/8/2024</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Title 2">
            <a:extLst>
              <a:ext uri="{FF2B5EF4-FFF2-40B4-BE49-F238E27FC236}">
                <a16:creationId xmlns:a16="http://schemas.microsoft.com/office/drawing/2014/main" id="{B1651EB0-1B2C-14E2-AF80-EC037348B6D8}"/>
              </a:ext>
            </a:extLst>
          </p:cNvPr>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1246537380"/>
      </p:ext>
    </p:extLst>
  </p:cSld>
  <p:clrMapOvr>
    <a:overrideClrMapping bg1="lt1" tx1="dk1" bg2="lt2" tx2="dk2" accent1="accent1" accent2="accent2" accent3="accent3" accent4="accent4" accent5="accent5" accent6="accent6" hlink="hlink" folHlink="folHlink"/>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Subtitle &amp; Chart">
    <p:spTree>
      <p:nvGrpSpPr>
        <p:cNvPr id="1" name=""/>
        <p:cNvGrpSpPr/>
        <p:nvPr/>
      </p:nvGrpSpPr>
      <p:grpSpPr>
        <a:xfrm>
          <a:off x="0" y="0"/>
          <a:ext cx="0" cy="0"/>
          <a:chOff x="0" y="0"/>
          <a:chExt cx="0" cy="0"/>
        </a:xfrm>
      </p:grpSpPr>
      <p:sp>
        <p:nvSpPr>
          <p:cNvPr id="9" name="Date Placeholder 8">
            <a:extLst>
              <a:ext uri="{FF2B5EF4-FFF2-40B4-BE49-F238E27FC236}">
                <a16:creationId xmlns:a16="http://schemas.microsoft.com/office/drawing/2014/main" id="{9811D9C0-8736-4B36-9E13-374E792E42E5}"/>
              </a:ext>
            </a:extLst>
          </p:cNvPr>
          <p:cNvSpPr>
            <a:spLocks noGrp="1"/>
          </p:cNvSpPr>
          <p:nvPr>
            <p:ph type="dt" sz="half" idx="10"/>
          </p:nvPr>
        </p:nvSpPr>
        <p:spPr/>
        <p:txBody>
          <a:bodyPr/>
          <a:lstStyle>
            <a:lvl1pPr>
              <a:defRPr b="0" i="0">
                <a:latin typeface="Nexa Book" panose="00000400000000000000" pitchFamily="50" charset="0"/>
              </a:defRPr>
            </a:lvl1pPr>
          </a:lstStyle>
          <a:p>
            <a:fld id="{49C2A5A9-A165-6842-BF5B-12552BFC6A40}" type="datetime1">
              <a:rPr lang="en-US" smtClean="0"/>
              <a:pPr/>
              <a:t>7/8/2024</a:t>
            </a:fld>
            <a:endParaRPr lang="en-US"/>
          </a:p>
        </p:txBody>
      </p:sp>
      <p:sp>
        <p:nvSpPr>
          <p:cNvPr id="10" name="Footer Placeholder 9">
            <a:extLst>
              <a:ext uri="{FF2B5EF4-FFF2-40B4-BE49-F238E27FC236}">
                <a16:creationId xmlns:a16="http://schemas.microsoft.com/office/drawing/2014/main" id="{7BBBFD60-4E0B-4B1D-B796-705519ED02B4}"/>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EF5CB6E5-8237-4D44-99D5-FD01A34D5457}"/>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cxnSp>
        <p:nvCxnSpPr>
          <p:cNvPr id="19" name="Straight Connector 18">
            <a:extLst>
              <a:ext uri="{FF2B5EF4-FFF2-40B4-BE49-F238E27FC236}">
                <a16:creationId xmlns:a16="http://schemas.microsoft.com/office/drawing/2014/main" id="{463E9F05-5744-462A-AB1D-B4CFDE2B82AD}"/>
              </a:ext>
            </a:extLst>
          </p:cNvPr>
          <p:cNvCxnSpPr>
            <a:cxnSpLocks/>
          </p:cNvCxnSpPr>
          <p:nvPr userDrawn="1"/>
        </p:nvCxnSpPr>
        <p:spPr>
          <a:xfrm flipV="1">
            <a:off x="548639" y="4956617"/>
            <a:ext cx="8092440" cy="366"/>
          </a:xfrm>
          <a:prstGeom prst="line">
            <a:avLst/>
          </a:prstGeom>
          <a:ln w="6350" cap="rnd">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B112F039-9691-4DAA-85D8-B09A421DEE78}"/>
              </a:ext>
            </a:extLst>
          </p:cNvPr>
          <p:cNvCxnSpPr>
            <a:cxnSpLocks/>
          </p:cNvCxnSpPr>
          <p:nvPr userDrawn="1"/>
        </p:nvCxnSpPr>
        <p:spPr>
          <a:xfrm flipV="1">
            <a:off x="523800" y="810000"/>
            <a:ext cx="8100000" cy="366"/>
          </a:xfrm>
          <a:prstGeom prst="line">
            <a:avLst/>
          </a:prstGeom>
          <a:noFill/>
          <a:ln w="19050" cap="rnd" cmpd="sng" algn="ctr">
            <a:gradFill flip="none" rotWithShape="1">
              <a:gsLst>
                <a:gs pos="0">
                  <a:srgbClr val="006C6D"/>
                </a:gs>
                <a:gs pos="51007">
                  <a:srgbClr val="7ECAC4">
                    <a:lumMod val="20000"/>
                    <a:lumOff val="80000"/>
                  </a:srgbClr>
                </a:gs>
                <a:gs pos="30000">
                  <a:srgbClr val="00A097"/>
                </a:gs>
                <a:gs pos="70000">
                  <a:srgbClr val="00A097"/>
                </a:gs>
                <a:gs pos="100000">
                  <a:srgbClr val="006C6D"/>
                </a:gs>
              </a:gsLst>
              <a:path path="circle">
                <a:fillToRect l="100000" t="100000"/>
              </a:path>
              <a:tileRect r="-100000" b="-100000"/>
            </a:gradFill>
            <a:prstDash val="solid"/>
            <a:miter lim="800000"/>
          </a:ln>
          <a:effectLst/>
        </p:spPr>
      </p:cxnSp>
      <p:sp>
        <p:nvSpPr>
          <p:cNvPr id="15" name="Data Source">
            <a:extLst>
              <a:ext uri="{FF2B5EF4-FFF2-40B4-BE49-F238E27FC236}">
                <a16:creationId xmlns:a16="http://schemas.microsoft.com/office/drawing/2014/main" id="{1F43C034-B871-47DE-BE9B-96F4B140694D}"/>
              </a:ext>
            </a:extLst>
          </p:cNvPr>
          <p:cNvSpPr>
            <a:spLocks noGrp="1"/>
          </p:cNvSpPr>
          <p:nvPr>
            <p:ph type="body" sz="quarter" idx="13" hasCustomPrompt="1"/>
          </p:nvPr>
        </p:nvSpPr>
        <p:spPr>
          <a:xfrm>
            <a:off x="0" y="4731547"/>
            <a:ext cx="4572000" cy="225266"/>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38" marR="0" lvl="0" indent="-171438" algn="l" defTabSz="685749"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80C4D44D-B0D2-4219-99BF-8D83E1E753B9}"/>
              </a:ext>
            </a:extLst>
          </p:cNvPr>
          <p:cNvSpPr>
            <a:spLocks noGrp="1"/>
          </p:cNvSpPr>
          <p:nvPr>
            <p:ph type="body" sz="quarter" idx="14" hasCustomPrompt="1"/>
          </p:nvPr>
        </p:nvSpPr>
        <p:spPr>
          <a:xfrm>
            <a:off x="523800" y="810000"/>
            <a:ext cx="8100000" cy="405000"/>
          </a:xfrm>
          <a:prstGeom prst="rect">
            <a:avLst/>
          </a:prstGeom>
        </p:spPr>
        <p:txBody>
          <a:bodyPr/>
          <a:lstStyle>
            <a:lvl1pPr marL="0" indent="0">
              <a:spcBef>
                <a:spcPts val="0"/>
              </a:spcBef>
              <a:buNone/>
              <a:defRPr sz="1350" b="0" i="0">
                <a:solidFill>
                  <a:schemeClr val="accent3"/>
                </a:solidFill>
                <a:latin typeface="Nexa Bold" panose="00000800000000000000" pitchFamily="2" charset="0"/>
              </a:defRPr>
            </a:lvl1pPr>
          </a:lstStyle>
          <a:p>
            <a:pPr lvl="0"/>
            <a:r>
              <a:rPr lang="nl-NL" err="1"/>
              <a:t>Subtitle</a:t>
            </a:r>
            <a:r>
              <a:rPr lang="nl-NL"/>
              <a:t> | Chart </a:t>
            </a:r>
            <a:r>
              <a:rPr lang="nl-NL" err="1"/>
              <a:t>Title</a:t>
            </a:r>
            <a:endParaRPr lang="nl-NL"/>
          </a:p>
        </p:txBody>
      </p:sp>
      <p:sp>
        <p:nvSpPr>
          <p:cNvPr id="2" name="Title">
            <a:extLst>
              <a:ext uri="{FF2B5EF4-FFF2-40B4-BE49-F238E27FC236}">
                <a16:creationId xmlns:a16="http://schemas.microsoft.com/office/drawing/2014/main" id="{9508DFD5-ED18-4A85-ADC0-5BC7B99B4CC7}"/>
              </a:ext>
            </a:extLst>
          </p:cNvPr>
          <p:cNvSpPr>
            <a:spLocks noGrp="1"/>
          </p:cNvSpPr>
          <p:nvPr>
            <p:ph type="title"/>
          </p:nvPr>
        </p:nvSpPr>
        <p:spPr>
          <a:xfrm>
            <a:off x="523800" y="0"/>
            <a:ext cx="8100000" cy="810000"/>
          </a:xfrm>
          <a:prstGeom prst="rect">
            <a:avLst/>
          </a:prstGeom>
        </p:spPr>
        <p:txBody>
          <a:bodyPr anchor="b"/>
          <a:lstStyle>
            <a:lvl1pPr>
              <a:defRPr sz="1800" b="0" i="0">
                <a:solidFill>
                  <a:srgbClr val="006D6F"/>
                </a:solidFill>
                <a:latin typeface="Nexa Bold" panose="00000800000000000000" pitchFamily="2" charset="0"/>
              </a:defRPr>
            </a:lvl1pPr>
          </a:lstStyle>
          <a:p>
            <a:endParaRPr lang="nl-BE"/>
          </a:p>
        </p:txBody>
      </p:sp>
      <p:sp>
        <p:nvSpPr>
          <p:cNvPr id="3" name="TextBox 2">
            <a:extLst>
              <a:ext uri="{FF2B5EF4-FFF2-40B4-BE49-F238E27FC236}">
                <a16:creationId xmlns:a16="http://schemas.microsoft.com/office/drawing/2014/main" id="{2BB5FD72-FA85-99CC-AAF9-E0E9F3F56A3F}"/>
              </a:ext>
            </a:extLst>
          </p:cNvPr>
          <p:cNvSpPr txBox="1"/>
          <p:nvPr userDrawn="1"/>
        </p:nvSpPr>
        <p:spPr>
          <a:xfrm>
            <a:off x="8065852" y="4970702"/>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2F6D6416-C47B-5DB4-3779-56754DA044F5}"/>
              </a:ext>
            </a:extLst>
          </p:cNvPr>
          <p:cNvSpPr txBox="1"/>
          <p:nvPr userDrawn="1"/>
        </p:nvSpPr>
        <p:spPr>
          <a:xfrm>
            <a:off x="7676385" y="4970702"/>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Tree>
    <p:extLst>
      <p:ext uri="{BB962C8B-B14F-4D97-AF65-F5344CB8AC3E}">
        <p14:creationId xmlns:p14="http://schemas.microsoft.com/office/powerpoint/2010/main" val="2213705364"/>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5_Text Slide">
    <p:bg>
      <p:bgRef idx="1001">
        <a:schemeClr val="bg1"/>
      </p:bgRef>
    </p:bg>
    <p:spTree>
      <p:nvGrpSpPr>
        <p:cNvPr id="1" name=""/>
        <p:cNvGrpSpPr/>
        <p:nvPr/>
      </p:nvGrpSpPr>
      <p:grpSpPr>
        <a:xfrm>
          <a:off x="0" y="0"/>
          <a:ext cx="0" cy="0"/>
          <a:chOff x="0" y="0"/>
          <a:chExt cx="0" cy="0"/>
        </a:xfrm>
      </p:grpSpPr>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p:txBody>
          <a:bodyPr/>
          <a:lstStyle>
            <a:lvl1pPr>
              <a:defRPr b="0" i="0">
                <a:latin typeface="Nexa Book" panose="00000400000000000000" pitchFamily="50" charset="0"/>
              </a:defRPr>
            </a:lvl1pPr>
          </a:lstStyle>
          <a:p>
            <a:fld id="{8653D2B4-39CA-49B1-90B1-BB61F03F1B4B}" type="datetime1">
              <a:rPr lang="en-US" smtClean="0"/>
              <a:t>7/8/2024</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cxnSp>
        <p:nvCxnSpPr>
          <p:cNvPr id="14" name="Straight Connector 13">
            <a:extLst>
              <a:ext uri="{FF2B5EF4-FFF2-40B4-BE49-F238E27FC236}">
                <a16:creationId xmlns:a16="http://schemas.microsoft.com/office/drawing/2014/main" id="{794410AB-A67A-4034-9B18-BB81296AFD6E}"/>
              </a:ext>
            </a:extLst>
          </p:cNvPr>
          <p:cNvCxnSpPr>
            <a:cxnSpLocks/>
          </p:cNvCxnSpPr>
          <p:nvPr userDrawn="1"/>
        </p:nvCxnSpPr>
        <p:spPr>
          <a:xfrm flipV="1">
            <a:off x="523800" y="810000"/>
            <a:ext cx="8100000" cy="366"/>
          </a:xfrm>
          <a:prstGeom prst="line">
            <a:avLst/>
          </a:prstGeom>
          <a:noFill/>
          <a:ln w="19050" cap="rnd" cmpd="sng" algn="ctr">
            <a:gradFill flip="none" rotWithShape="1">
              <a:gsLst>
                <a:gs pos="0">
                  <a:srgbClr val="006C6D"/>
                </a:gs>
                <a:gs pos="51007">
                  <a:srgbClr val="7ECAC4">
                    <a:lumMod val="20000"/>
                    <a:lumOff val="80000"/>
                  </a:srgbClr>
                </a:gs>
                <a:gs pos="30000">
                  <a:srgbClr val="00A097"/>
                </a:gs>
                <a:gs pos="70000">
                  <a:srgbClr val="00A097"/>
                </a:gs>
                <a:gs pos="100000">
                  <a:srgbClr val="006C6D"/>
                </a:gs>
              </a:gsLst>
              <a:path path="circle">
                <a:fillToRect l="100000" t="100000"/>
              </a:path>
              <a:tileRect r="-100000" b="-100000"/>
            </a:gradFill>
            <a:prstDash val="solid"/>
            <a:miter lim="800000"/>
          </a:ln>
          <a:effectLst/>
        </p:spPr>
      </p:cxn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9"/>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30" marR="0" lvl="0" indent="-171430" algn="l" defTabSz="685715"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23800" y="1243578"/>
            <a:ext cx="8100000" cy="3483000"/>
          </a:xfrm>
          <a:prstGeom prst="rect">
            <a:avLst/>
          </a:prstGeom>
        </p:spPr>
        <p:txBody>
          <a:bodyPr/>
          <a:lstStyle>
            <a:lvl1pPr>
              <a:spcBef>
                <a:spcPts val="450"/>
              </a:spcBef>
              <a:defRPr sz="1000" b="0" i="0">
                <a:solidFill>
                  <a:srgbClr val="575656"/>
                </a:solidFill>
                <a:latin typeface="+mn-lt"/>
                <a:ea typeface="Open Sans" panose="020B0606030504020204" pitchFamily="34" charset="0"/>
                <a:cs typeface="Open Sans" panose="020B0606030504020204" pitchFamily="34" charset="0"/>
              </a:defRPr>
            </a:lvl1pPr>
            <a:lvl2pPr>
              <a:spcBef>
                <a:spcPts val="450"/>
              </a:spcBef>
              <a:defRPr sz="1000" b="0" i="0">
                <a:solidFill>
                  <a:srgbClr val="575656"/>
                </a:solidFill>
                <a:latin typeface="+mn-lt"/>
                <a:ea typeface="Open Sans" panose="020B0606030504020204" pitchFamily="34" charset="0"/>
                <a:cs typeface="Open Sans" panose="020B0606030504020204" pitchFamily="34" charset="0"/>
              </a:defRPr>
            </a:lvl2pPr>
            <a:lvl3pPr>
              <a:spcBef>
                <a:spcPts val="450"/>
              </a:spcBef>
              <a:defRPr sz="900" b="0" i="0">
                <a:solidFill>
                  <a:srgbClr val="575656"/>
                </a:solidFill>
                <a:latin typeface="+mn-lt"/>
                <a:ea typeface="Open Sans" panose="020B0606030504020204" pitchFamily="34" charset="0"/>
                <a:cs typeface="Open Sans" panose="020B0606030504020204" pitchFamily="34" charset="0"/>
              </a:defRPr>
            </a:lvl3pPr>
            <a:lvl4pPr>
              <a:spcBef>
                <a:spcPts val="450"/>
              </a:spcBef>
              <a:defRPr sz="900" b="0" i="0">
                <a:solidFill>
                  <a:srgbClr val="575656"/>
                </a:solidFill>
                <a:latin typeface="+mn-lt"/>
                <a:ea typeface="Open Sans" panose="020B0606030504020204" pitchFamily="34" charset="0"/>
                <a:cs typeface="Open Sans" panose="020B0606030504020204" pitchFamily="34" charset="0"/>
              </a:defRPr>
            </a:lvl4pPr>
            <a:lvl5pPr>
              <a:spcBef>
                <a:spcPts val="450"/>
              </a:spcBef>
              <a:defRPr sz="900" b="0" i="0">
                <a:solidFill>
                  <a:srgbClr val="575656"/>
                </a:solidFill>
                <a:latin typeface="+mn-lt"/>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0"/>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23800" y="810000"/>
            <a:ext cx="8100000" cy="405000"/>
          </a:xfrm>
          <a:prstGeom prst="rect">
            <a:avLst/>
          </a:prstGeom>
        </p:spPr>
        <p:txBody>
          <a:bodyPr/>
          <a:lstStyle>
            <a:lvl1pPr marL="0" indent="0">
              <a:spcBef>
                <a:spcPts val="0"/>
              </a:spcBef>
              <a:buNone/>
              <a:defRPr sz="1200" b="0" i="0">
                <a:solidFill>
                  <a:schemeClr val="accent3"/>
                </a:solidFill>
                <a:latin typeface="Nexa Bold (Headings)"/>
              </a:defRPr>
            </a:lvl1pPr>
          </a:lstStyle>
          <a:p>
            <a:pPr lvl="0"/>
            <a:r>
              <a:rPr lang="nl-NL"/>
              <a:t>Subtitle | Chart Title</a:t>
            </a:r>
          </a:p>
        </p:txBody>
      </p:sp>
      <p:sp>
        <p:nvSpPr>
          <p:cNvPr id="7" name="Title">
            <a:extLst>
              <a:ext uri="{FF2B5EF4-FFF2-40B4-BE49-F238E27FC236}">
                <a16:creationId xmlns:a16="http://schemas.microsoft.com/office/drawing/2014/main" id="{5C2AF268-AF83-9FFC-72B3-D24D260C0073}"/>
              </a:ext>
            </a:extLst>
          </p:cNvPr>
          <p:cNvSpPr>
            <a:spLocks noGrp="1"/>
          </p:cNvSpPr>
          <p:nvPr>
            <p:ph type="title"/>
          </p:nvPr>
        </p:nvSpPr>
        <p:spPr>
          <a:xfrm>
            <a:off x="540001" y="0"/>
            <a:ext cx="8118506" cy="810000"/>
          </a:xfrm>
          <a:prstGeom prst="rect">
            <a:avLst/>
          </a:prstGeom>
        </p:spPr>
        <p:txBody>
          <a:bodyPr anchor="b"/>
          <a:lstStyle>
            <a:lvl1pPr>
              <a:defRPr sz="1600" b="0" i="0">
                <a:solidFill>
                  <a:srgbClr val="006D6F"/>
                </a:solidFill>
                <a:latin typeface="Nexa Bold (Headings)"/>
              </a:defRPr>
            </a:lvl1pPr>
          </a:lstStyle>
          <a:p>
            <a:endParaRPr lang="nl-BE"/>
          </a:p>
        </p:txBody>
      </p:sp>
    </p:spTree>
    <p:extLst>
      <p:ext uri="{BB962C8B-B14F-4D97-AF65-F5344CB8AC3E}">
        <p14:creationId xmlns:p14="http://schemas.microsoft.com/office/powerpoint/2010/main" val="3656826349"/>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6554677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p:txBody>
          <a:bodyPr/>
          <a:lstStyle>
            <a:lvl1pPr>
              <a:defRPr b="0" i="0">
                <a:latin typeface="Nexa Book" panose="00000400000000000000" pitchFamily="50" charset="0"/>
              </a:defRPr>
            </a:lvl1pPr>
          </a:lstStyle>
          <a:p>
            <a:fld id="{93B7D14C-106C-4A28-A54C-ABFAFE88CFF0}" type="datetime1">
              <a:rPr lang="en-US" smtClean="0"/>
              <a:t>7/8/2024</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349878111"/>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06674806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p:txBody>
          <a:bodyPr/>
          <a:lstStyle>
            <a:lvl1pPr>
              <a:defRPr b="0" i="0">
                <a:latin typeface="Nexa Book" panose="00000400000000000000" pitchFamily="50" charset="0"/>
              </a:defRPr>
            </a:lvl1pPr>
          </a:lstStyle>
          <a:p>
            <a:fld id="{93B7D14C-106C-4A28-A54C-ABFAFE88CFF0}" type="datetime1">
              <a:rPr lang="en-US" smtClean="0"/>
              <a:t>7/8/2024</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40000" y="792000"/>
            <a:ext cx="8100000" cy="361488"/>
          </a:xfrm>
          <a:prstGeom prst="rect">
            <a:avLst/>
          </a:prstGeom>
        </p:spPr>
        <p:txBody>
          <a:bodyPr/>
          <a:lstStyle>
            <a:lvl1pPr marL="0" indent="0">
              <a:spcBef>
                <a:spcPts val="0"/>
              </a:spcBef>
              <a:buNone/>
              <a:defRPr sz="1200" b="0" i="0">
                <a:solidFill>
                  <a:schemeClr val="accent3"/>
                </a:solidFill>
                <a:latin typeface="+mj-lt"/>
              </a:defRPr>
            </a:lvl1pPr>
          </a:lstStyle>
          <a:p>
            <a:pPr lvl="0"/>
            <a:r>
              <a:rPr lang="nl-NL"/>
              <a:t>Subtitle | Chart Title</a:t>
            </a:r>
          </a:p>
        </p:txBody>
      </p:sp>
      <p:sp>
        <p:nvSpPr>
          <p:cNvPr id="3" name="Title 2">
            <a:extLst>
              <a:ext uri="{FF2B5EF4-FFF2-40B4-BE49-F238E27FC236}">
                <a16:creationId xmlns:a16="http://schemas.microsoft.com/office/drawing/2014/main" id="{2BE900DD-787F-F12D-4277-5A85E59EB274}"/>
              </a:ext>
            </a:extLst>
          </p:cNvPr>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961575617"/>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373231981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p:txBody>
          <a:bodyPr/>
          <a:lstStyle>
            <a:lvl1pPr>
              <a:defRPr b="0" i="0">
                <a:latin typeface="Nexa Book" panose="00000400000000000000" pitchFamily="50" charset="0"/>
              </a:defRPr>
            </a:lvl1pPr>
          </a:lstStyle>
          <a:p>
            <a:fld id="{93B7D14C-106C-4A28-A54C-ABFAFE88CFF0}" type="datetime1">
              <a:rPr lang="en-US" smtClean="0"/>
              <a:t>7/8/2024</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40000" y="792000"/>
            <a:ext cx="8100000" cy="360000"/>
          </a:xfrm>
          <a:prstGeom prst="rect">
            <a:avLst/>
          </a:prstGeom>
        </p:spPr>
        <p:txBody>
          <a:bodyPr/>
          <a:lstStyle>
            <a:lvl1pPr marL="0" indent="0">
              <a:spcBef>
                <a:spcPts val="0"/>
              </a:spcBef>
              <a:buNone/>
              <a:defRPr sz="1200" b="0" i="0">
                <a:solidFill>
                  <a:schemeClr val="accent3"/>
                </a:solidFill>
                <a:latin typeface="+mj-lt"/>
              </a:defRPr>
            </a:lvl1pPr>
          </a:lstStyle>
          <a:p>
            <a:pPr lvl="0"/>
            <a:r>
              <a:rPr lang="nl-NL"/>
              <a:t>Subtitle | Chart Title</a:t>
            </a:r>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2891086961"/>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397524158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p:txBody>
          <a:bodyPr/>
          <a:lstStyle>
            <a:lvl1pPr>
              <a:defRPr b="0" i="0">
                <a:latin typeface="Nexa Book" panose="00000400000000000000" pitchFamily="50" charset="0"/>
              </a:defRPr>
            </a:lvl1pPr>
          </a:lstStyle>
          <a:p>
            <a:fld id="{93B7D14C-106C-4A28-A54C-ABFAFE88CFF0}" type="datetime1">
              <a:rPr lang="en-US" smtClean="0"/>
              <a:t>7/8/2024</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40000" y="1170000"/>
            <a:ext cx="8100000" cy="3562338"/>
          </a:xfrm>
          <a:prstGeom prst="rect">
            <a:avLst/>
          </a:prstGeom>
        </p:spPr>
        <p:txBody>
          <a:bodyPr/>
          <a:lstStyle>
            <a:lvl1pPr>
              <a:spcBef>
                <a:spcPts val="450"/>
              </a:spcBef>
              <a:defRPr sz="100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40000" y="792000"/>
            <a:ext cx="8100000" cy="360000"/>
          </a:xfrm>
          <a:prstGeom prst="rect">
            <a:avLst/>
          </a:prstGeom>
        </p:spPr>
        <p:txBody>
          <a:bodyPr/>
          <a:lstStyle>
            <a:lvl1pPr marL="0" indent="0">
              <a:spcBef>
                <a:spcPts val="0"/>
              </a:spcBef>
              <a:buNone/>
              <a:defRPr sz="1200" b="0" i="0">
                <a:solidFill>
                  <a:schemeClr val="accent3"/>
                </a:solidFill>
                <a:latin typeface="+mj-lt"/>
              </a:defRPr>
            </a:lvl1pPr>
          </a:lstStyle>
          <a:p>
            <a:pPr lvl="0"/>
            <a:r>
              <a:rPr lang="nl-NL"/>
              <a:t>Subtitle | Chart Title</a:t>
            </a:r>
          </a:p>
        </p:txBody>
      </p:sp>
      <p:sp>
        <p:nvSpPr>
          <p:cNvPr id="4" name="Title 3">
            <a:extLst>
              <a:ext uri="{FF2B5EF4-FFF2-40B4-BE49-F238E27FC236}">
                <a16:creationId xmlns:a16="http://schemas.microsoft.com/office/drawing/2014/main" id="{000572A4-4DF5-BB36-E43B-660A53DAB752}"/>
              </a:ext>
            </a:extLst>
          </p:cNvPr>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3736361353"/>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image" Target="../media/image1.emf"/><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tags" Target="../tags/tag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53"/>
            </p:custDataLst>
            <p:extLst>
              <p:ext uri="{D42A27DB-BD31-4B8C-83A1-F6EECF244321}">
                <p14:modId xmlns:p14="http://schemas.microsoft.com/office/powerpoint/2010/main" val="764999928"/>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54" imgW="7772400" imgH="10058400" progId="TCLayout.ActiveDocument.1">
                  <p:embed/>
                </p:oleObj>
              </mc:Choice>
              <mc:Fallback>
                <p:oleObj name="think-cell Slide" r:id="rId54"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55"/>
                      <a:stretch>
                        <a:fillRect/>
                      </a:stretch>
                    </p:blipFill>
                    <p:spPr>
                      <a:xfrm>
                        <a:off x="1192" y="1192"/>
                        <a:ext cx="920" cy="1191"/>
                      </a:xfrm>
                      <a:prstGeom prst="rect">
                        <a:avLst/>
                      </a:prstGeom>
                    </p:spPr>
                  </p:pic>
                </p:oleObj>
              </mc:Fallback>
            </mc:AlternateContent>
          </a:graphicData>
        </a:graphic>
      </p:graphicFrame>
      <p:cxnSp>
        <p:nvCxnSpPr>
          <p:cNvPr id="76" name="Straight Connector 75">
            <a:extLst>
              <a:ext uri="{FF2B5EF4-FFF2-40B4-BE49-F238E27FC236}">
                <a16:creationId xmlns:a16="http://schemas.microsoft.com/office/drawing/2014/main" id="{92966CB5-93DA-8946-DEAE-EB274F6849FB}"/>
              </a:ext>
            </a:extLst>
          </p:cNvPr>
          <p:cNvCxnSpPr>
            <a:cxnSpLocks/>
          </p:cNvCxnSpPr>
          <p:nvPr/>
        </p:nvCxnSpPr>
        <p:spPr>
          <a:xfrm flipV="1">
            <a:off x="540000" y="771580"/>
            <a:ext cx="8100000" cy="366"/>
          </a:xfrm>
          <a:prstGeom prst="line">
            <a:avLst/>
          </a:prstGeom>
          <a:noFill/>
          <a:ln w="15875" cap="rnd" cmpd="sng" algn="ctr">
            <a:gradFill flip="none" rotWithShape="1">
              <a:gsLst>
                <a:gs pos="0">
                  <a:srgbClr val="006C6D"/>
                </a:gs>
                <a:gs pos="51007">
                  <a:srgbClr val="7ECAC4">
                    <a:lumMod val="20000"/>
                    <a:lumOff val="80000"/>
                  </a:srgbClr>
                </a:gs>
                <a:gs pos="37000">
                  <a:srgbClr val="00A097"/>
                </a:gs>
                <a:gs pos="66000">
                  <a:srgbClr val="00A097"/>
                </a:gs>
                <a:gs pos="100000">
                  <a:srgbClr val="006C6D"/>
                </a:gs>
              </a:gsLst>
              <a:path path="circle">
                <a:fillToRect l="100000" t="100000"/>
              </a:path>
              <a:tileRect r="-100000" b="-100000"/>
            </a:gradFill>
            <a:prstDash val="solid"/>
            <a:miter lim="800000"/>
          </a:ln>
          <a:effectLst/>
        </p:spPr>
      </p:cxn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dirty="0"/>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7638966" y="4972050"/>
            <a:ext cx="400722"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7" name="TextBox 6">
            <a:extLst>
              <a:ext uri="{FF2B5EF4-FFF2-40B4-BE49-F238E27FC236}">
                <a16:creationId xmlns:a16="http://schemas.microsoft.com/office/drawing/2014/main" id="{5B7E8C9D-13C9-4358-B3E5-91451D3B0CC2}"/>
              </a:ext>
            </a:extLst>
          </p:cNvPr>
          <p:cNvSpPr txBox="1"/>
          <p:nvPr/>
        </p:nvSpPr>
        <p:spPr>
          <a:xfrm>
            <a:off x="8027895" y="4976308"/>
            <a:ext cx="1116106" cy="184666"/>
          </a:xfrm>
          <a:prstGeom prst="rect">
            <a:avLst/>
          </a:prstGeom>
          <a:noFill/>
        </p:spPr>
        <p:txBody>
          <a:bodyPr wrap="square" lIns="27000" rIns="27000">
            <a:spAutoFit/>
          </a:bodyPr>
          <a:lstStyle/>
          <a:p>
            <a:pPr algn="r"/>
            <a:r>
              <a:rPr lang="en-US" sz="600" b="0" i="0">
                <a:solidFill>
                  <a:schemeClr val="bg1">
                    <a:lumMod val="50000"/>
                  </a:schemeClr>
                </a:solidFill>
                <a:latin typeface="Nexa Book" panose="00000400000000000000" pitchFamily="50" charset="0"/>
              </a:rPr>
              <a:t>PRICING</a:t>
            </a:r>
            <a:r>
              <a:rPr lang="en-US" sz="600" b="0" i="0">
                <a:solidFill>
                  <a:schemeClr val="accent3"/>
                </a:solidFill>
                <a:latin typeface="+mj-lt"/>
              </a:rPr>
              <a:t>ONE</a:t>
            </a:r>
            <a:r>
              <a:rPr lang="en-US" sz="600" b="0" i="0">
                <a:solidFill>
                  <a:schemeClr val="bg1">
                    <a:lumMod val="50000"/>
                  </a:schemeClr>
                </a:solidFill>
                <a:latin typeface="Nexa Book" panose="00000400000000000000" pitchFamily="50" charset="0"/>
              </a:rPr>
              <a:t> </a:t>
            </a:r>
            <a:r>
              <a:rPr lang="en-US" sz="600" b="0" i="0">
                <a:solidFill>
                  <a:schemeClr val="bg1">
                    <a:lumMod val="50000"/>
                  </a:schemeClr>
                </a:solidFill>
                <a:latin typeface="Nexa Book" pitchFamily="2" charset="77"/>
              </a:rPr>
              <a:t>Confidential</a:t>
            </a:r>
            <a:endParaRPr lang="en-US" sz="600" b="0" i="0">
              <a:solidFill>
                <a:schemeClr val="tx1">
                  <a:tint val="75000"/>
                </a:schemeClr>
              </a:solidFill>
              <a:latin typeface="Nexa Book" pitchFamily="2" charset="77"/>
            </a:endParaRPr>
          </a:p>
        </p:txBody>
      </p:sp>
      <p:sp>
        <p:nvSpPr>
          <p:cNvPr id="8" name="Date Placeholder 7">
            <a:extLst>
              <a:ext uri="{FF2B5EF4-FFF2-40B4-BE49-F238E27FC236}">
                <a16:creationId xmlns:a16="http://schemas.microsoft.com/office/drawing/2014/main" id="{E79A2962-62B5-468D-9268-B9C7896028CE}"/>
              </a:ext>
            </a:extLst>
          </p:cNvPr>
          <p:cNvSpPr>
            <a:spLocks noGrp="1"/>
          </p:cNvSpPr>
          <p:nvPr>
            <p:ph type="dt" sz="half" idx="2"/>
          </p:nvPr>
        </p:nvSpPr>
        <p:spPr>
          <a:xfrm>
            <a:off x="7024385" y="4972050"/>
            <a:ext cx="609508"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fld id="{72BADB5F-A74F-484B-8756-F35CE7D72E3A}" type="datetime1">
              <a:rPr lang="en-US" smtClean="0"/>
              <a:t>7/8/2024</a:t>
            </a:fld>
            <a:endParaRPr lang="en-US"/>
          </a:p>
        </p:txBody>
      </p:sp>
      <p:grpSp>
        <p:nvGrpSpPr>
          <p:cNvPr id="9" name="Group 8">
            <a:extLst>
              <a:ext uri="{FF2B5EF4-FFF2-40B4-BE49-F238E27FC236}">
                <a16:creationId xmlns:a16="http://schemas.microsoft.com/office/drawing/2014/main" id="{CEBC34F0-0D86-A441-2116-F47E5238DF4F}"/>
              </a:ext>
            </a:extLst>
          </p:cNvPr>
          <p:cNvGrpSpPr>
            <a:grpSpLocks noChangeAspect="1"/>
          </p:cNvGrpSpPr>
          <p:nvPr/>
        </p:nvGrpSpPr>
        <p:grpSpPr>
          <a:xfrm>
            <a:off x="-1" y="-9332"/>
            <a:ext cx="469047" cy="756000"/>
            <a:chOff x="-1" y="-12441"/>
            <a:chExt cx="653922" cy="1053977"/>
          </a:xfrm>
        </p:grpSpPr>
        <p:sp>
          <p:nvSpPr>
            <p:cNvPr id="10" name="Freeform 9">
              <a:extLst>
                <a:ext uri="{FF2B5EF4-FFF2-40B4-BE49-F238E27FC236}">
                  <a16:creationId xmlns:a16="http://schemas.microsoft.com/office/drawing/2014/main" id="{6E642D8F-FD02-8E6C-4906-C958269150EA}"/>
                </a:ext>
              </a:extLst>
            </p:cNvPr>
            <p:cNvSpPr/>
            <p:nvPr/>
          </p:nvSpPr>
          <p:spPr>
            <a:xfrm>
              <a:off x="286911" y="660185"/>
              <a:ext cx="172436" cy="297393"/>
            </a:xfrm>
            <a:custGeom>
              <a:avLst/>
              <a:gdLst>
                <a:gd name="connsiteX0" fmla="*/ 418 w 172436"/>
                <a:gd name="connsiteY0" fmla="*/ 0 h 297393"/>
                <a:gd name="connsiteX1" fmla="*/ 46627 w 172436"/>
                <a:gd name="connsiteY1" fmla="*/ 26579 h 297393"/>
                <a:gd name="connsiteX2" fmla="*/ 165922 w 172436"/>
                <a:gd name="connsiteY2" fmla="*/ 95475 h 297393"/>
                <a:gd name="connsiteX3" fmla="*/ 172436 w 172436"/>
                <a:gd name="connsiteY3" fmla="*/ 104630 h 297393"/>
                <a:gd name="connsiteX4" fmla="*/ 172268 w 172436"/>
                <a:gd name="connsiteY4" fmla="*/ 292985 h 297393"/>
                <a:gd name="connsiteX5" fmla="*/ 171972 w 172436"/>
                <a:gd name="connsiteY5" fmla="*/ 297394 h 297393"/>
                <a:gd name="connsiteX6" fmla="*/ 166681 w 172436"/>
                <a:gd name="connsiteY6" fmla="*/ 294926 h 297393"/>
                <a:gd name="connsiteX7" fmla="*/ 4550 w 172436"/>
                <a:gd name="connsiteY7" fmla="*/ 201117 h 297393"/>
                <a:gd name="connsiteX8" fmla="*/ 186 w 172436"/>
                <a:gd name="connsiteY8" fmla="*/ 194093 h 297393"/>
                <a:gd name="connsiteX9" fmla="*/ 17 w 172436"/>
                <a:gd name="connsiteY9" fmla="*/ 3544 h 297393"/>
                <a:gd name="connsiteX10" fmla="*/ 418 w 172436"/>
                <a:gd name="connsiteY10" fmla="*/ 0 h 2973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72436" h="297393">
                  <a:moveTo>
                    <a:pt x="418" y="0"/>
                  </a:moveTo>
                  <a:cubicBezTo>
                    <a:pt x="16418" y="9197"/>
                    <a:pt x="31533" y="17867"/>
                    <a:pt x="46627" y="26579"/>
                  </a:cubicBezTo>
                  <a:cubicBezTo>
                    <a:pt x="86385" y="49552"/>
                    <a:pt x="126122" y="72566"/>
                    <a:pt x="165922" y="95475"/>
                  </a:cubicBezTo>
                  <a:cubicBezTo>
                    <a:pt x="169590" y="97584"/>
                    <a:pt x="172457" y="99293"/>
                    <a:pt x="172436" y="104630"/>
                  </a:cubicBezTo>
                  <a:cubicBezTo>
                    <a:pt x="172204" y="167408"/>
                    <a:pt x="172289" y="230207"/>
                    <a:pt x="172268" y="292985"/>
                  </a:cubicBezTo>
                  <a:cubicBezTo>
                    <a:pt x="172268" y="294187"/>
                    <a:pt x="172120" y="295390"/>
                    <a:pt x="171972" y="297394"/>
                  </a:cubicBezTo>
                  <a:cubicBezTo>
                    <a:pt x="169949" y="296466"/>
                    <a:pt x="168241" y="295812"/>
                    <a:pt x="166681" y="294926"/>
                  </a:cubicBezTo>
                  <a:cubicBezTo>
                    <a:pt x="112588" y="263726"/>
                    <a:pt x="58495" y="232527"/>
                    <a:pt x="4550" y="201117"/>
                  </a:cubicBezTo>
                  <a:cubicBezTo>
                    <a:pt x="2399" y="199873"/>
                    <a:pt x="186" y="196476"/>
                    <a:pt x="186" y="194093"/>
                  </a:cubicBezTo>
                  <a:cubicBezTo>
                    <a:pt x="-46" y="130576"/>
                    <a:pt x="-4" y="67060"/>
                    <a:pt x="17" y="3544"/>
                  </a:cubicBezTo>
                  <a:cubicBezTo>
                    <a:pt x="17" y="2827"/>
                    <a:pt x="165" y="2088"/>
                    <a:pt x="418" y="0"/>
                  </a:cubicBezTo>
                  <a:close/>
                </a:path>
              </a:pathLst>
            </a:custGeom>
            <a:solidFill>
              <a:srgbClr val="00A099"/>
            </a:solidFill>
            <a:ln w="453" cap="flat">
              <a:solidFill>
                <a:srgbClr val="04A8B5"/>
              </a:solidFill>
              <a:prstDash val="solid"/>
              <a:miter/>
            </a:ln>
          </p:spPr>
          <p:txBody>
            <a:bodyPr rtlCol="0" anchor="ctr"/>
            <a:lstStyle/>
            <a:p>
              <a:endParaRPr lang="en-US" sz="1013" b="0" i="0">
                <a:latin typeface="Nexa Book" pitchFamily="2" charset="77"/>
              </a:endParaRPr>
            </a:p>
          </p:txBody>
        </p:sp>
        <p:sp>
          <p:nvSpPr>
            <p:cNvPr id="11" name="Freeform 10">
              <a:extLst>
                <a:ext uri="{FF2B5EF4-FFF2-40B4-BE49-F238E27FC236}">
                  <a16:creationId xmlns:a16="http://schemas.microsoft.com/office/drawing/2014/main" id="{6F719CEF-6F38-DFFB-857E-15693A32263B}"/>
                </a:ext>
              </a:extLst>
            </p:cNvPr>
            <p:cNvSpPr/>
            <p:nvPr/>
          </p:nvSpPr>
          <p:spPr>
            <a:xfrm>
              <a:off x="481503" y="660249"/>
              <a:ext cx="172418" cy="297583"/>
            </a:xfrm>
            <a:custGeom>
              <a:avLst/>
              <a:gdLst>
                <a:gd name="connsiteX0" fmla="*/ 172292 w 172418"/>
                <a:gd name="connsiteY0" fmla="*/ 21 h 297583"/>
                <a:gd name="connsiteX1" fmla="*/ 172292 w 172418"/>
                <a:gd name="connsiteY1" fmla="*/ 8143 h 297583"/>
                <a:gd name="connsiteX2" fmla="*/ 172419 w 172418"/>
                <a:gd name="connsiteY2" fmla="*/ 191519 h 297583"/>
                <a:gd name="connsiteX3" fmla="*/ 166158 w 172418"/>
                <a:gd name="connsiteY3" fmla="*/ 202256 h 297583"/>
                <a:gd name="connsiteX4" fmla="*/ 5629 w 172418"/>
                <a:gd name="connsiteY4" fmla="*/ 294778 h 297583"/>
                <a:gd name="connsiteX5" fmla="*/ 485 w 172418"/>
                <a:gd name="connsiteY5" fmla="*/ 297583 h 297583"/>
                <a:gd name="connsiteX6" fmla="*/ 84 w 172418"/>
                <a:gd name="connsiteY6" fmla="*/ 289968 h 297583"/>
                <a:gd name="connsiteX7" fmla="*/ 0 w 172418"/>
                <a:gd name="connsiteY7" fmla="*/ 105853 h 297583"/>
                <a:gd name="connsiteX8" fmla="*/ 5123 w 172418"/>
                <a:gd name="connsiteY8" fmla="*/ 95897 h 297583"/>
                <a:gd name="connsiteX9" fmla="*/ 163755 w 172418"/>
                <a:gd name="connsiteY9" fmla="*/ 4451 h 297583"/>
                <a:gd name="connsiteX10" fmla="*/ 172292 w 172418"/>
                <a:gd name="connsiteY10" fmla="*/ 0 h 2975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72418" h="297583">
                  <a:moveTo>
                    <a:pt x="172292" y="21"/>
                  </a:moveTo>
                  <a:lnTo>
                    <a:pt x="172292" y="8143"/>
                  </a:lnTo>
                  <a:cubicBezTo>
                    <a:pt x="172292" y="69275"/>
                    <a:pt x="172208" y="130408"/>
                    <a:pt x="172419" y="191519"/>
                  </a:cubicBezTo>
                  <a:cubicBezTo>
                    <a:pt x="172419" y="196877"/>
                    <a:pt x="170754" y="199598"/>
                    <a:pt x="166158" y="202256"/>
                  </a:cubicBezTo>
                  <a:cubicBezTo>
                    <a:pt x="112571" y="232949"/>
                    <a:pt x="59110" y="263895"/>
                    <a:pt x="5629" y="294778"/>
                  </a:cubicBezTo>
                  <a:cubicBezTo>
                    <a:pt x="4216" y="295601"/>
                    <a:pt x="2740" y="296339"/>
                    <a:pt x="485" y="297583"/>
                  </a:cubicBezTo>
                  <a:cubicBezTo>
                    <a:pt x="316" y="294546"/>
                    <a:pt x="84" y="292268"/>
                    <a:pt x="84" y="289968"/>
                  </a:cubicBezTo>
                  <a:cubicBezTo>
                    <a:pt x="84" y="228604"/>
                    <a:pt x="84" y="167239"/>
                    <a:pt x="0" y="105853"/>
                  </a:cubicBezTo>
                  <a:cubicBezTo>
                    <a:pt x="0" y="101402"/>
                    <a:pt x="717" y="98407"/>
                    <a:pt x="5123" y="95897"/>
                  </a:cubicBezTo>
                  <a:cubicBezTo>
                    <a:pt x="58077" y="65562"/>
                    <a:pt x="110905" y="34975"/>
                    <a:pt x="163755" y="4451"/>
                  </a:cubicBezTo>
                  <a:cubicBezTo>
                    <a:pt x="166200" y="3038"/>
                    <a:pt x="168751" y="1835"/>
                    <a:pt x="172292" y="0"/>
                  </a:cubicBezTo>
                  <a:close/>
                </a:path>
              </a:pathLst>
            </a:custGeom>
            <a:solidFill>
              <a:srgbClr val="00A099"/>
            </a:solidFill>
            <a:ln w="453" cap="flat">
              <a:solidFill>
                <a:srgbClr val="04A8B5"/>
              </a:solidFill>
              <a:prstDash val="solid"/>
              <a:miter/>
            </a:ln>
          </p:spPr>
          <p:txBody>
            <a:bodyPr rtlCol="0" anchor="ctr"/>
            <a:lstStyle/>
            <a:p>
              <a:endParaRPr lang="en-US" sz="1013" b="0" i="0">
                <a:latin typeface="Nexa Book" pitchFamily="2" charset="77"/>
              </a:endParaRPr>
            </a:p>
          </p:txBody>
        </p:sp>
        <p:sp>
          <p:nvSpPr>
            <p:cNvPr id="12" name="Freeform 11">
              <a:extLst>
                <a:ext uri="{FF2B5EF4-FFF2-40B4-BE49-F238E27FC236}">
                  <a16:creationId xmlns:a16="http://schemas.microsoft.com/office/drawing/2014/main" id="{D6D8F994-7445-5B73-86FF-CF586DD3917B}"/>
                </a:ext>
              </a:extLst>
            </p:cNvPr>
            <p:cNvSpPr/>
            <p:nvPr/>
          </p:nvSpPr>
          <p:spPr>
            <a:xfrm>
              <a:off x="298543" y="540772"/>
              <a:ext cx="343720" cy="195823"/>
            </a:xfrm>
            <a:custGeom>
              <a:avLst/>
              <a:gdLst>
                <a:gd name="connsiteX0" fmla="*/ 0 w 343720"/>
                <a:gd name="connsiteY0" fmla="*/ 97517 h 195823"/>
                <a:gd name="connsiteX1" fmla="*/ 44143 w 343720"/>
                <a:gd name="connsiteY1" fmla="*/ 71866 h 195823"/>
                <a:gd name="connsiteX2" fmla="*/ 163375 w 343720"/>
                <a:gd name="connsiteY2" fmla="*/ 2802 h 195823"/>
                <a:gd name="connsiteX3" fmla="*/ 179776 w 343720"/>
                <a:gd name="connsiteY3" fmla="*/ 2528 h 195823"/>
                <a:gd name="connsiteX4" fmla="*/ 335626 w 343720"/>
                <a:gd name="connsiteY4" fmla="*/ 92771 h 195823"/>
                <a:gd name="connsiteX5" fmla="*/ 343721 w 343720"/>
                <a:gd name="connsiteY5" fmla="*/ 97770 h 195823"/>
                <a:gd name="connsiteX6" fmla="*/ 294308 w 343720"/>
                <a:gd name="connsiteY6" fmla="*/ 126438 h 195823"/>
                <a:gd name="connsiteX7" fmla="*/ 177563 w 343720"/>
                <a:gd name="connsiteY7" fmla="*/ 193962 h 195823"/>
                <a:gd name="connsiteX8" fmla="*/ 165821 w 343720"/>
                <a:gd name="connsiteY8" fmla="*/ 193836 h 195823"/>
                <a:gd name="connsiteX9" fmla="*/ 6788 w 343720"/>
                <a:gd name="connsiteY9" fmla="*/ 101842 h 195823"/>
                <a:gd name="connsiteX10" fmla="*/ 0 w 343720"/>
                <a:gd name="connsiteY10" fmla="*/ 97517 h 1958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43720" h="195823">
                  <a:moveTo>
                    <a:pt x="0" y="97517"/>
                  </a:moveTo>
                  <a:cubicBezTo>
                    <a:pt x="15241" y="88657"/>
                    <a:pt x="29661" y="80220"/>
                    <a:pt x="44143" y="71866"/>
                  </a:cubicBezTo>
                  <a:cubicBezTo>
                    <a:pt x="83901" y="48873"/>
                    <a:pt x="123765" y="26048"/>
                    <a:pt x="163375" y="2802"/>
                  </a:cubicBezTo>
                  <a:cubicBezTo>
                    <a:pt x="169278" y="-658"/>
                    <a:pt x="173599" y="-1101"/>
                    <a:pt x="179776" y="2528"/>
                  </a:cubicBezTo>
                  <a:cubicBezTo>
                    <a:pt x="231592" y="32841"/>
                    <a:pt x="283641" y="62732"/>
                    <a:pt x="335626" y="92771"/>
                  </a:cubicBezTo>
                  <a:cubicBezTo>
                    <a:pt x="338050" y="94163"/>
                    <a:pt x="340411" y="95724"/>
                    <a:pt x="343721" y="97770"/>
                  </a:cubicBezTo>
                  <a:cubicBezTo>
                    <a:pt x="326582" y="107706"/>
                    <a:pt x="310455" y="117093"/>
                    <a:pt x="294308" y="126438"/>
                  </a:cubicBezTo>
                  <a:cubicBezTo>
                    <a:pt x="255371" y="148925"/>
                    <a:pt x="216372" y="171286"/>
                    <a:pt x="177563" y="193962"/>
                  </a:cubicBezTo>
                  <a:cubicBezTo>
                    <a:pt x="173115" y="196557"/>
                    <a:pt x="170205" y="196367"/>
                    <a:pt x="165821" y="193836"/>
                  </a:cubicBezTo>
                  <a:cubicBezTo>
                    <a:pt x="112887" y="163016"/>
                    <a:pt x="59827" y="132471"/>
                    <a:pt x="6788" y="101842"/>
                  </a:cubicBezTo>
                  <a:cubicBezTo>
                    <a:pt x="4743" y="100660"/>
                    <a:pt x="2804" y="99289"/>
                    <a:pt x="0" y="97517"/>
                  </a:cubicBezTo>
                  <a:close/>
                </a:path>
              </a:pathLst>
            </a:custGeom>
            <a:solidFill>
              <a:srgbClr val="00A099"/>
            </a:solidFill>
            <a:ln w="453" cap="flat">
              <a:solidFill>
                <a:srgbClr val="04A8B5"/>
              </a:solidFill>
              <a:prstDash val="solid"/>
              <a:miter/>
            </a:ln>
          </p:spPr>
          <p:txBody>
            <a:bodyPr rtlCol="0" anchor="ctr"/>
            <a:lstStyle/>
            <a:p>
              <a:endParaRPr lang="en-US" sz="1013" b="0" i="0">
                <a:latin typeface="Nexa Book" pitchFamily="2" charset="77"/>
              </a:endParaRPr>
            </a:p>
          </p:txBody>
        </p:sp>
        <p:sp>
          <p:nvSpPr>
            <p:cNvPr id="13" name="Freeform 12">
              <a:extLst>
                <a:ext uri="{FF2B5EF4-FFF2-40B4-BE49-F238E27FC236}">
                  <a16:creationId xmlns:a16="http://schemas.microsoft.com/office/drawing/2014/main" id="{A6A1B091-7952-82E0-226C-14D34CD0804A}"/>
                </a:ext>
              </a:extLst>
            </p:cNvPr>
            <p:cNvSpPr/>
            <p:nvPr/>
          </p:nvSpPr>
          <p:spPr>
            <a:xfrm>
              <a:off x="412522" y="598536"/>
              <a:ext cx="123408" cy="71567"/>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Freeform 13">
              <a:extLst>
                <a:ext uri="{FF2B5EF4-FFF2-40B4-BE49-F238E27FC236}">
                  <a16:creationId xmlns:a16="http://schemas.microsoft.com/office/drawing/2014/main" id="{5043DE0B-B68A-8ED7-248B-EBC50E5DC0C6}"/>
                </a:ext>
              </a:extLst>
            </p:cNvPr>
            <p:cNvSpPr/>
            <p:nvPr/>
          </p:nvSpPr>
          <p:spPr>
            <a:xfrm>
              <a:off x="332589" y="741054"/>
              <a:ext cx="67226" cy="138914"/>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Freeform 14">
              <a:extLst>
                <a:ext uri="{FF2B5EF4-FFF2-40B4-BE49-F238E27FC236}">
                  <a16:creationId xmlns:a16="http://schemas.microsoft.com/office/drawing/2014/main" id="{EAF64219-666E-A102-563F-42073AB1B74A}"/>
                </a:ext>
              </a:extLst>
            </p:cNvPr>
            <p:cNvSpPr/>
            <p:nvPr/>
          </p:nvSpPr>
          <p:spPr>
            <a:xfrm>
              <a:off x="542805" y="747538"/>
              <a:ext cx="58983" cy="133506"/>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16" name="Freeform 15">
              <a:extLst>
                <a:ext uri="{FF2B5EF4-FFF2-40B4-BE49-F238E27FC236}">
                  <a16:creationId xmlns:a16="http://schemas.microsoft.com/office/drawing/2014/main" id="{6AE0CAE5-6737-8510-EF96-DC50F0C8E02E}"/>
                </a:ext>
              </a:extLst>
            </p:cNvPr>
            <p:cNvSpPr/>
            <p:nvPr/>
          </p:nvSpPr>
          <p:spPr>
            <a:xfrm>
              <a:off x="-1" y="280248"/>
              <a:ext cx="461498" cy="761288"/>
            </a:xfrm>
            <a:custGeom>
              <a:avLst/>
              <a:gdLst>
                <a:gd name="connsiteX0" fmla="*/ 0 w 461498"/>
                <a:gd name="connsiteY0" fmla="*/ 761288 h 761288"/>
                <a:gd name="connsiteX1" fmla="*/ 237685 w 461498"/>
                <a:gd name="connsiteY1" fmla="*/ 599449 h 761288"/>
                <a:gd name="connsiteX2" fmla="*/ 236820 w 461498"/>
                <a:gd name="connsiteY2" fmla="*/ 323256 h 761288"/>
                <a:gd name="connsiteX3" fmla="*/ 460950 w 461498"/>
                <a:gd name="connsiteY3" fmla="*/ 194662 h 761288"/>
                <a:gd name="connsiteX4" fmla="*/ 461498 w 461498"/>
                <a:gd name="connsiteY4" fmla="*/ 0 h 761288"/>
                <a:gd name="connsiteX5" fmla="*/ 696 w 461498"/>
                <a:gd name="connsiteY5" fmla="*/ 280075 h 761288"/>
                <a:gd name="connsiteX6" fmla="*/ 0 w 461498"/>
                <a:gd name="connsiteY6" fmla="*/ 761288 h 761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61498" h="761288">
                  <a:moveTo>
                    <a:pt x="0" y="761288"/>
                  </a:moveTo>
                  <a:lnTo>
                    <a:pt x="237685" y="599449"/>
                  </a:lnTo>
                  <a:lnTo>
                    <a:pt x="236820" y="323256"/>
                  </a:lnTo>
                  <a:lnTo>
                    <a:pt x="460950" y="194662"/>
                  </a:lnTo>
                  <a:lnTo>
                    <a:pt x="461498" y="0"/>
                  </a:lnTo>
                  <a:lnTo>
                    <a:pt x="696" y="280075"/>
                  </a:lnTo>
                  <a:lnTo>
                    <a:pt x="0" y="761288"/>
                  </a:lnTo>
                  <a:close/>
                </a:path>
              </a:pathLst>
            </a:custGeom>
            <a:solidFill>
              <a:srgbClr val="575756"/>
            </a:solidFill>
            <a:ln w="453" cap="flat">
              <a:noFill/>
              <a:prstDash val="solid"/>
              <a:miter/>
            </a:ln>
          </p:spPr>
          <p:txBody>
            <a:bodyPr rtlCol="0" anchor="ctr"/>
            <a:lstStyle/>
            <a:p>
              <a:endParaRPr lang="en-US" sz="1013" b="0" i="0">
                <a:latin typeface="Nexa Book" pitchFamily="2" charset="77"/>
              </a:endParaRPr>
            </a:p>
          </p:txBody>
        </p:sp>
        <p:sp>
          <p:nvSpPr>
            <p:cNvPr id="17" name="Freeform 16">
              <a:extLst>
                <a:ext uri="{FF2B5EF4-FFF2-40B4-BE49-F238E27FC236}">
                  <a16:creationId xmlns:a16="http://schemas.microsoft.com/office/drawing/2014/main" id="{3D546042-5181-94E7-B31B-EE46334167AB}"/>
                </a:ext>
              </a:extLst>
            </p:cNvPr>
            <p:cNvSpPr/>
            <p:nvPr/>
          </p:nvSpPr>
          <p:spPr>
            <a:xfrm>
              <a:off x="104" y="-12441"/>
              <a:ext cx="419379" cy="417907"/>
            </a:xfrm>
            <a:custGeom>
              <a:avLst/>
              <a:gdLst>
                <a:gd name="connsiteX0" fmla="*/ 419379 w 419379"/>
                <a:gd name="connsiteY0" fmla="*/ 250163 h 417907"/>
                <a:gd name="connsiteX1" fmla="*/ 148703 w 419379"/>
                <a:gd name="connsiteY1" fmla="*/ 417908 h 417907"/>
                <a:gd name="connsiteX2" fmla="*/ 443 w 419379"/>
                <a:gd name="connsiteY2" fmla="*/ 336313 h 417907"/>
                <a:gd name="connsiteX3" fmla="*/ 0 w 419379"/>
                <a:gd name="connsiteY3" fmla="*/ 0 h 417907"/>
                <a:gd name="connsiteX4" fmla="*/ 419379 w 419379"/>
                <a:gd name="connsiteY4" fmla="*/ 250163 h 4179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9379" h="417907">
                  <a:moveTo>
                    <a:pt x="419379" y="250163"/>
                  </a:moveTo>
                  <a:lnTo>
                    <a:pt x="148703" y="417908"/>
                  </a:lnTo>
                  <a:lnTo>
                    <a:pt x="443" y="336313"/>
                  </a:lnTo>
                  <a:lnTo>
                    <a:pt x="0" y="0"/>
                  </a:lnTo>
                  <a:lnTo>
                    <a:pt x="419379" y="250163"/>
                  </a:lnTo>
                  <a:close/>
                </a:path>
              </a:pathLst>
            </a:custGeom>
            <a:solidFill>
              <a:srgbClr val="575756"/>
            </a:solidFill>
            <a:ln w="453" cap="flat">
              <a:noFill/>
              <a:prstDash val="solid"/>
              <a:miter/>
            </a:ln>
          </p:spPr>
          <p:txBody>
            <a:bodyPr rtlCol="0" anchor="ctr"/>
            <a:lstStyle/>
            <a:p>
              <a:endParaRPr lang="en-US" sz="1013" b="0" i="0">
                <a:latin typeface="Nexa Book" pitchFamily="2" charset="77"/>
              </a:endParaRPr>
            </a:p>
          </p:txBody>
        </p:sp>
      </p:grpSp>
      <p:grpSp>
        <p:nvGrpSpPr>
          <p:cNvPr id="18" name="Group 17">
            <a:extLst>
              <a:ext uri="{FF2B5EF4-FFF2-40B4-BE49-F238E27FC236}">
                <a16:creationId xmlns:a16="http://schemas.microsoft.com/office/drawing/2014/main" id="{28AA2510-84D8-077A-5103-F5B14632F42F}"/>
              </a:ext>
            </a:extLst>
          </p:cNvPr>
          <p:cNvGrpSpPr/>
          <p:nvPr/>
        </p:nvGrpSpPr>
        <p:grpSpPr>
          <a:xfrm>
            <a:off x="2337" y="4972051"/>
            <a:ext cx="544631" cy="177437"/>
            <a:chOff x="61151" y="6718048"/>
            <a:chExt cx="726174" cy="236582"/>
          </a:xfrm>
        </p:grpSpPr>
        <p:sp>
          <p:nvSpPr>
            <p:cNvPr id="19" name="Freeform 18">
              <a:extLst>
                <a:ext uri="{FF2B5EF4-FFF2-40B4-BE49-F238E27FC236}">
                  <a16:creationId xmlns:a16="http://schemas.microsoft.com/office/drawing/2014/main" id="{3C25AEC9-071D-725A-4B03-9E4B973E66AB}"/>
                </a:ext>
              </a:extLst>
            </p:cNvPr>
            <p:cNvSpPr/>
            <p:nvPr/>
          </p:nvSpPr>
          <p:spPr>
            <a:xfrm>
              <a:off x="125600" y="6869014"/>
              <a:ext cx="38735" cy="66769"/>
            </a:xfrm>
            <a:custGeom>
              <a:avLst/>
              <a:gdLst>
                <a:gd name="connsiteX0" fmla="*/ 95 w 38735"/>
                <a:gd name="connsiteY0" fmla="*/ 0 h 66769"/>
                <a:gd name="connsiteX1" fmla="*/ 10465 w 38735"/>
                <a:gd name="connsiteY1" fmla="*/ 5967 h 66769"/>
                <a:gd name="connsiteX2" fmla="*/ 37268 w 38735"/>
                <a:gd name="connsiteY2" fmla="*/ 21452 h 66769"/>
                <a:gd name="connsiteX3" fmla="*/ 38736 w 38735"/>
                <a:gd name="connsiteY3" fmla="*/ 23488 h 66769"/>
                <a:gd name="connsiteX4" fmla="*/ 38688 w 38735"/>
                <a:gd name="connsiteY4" fmla="*/ 65775 h 66769"/>
                <a:gd name="connsiteX5" fmla="*/ 38641 w 38735"/>
                <a:gd name="connsiteY5" fmla="*/ 66770 h 66769"/>
                <a:gd name="connsiteX6" fmla="*/ 37457 w 38735"/>
                <a:gd name="connsiteY6" fmla="*/ 66201 h 66769"/>
                <a:gd name="connsiteX7" fmla="*/ 1042 w 38735"/>
                <a:gd name="connsiteY7" fmla="*/ 45129 h 66769"/>
                <a:gd name="connsiteX8" fmla="*/ 47 w 38735"/>
                <a:gd name="connsiteY8" fmla="*/ 43566 h 66769"/>
                <a:gd name="connsiteX9" fmla="*/ 0 w 38735"/>
                <a:gd name="connsiteY9" fmla="*/ 805 h 66769"/>
                <a:gd name="connsiteX10" fmla="*/ 95 w 38735"/>
                <a:gd name="connsiteY10" fmla="*/ 0 h 66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8735" h="66769">
                  <a:moveTo>
                    <a:pt x="95" y="0"/>
                  </a:moveTo>
                  <a:cubicBezTo>
                    <a:pt x="3694" y="2084"/>
                    <a:pt x="7103" y="4025"/>
                    <a:pt x="10465" y="5967"/>
                  </a:cubicBezTo>
                  <a:cubicBezTo>
                    <a:pt x="19415" y="11128"/>
                    <a:pt x="28318" y="16290"/>
                    <a:pt x="37268" y="21452"/>
                  </a:cubicBezTo>
                  <a:cubicBezTo>
                    <a:pt x="38073" y="21925"/>
                    <a:pt x="38736" y="22304"/>
                    <a:pt x="38736" y="23488"/>
                  </a:cubicBezTo>
                  <a:cubicBezTo>
                    <a:pt x="38688" y="37599"/>
                    <a:pt x="38688" y="51664"/>
                    <a:pt x="38688" y="65775"/>
                  </a:cubicBezTo>
                  <a:cubicBezTo>
                    <a:pt x="38688" y="66059"/>
                    <a:pt x="38641" y="66296"/>
                    <a:pt x="38641" y="66770"/>
                  </a:cubicBezTo>
                  <a:cubicBezTo>
                    <a:pt x="38167" y="66580"/>
                    <a:pt x="37789" y="66391"/>
                    <a:pt x="37457" y="66201"/>
                  </a:cubicBezTo>
                  <a:cubicBezTo>
                    <a:pt x="25287" y="59193"/>
                    <a:pt x="13164" y="52185"/>
                    <a:pt x="1042" y="45129"/>
                  </a:cubicBezTo>
                  <a:cubicBezTo>
                    <a:pt x="568" y="44845"/>
                    <a:pt x="47" y="44087"/>
                    <a:pt x="47" y="43566"/>
                  </a:cubicBezTo>
                  <a:cubicBezTo>
                    <a:pt x="0" y="29312"/>
                    <a:pt x="0" y="15059"/>
                    <a:pt x="0" y="805"/>
                  </a:cubicBezTo>
                  <a:cubicBezTo>
                    <a:pt x="0" y="663"/>
                    <a:pt x="47" y="474"/>
                    <a:pt x="95" y="0"/>
                  </a:cubicBezTo>
                  <a:close/>
                </a:path>
              </a:pathLst>
            </a:custGeom>
            <a:solidFill>
              <a:srgbClr val="00A099"/>
            </a:solidFill>
            <a:ln w="438" cap="flat">
              <a:solidFill>
                <a:srgbClr val="04A8B5"/>
              </a:solidFill>
              <a:prstDash val="solid"/>
              <a:miter/>
            </a:ln>
          </p:spPr>
          <p:txBody>
            <a:bodyPr rtlCol="0" anchor="ctr"/>
            <a:lstStyle/>
            <a:p>
              <a:endParaRPr lang="en-US" sz="1013" b="0" i="0">
                <a:latin typeface="Nexa Book" pitchFamily="2" charset="77"/>
              </a:endParaRPr>
            </a:p>
          </p:txBody>
        </p:sp>
        <p:sp>
          <p:nvSpPr>
            <p:cNvPr id="20" name="Freeform 19">
              <a:extLst>
                <a:ext uri="{FF2B5EF4-FFF2-40B4-BE49-F238E27FC236}">
                  <a16:creationId xmlns:a16="http://schemas.microsoft.com/office/drawing/2014/main" id="{07371303-DD01-0C0A-CABA-67DFFFC9A7C4}"/>
                </a:ext>
              </a:extLst>
            </p:cNvPr>
            <p:cNvSpPr/>
            <p:nvPr/>
          </p:nvSpPr>
          <p:spPr>
            <a:xfrm>
              <a:off x="169403" y="6869061"/>
              <a:ext cx="38688" cy="66816"/>
            </a:xfrm>
            <a:custGeom>
              <a:avLst/>
              <a:gdLst>
                <a:gd name="connsiteX0" fmla="*/ 38641 w 38688"/>
                <a:gd name="connsiteY0" fmla="*/ 0 h 66816"/>
                <a:gd name="connsiteX1" fmla="*/ 38641 w 38688"/>
                <a:gd name="connsiteY1" fmla="*/ 1847 h 66816"/>
                <a:gd name="connsiteX2" fmla="*/ 38688 w 38688"/>
                <a:gd name="connsiteY2" fmla="*/ 42998 h 66816"/>
                <a:gd name="connsiteX3" fmla="*/ 37268 w 38688"/>
                <a:gd name="connsiteY3" fmla="*/ 45413 h 66816"/>
                <a:gd name="connsiteX4" fmla="*/ 1231 w 38688"/>
                <a:gd name="connsiteY4" fmla="*/ 66201 h 66816"/>
                <a:gd name="connsiteX5" fmla="*/ 95 w 38688"/>
                <a:gd name="connsiteY5" fmla="*/ 66817 h 66816"/>
                <a:gd name="connsiteX6" fmla="*/ 0 w 38688"/>
                <a:gd name="connsiteY6" fmla="*/ 65112 h 66816"/>
                <a:gd name="connsiteX7" fmla="*/ 0 w 38688"/>
                <a:gd name="connsiteY7" fmla="*/ 23772 h 66816"/>
                <a:gd name="connsiteX8" fmla="*/ 1137 w 38688"/>
                <a:gd name="connsiteY8" fmla="*/ 21546 h 66816"/>
                <a:gd name="connsiteX9" fmla="*/ 36794 w 38688"/>
                <a:gd name="connsiteY9" fmla="*/ 1042 h 66816"/>
                <a:gd name="connsiteX10" fmla="*/ 38641 w 38688"/>
                <a:gd name="connsiteY10" fmla="*/ 0 h 668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8688" h="66816">
                  <a:moveTo>
                    <a:pt x="38641" y="0"/>
                  </a:moveTo>
                  <a:cubicBezTo>
                    <a:pt x="38641" y="758"/>
                    <a:pt x="38641" y="1279"/>
                    <a:pt x="38641" y="1847"/>
                  </a:cubicBezTo>
                  <a:cubicBezTo>
                    <a:pt x="38641" y="15580"/>
                    <a:pt x="38641" y="29312"/>
                    <a:pt x="38688" y="42998"/>
                  </a:cubicBezTo>
                  <a:cubicBezTo>
                    <a:pt x="38688" y="44182"/>
                    <a:pt x="38309" y="44797"/>
                    <a:pt x="37268" y="45413"/>
                  </a:cubicBezTo>
                  <a:cubicBezTo>
                    <a:pt x="25240" y="52327"/>
                    <a:pt x="13212" y="59240"/>
                    <a:pt x="1231" y="66201"/>
                  </a:cubicBezTo>
                  <a:cubicBezTo>
                    <a:pt x="900" y="66391"/>
                    <a:pt x="568" y="66533"/>
                    <a:pt x="95" y="66817"/>
                  </a:cubicBezTo>
                  <a:cubicBezTo>
                    <a:pt x="47" y="66154"/>
                    <a:pt x="0" y="65633"/>
                    <a:pt x="0" y="65112"/>
                  </a:cubicBezTo>
                  <a:cubicBezTo>
                    <a:pt x="0" y="51332"/>
                    <a:pt x="0" y="37552"/>
                    <a:pt x="0" y="23772"/>
                  </a:cubicBezTo>
                  <a:cubicBezTo>
                    <a:pt x="0" y="22777"/>
                    <a:pt x="142" y="22114"/>
                    <a:pt x="1137" y="21546"/>
                  </a:cubicBezTo>
                  <a:cubicBezTo>
                    <a:pt x="13022" y="14727"/>
                    <a:pt x="24908" y="7861"/>
                    <a:pt x="36794" y="1042"/>
                  </a:cubicBezTo>
                  <a:cubicBezTo>
                    <a:pt x="37268" y="663"/>
                    <a:pt x="37836" y="379"/>
                    <a:pt x="38641" y="0"/>
                  </a:cubicBezTo>
                  <a:close/>
                </a:path>
              </a:pathLst>
            </a:custGeom>
            <a:solidFill>
              <a:srgbClr val="00A099"/>
            </a:solidFill>
            <a:ln w="438" cap="flat">
              <a:solidFill>
                <a:srgbClr val="04A8B5"/>
              </a:solidFill>
              <a:prstDash val="solid"/>
              <a:miter/>
            </a:ln>
          </p:spPr>
          <p:txBody>
            <a:bodyPr rtlCol="0" anchor="ctr"/>
            <a:lstStyle/>
            <a:p>
              <a:endParaRPr lang="en-US" sz="1013" b="0" i="0">
                <a:latin typeface="Nexa Book" pitchFamily="2" charset="77"/>
              </a:endParaRPr>
            </a:p>
          </p:txBody>
        </p:sp>
        <p:sp>
          <p:nvSpPr>
            <p:cNvPr id="21" name="Freeform 20">
              <a:extLst>
                <a:ext uri="{FF2B5EF4-FFF2-40B4-BE49-F238E27FC236}">
                  <a16:creationId xmlns:a16="http://schemas.microsoft.com/office/drawing/2014/main" id="{56A4F206-2BD3-3928-C081-F79FA7D3D3A6}"/>
                </a:ext>
              </a:extLst>
            </p:cNvPr>
            <p:cNvSpPr/>
            <p:nvPr/>
          </p:nvSpPr>
          <p:spPr>
            <a:xfrm>
              <a:off x="128205" y="6842264"/>
              <a:ext cx="77187" cy="43964"/>
            </a:xfrm>
            <a:custGeom>
              <a:avLst/>
              <a:gdLst>
                <a:gd name="connsiteX0" fmla="*/ 0 w 77187"/>
                <a:gd name="connsiteY0" fmla="*/ 21873 h 43964"/>
                <a:gd name="connsiteX1" fmla="*/ 9897 w 77187"/>
                <a:gd name="connsiteY1" fmla="*/ 16096 h 43964"/>
                <a:gd name="connsiteX2" fmla="*/ 36699 w 77187"/>
                <a:gd name="connsiteY2" fmla="*/ 611 h 43964"/>
                <a:gd name="connsiteX3" fmla="*/ 40393 w 77187"/>
                <a:gd name="connsiteY3" fmla="*/ 564 h 43964"/>
                <a:gd name="connsiteX4" fmla="*/ 75388 w 77187"/>
                <a:gd name="connsiteY4" fmla="*/ 20831 h 43964"/>
                <a:gd name="connsiteX5" fmla="*/ 77187 w 77187"/>
                <a:gd name="connsiteY5" fmla="*/ 21968 h 43964"/>
                <a:gd name="connsiteX6" fmla="*/ 66106 w 77187"/>
                <a:gd name="connsiteY6" fmla="*/ 28408 h 43964"/>
                <a:gd name="connsiteX7" fmla="*/ 39872 w 77187"/>
                <a:gd name="connsiteY7" fmla="*/ 43561 h 43964"/>
                <a:gd name="connsiteX8" fmla="*/ 37220 w 77187"/>
                <a:gd name="connsiteY8" fmla="*/ 43514 h 43964"/>
                <a:gd name="connsiteX9" fmla="*/ 1515 w 77187"/>
                <a:gd name="connsiteY9" fmla="*/ 22867 h 43964"/>
                <a:gd name="connsiteX10" fmla="*/ 0 w 77187"/>
                <a:gd name="connsiteY10" fmla="*/ 21873 h 439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187" h="43964">
                  <a:moveTo>
                    <a:pt x="0" y="21873"/>
                  </a:moveTo>
                  <a:cubicBezTo>
                    <a:pt x="3410" y="19884"/>
                    <a:pt x="6677" y="17990"/>
                    <a:pt x="9897" y="16096"/>
                  </a:cubicBezTo>
                  <a:cubicBezTo>
                    <a:pt x="18847" y="10934"/>
                    <a:pt x="27797" y="5820"/>
                    <a:pt x="36699" y="611"/>
                  </a:cubicBezTo>
                  <a:cubicBezTo>
                    <a:pt x="38025" y="-147"/>
                    <a:pt x="38972" y="-241"/>
                    <a:pt x="40393" y="564"/>
                  </a:cubicBezTo>
                  <a:cubicBezTo>
                    <a:pt x="52042" y="7383"/>
                    <a:pt x="63739" y="14060"/>
                    <a:pt x="75388" y="20831"/>
                  </a:cubicBezTo>
                  <a:cubicBezTo>
                    <a:pt x="75956" y="21163"/>
                    <a:pt x="76477" y="21494"/>
                    <a:pt x="77187" y="21968"/>
                  </a:cubicBezTo>
                  <a:cubicBezTo>
                    <a:pt x="73352" y="24193"/>
                    <a:pt x="69705" y="26324"/>
                    <a:pt x="66106" y="28408"/>
                  </a:cubicBezTo>
                  <a:cubicBezTo>
                    <a:pt x="57346" y="33475"/>
                    <a:pt x="48585" y="38494"/>
                    <a:pt x="39872" y="43561"/>
                  </a:cubicBezTo>
                  <a:cubicBezTo>
                    <a:pt x="38878" y="44130"/>
                    <a:pt x="38215" y="44082"/>
                    <a:pt x="37220" y="43514"/>
                  </a:cubicBezTo>
                  <a:cubicBezTo>
                    <a:pt x="25334" y="36600"/>
                    <a:pt x="13401" y="29734"/>
                    <a:pt x="1515" y="22867"/>
                  </a:cubicBezTo>
                  <a:cubicBezTo>
                    <a:pt x="1089" y="22583"/>
                    <a:pt x="663" y="22252"/>
                    <a:pt x="0" y="21873"/>
                  </a:cubicBezTo>
                  <a:close/>
                </a:path>
              </a:pathLst>
            </a:custGeom>
            <a:solidFill>
              <a:srgbClr val="00A099"/>
            </a:solidFill>
            <a:ln w="438" cap="flat">
              <a:solidFill>
                <a:srgbClr val="04A8B5"/>
              </a:solidFill>
              <a:prstDash val="solid"/>
              <a:miter/>
            </a:ln>
          </p:spPr>
          <p:txBody>
            <a:bodyPr rtlCol="0" anchor="ctr"/>
            <a:lstStyle/>
            <a:p>
              <a:endParaRPr lang="en-US" sz="1013" b="0" i="0">
                <a:latin typeface="Nexa Book" pitchFamily="2" charset="77"/>
              </a:endParaRPr>
            </a:p>
          </p:txBody>
        </p:sp>
        <p:sp>
          <p:nvSpPr>
            <p:cNvPr id="22" name="Freeform 21">
              <a:extLst>
                <a:ext uri="{FF2B5EF4-FFF2-40B4-BE49-F238E27FC236}">
                  <a16:creationId xmlns:a16="http://schemas.microsoft.com/office/drawing/2014/main" id="{6F2B041D-50C4-FBDF-25DE-552893B4629F}"/>
                </a:ext>
              </a:extLst>
            </p:cNvPr>
            <p:cNvSpPr/>
            <p:nvPr/>
          </p:nvSpPr>
          <p:spPr>
            <a:xfrm>
              <a:off x="153811" y="6855216"/>
              <a:ext cx="27703" cy="16089"/>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23" name="Freeform 22">
              <a:extLst>
                <a:ext uri="{FF2B5EF4-FFF2-40B4-BE49-F238E27FC236}">
                  <a16:creationId xmlns:a16="http://schemas.microsoft.com/office/drawing/2014/main" id="{8B5D850D-9927-13B8-4C26-7ECECAE1E3AB}"/>
                </a:ext>
              </a:extLst>
            </p:cNvPr>
            <p:cNvSpPr/>
            <p:nvPr/>
          </p:nvSpPr>
          <p:spPr>
            <a:xfrm>
              <a:off x="135829" y="6887147"/>
              <a:ext cx="15153" cy="31167"/>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24" name="Freeform 23">
              <a:extLst>
                <a:ext uri="{FF2B5EF4-FFF2-40B4-BE49-F238E27FC236}">
                  <a16:creationId xmlns:a16="http://schemas.microsoft.com/office/drawing/2014/main" id="{F81FA937-37B5-1CB2-3F28-3B261344C253}"/>
                </a:ext>
              </a:extLst>
            </p:cNvPr>
            <p:cNvSpPr/>
            <p:nvPr/>
          </p:nvSpPr>
          <p:spPr>
            <a:xfrm>
              <a:off x="183088" y="6888648"/>
              <a:ext cx="13211" cy="29965"/>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25" name="Freeform 24">
              <a:extLst>
                <a:ext uri="{FF2B5EF4-FFF2-40B4-BE49-F238E27FC236}">
                  <a16:creationId xmlns:a16="http://schemas.microsoft.com/office/drawing/2014/main" id="{7261EFDC-F301-EA6F-637C-479C98F85CD6}"/>
                </a:ext>
              </a:extLst>
            </p:cNvPr>
            <p:cNvSpPr/>
            <p:nvPr/>
          </p:nvSpPr>
          <p:spPr>
            <a:xfrm>
              <a:off x="61151" y="6783729"/>
              <a:ext cx="103658" cy="170901"/>
            </a:xfrm>
            <a:custGeom>
              <a:avLst/>
              <a:gdLst>
                <a:gd name="connsiteX0" fmla="*/ 0 w 103658"/>
                <a:gd name="connsiteY0" fmla="*/ 170902 h 170901"/>
                <a:gd name="connsiteX1" fmla="*/ 53415 w 103658"/>
                <a:gd name="connsiteY1" fmla="*/ 134581 h 170901"/>
                <a:gd name="connsiteX2" fmla="*/ 53226 w 103658"/>
                <a:gd name="connsiteY2" fmla="*/ 72594 h 170901"/>
                <a:gd name="connsiteX3" fmla="*/ 103563 w 103658"/>
                <a:gd name="connsiteY3" fmla="*/ 43708 h 170901"/>
                <a:gd name="connsiteX4" fmla="*/ 103658 w 103658"/>
                <a:gd name="connsiteY4" fmla="*/ 0 h 170901"/>
                <a:gd name="connsiteX5" fmla="*/ 142 w 103658"/>
                <a:gd name="connsiteY5" fmla="*/ 62887 h 1709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3658" h="170901">
                  <a:moveTo>
                    <a:pt x="0" y="170902"/>
                  </a:moveTo>
                  <a:lnTo>
                    <a:pt x="53415" y="134581"/>
                  </a:lnTo>
                  <a:lnTo>
                    <a:pt x="53226" y="72594"/>
                  </a:lnTo>
                  <a:lnTo>
                    <a:pt x="103563" y="43708"/>
                  </a:lnTo>
                  <a:lnTo>
                    <a:pt x="103658" y="0"/>
                  </a:lnTo>
                  <a:lnTo>
                    <a:pt x="142" y="62887"/>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26" name="Freeform 25">
              <a:extLst>
                <a:ext uri="{FF2B5EF4-FFF2-40B4-BE49-F238E27FC236}">
                  <a16:creationId xmlns:a16="http://schemas.microsoft.com/office/drawing/2014/main" id="{2F5A7E50-99D6-E700-ED9D-397466413306}"/>
                </a:ext>
              </a:extLst>
            </p:cNvPr>
            <p:cNvSpPr/>
            <p:nvPr/>
          </p:nvSpPr>
          <p:spPr>
            <a:xfrm>
              <a:off x="61199" y="6718048"/>
              <a:ext cx="94187" cy="93808"/>
            </a:xfrm>
            <a:custGeom>
              <a:avLst/>
              <a:gdLst>
                <a:gd name="connsiteX0" fmla="*/ 94187 w 94187"/>
                <a:gd name="connsiteY0" fmla="*/ 56162 h 93808"/>
                <a:gd name="connsiteX1" fmla="*/ 33385 w 94187"/>
                <a:gd name="connsiteY1" fmla="*/ 93809 h 93808"/>
                <a:gd name="connsiteX2" fmla="*/ 95 w 94187"/>
                <a:gd name="connsiteY2" fmla="*/ 75483 h 93808"/>
                <a:gd name="connsiteX3" fmla="*/ 0 w 94187"/>
                <a:gd name="connsiteY3" fmla="*/ 0 h 93808"/>
              </a:gdLst>
              <a:ahLst/>
              <a:cxnLst>
                <a:cxn ang="0">
                  <a:pos x="connsiteX0" y="connsiteY0"/>
                </a:cxn>
                <a:cxn ang="0">
                  <a:pos x="connsiteX1" y="connsiteY1"/>
                </a:cxn>
                <a:cxn ang="0">
                  <a:pos x="connsiteX2" y="connsiteY2"/>
                </a:cxn>
                <a:cxn ang="0">
                  <a:pos x="connsiteX3" y="connsiteY3"/>
                </a:cxn>
              </a:cxnLst>
              <a:rect l="l" t="t" r="r" b="b"/>
              <a:pathLst>
                <a:path w="94187" h="93808">
                  <a:moveTo>
                    <a:pt x="94187" y="56162"/>
                  </a:moveTo>
                  <a:lnTo>
                    <a:pt x="33385" y="93809"/>
                  </a:lnTo>
                  <a:lnTo>
                    <a:pt x="95" y="75483"/>
                  </a:lnTo>
                  <a:lnTo>
                    <a:pt x="0" y="0"/>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27" name="Freeform 26">
              <a:extLst>
                <a:ext uri="{FF2B5EF4-FFF2-40B4-BE49-F238E27FC236}">
                  <a16:creationId xmlns:a16="http://schemas.microsoft.com/office/drawing/2014/main" id="{526E3B70-8091-BD1D-AB4D-B244DBEA6F79}"/>
                </a:ext>
              </a:extLst>
            </p:cNvPr>
            <p:cNvSpPr/>
            <p:nvPr/>
          </p:nvSpPr>
          <p:spPr>
            <a:xfrm>
              <a:off x="221682" y="6811526"/>
              <a:ext cx="47223" cy="61797"/>
            </a:xfrm>
            <a:custGeom>
              <a:avLst/>
              <a:gdLst>
                <a:gd name="connsiteX0" fmla="*/ 4783 w 47223"/>
                <a:gd name="connsiteY0" fmla="*/ 40441 h 61797"/>
                <a:gd name="connsiteX1" fmla="*/ 4783 w 47223"/>
                <a:gd name="connsiteY1" fmla="*/ 61797 h 61797"/>
                <a:gd name="connsiteX2" fmla="*/ 0 w 47223"/>
                <a:gd name="connsiteY2" fmla="*/ 61797 h 61797"/>
                <a:gd name="connsiteX3" fmla="*/ 0 w 47223"/>
                <a:gd name="connsiteY3" fmla="*/ 0 h 61797"/>
                <a:gd name="connsiteX4" fmla="*/ 27087 w 47223"/>
                <a:gd name="connsiteY4" fmla="*/ 0 h 61797"/>
                <a:gd name="connsiteX5" fmla="*/ 27087 w 47223"/>
                <a:gd name="connsiteY5" fmla="*/ 40441 h 61797"/>
                <a:gd name="connsiteX6" fmla="*/ 4783 w 47223"/>
                <a:gd name="connsiteY6" fmla="*/ 40441 h 61797"/>
                <a:gd name="connsiteX7" fmla="*/ 4783 w 47223"/>
                <a:gd name="connsiteY7" fmla="*/ 4404 h 61797"/>
                <a:gd name="connsiteX8" fmla="*/ 4783 w 47223"/>
                <a:gd name="connsiteY8" fmla="*/ 36084 h 61797"/>
                <a:gd name="connsiteX9" fmla="*/ 27134 w 47223"/>
                <a:gd name="connsiteY9" fmla="*/ 36084 h 61797"/>
                <a:gd name="connsiteX10" fmla="*/ 27134 w 47223"/>
                <a:gd name="connsiteY10" fmla="*/ 4404 h 61797"/>
                <a:gd name="connsiteX11" fmla="*/ 4783 w 47223"/>
                <a:gd name="connsiteY11" fmla="*/ 4404 h 617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7223" h="61797">
                  <a:moveTo>
                    <a:pt x="4783" y="40441"/>
                  </a:moveTo>
                  <a:lnTo>
                    <a:pt x="4783" y="61797"/>
                  </a:lnTo>
                  <a:lnTo>
                    <a:pt x="0" y="61797"/>
                  </a:lnTo>
                  <a:lnTo>
                    <a:pt x="0" y="0"/>
                  </a:lnTo>
                  <a:cubicBezTo>
                    <a:pt x="8997" y="0"/>
                    <a:pt x="18089" y="0"/>
                    <a:pt x="27087" y="0"/>
                  </a:cubicBezTo>
                  <a:cubicBezTo>
                    <a:pt x="53936" y="0"/>
                    <a:pt x="53936" y="40441"/>
                    <a:pt x="27087" y="40441"/>
                  </a:cubicBezTo>
                  <a:lnTo>
                    <a:pt x="4783" y="40441"/>
                  </a:lnTo>
                  <a:close/>
                  <a:moveTo>
                    <a:pt x="4783" y="4404"/>
                  </a:moveTo>
                  <a:lnTo>
                    <a:pt x="4783" y="36084"/>
                  </a:lnTo>
                  <a:lnTo>
                    <a:pt x="27134" y="36084"/>
                  </a:lnTo>
                  <a:cubicBezTo>
                    <a:pt x="47733" y="36084"/>
                    <a:pt x="47733" y="4404"/>
                    <a:pt x="27134" y="4404"/>
                  </a:cubicBezTo>
                  <a:lnTo>
                    <a:pt x="4783" y="4404"/>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28" name="Freeform 27">
              <a:extLst>
                <a:ext uri="{FF2B5EF4-FFF2-40B4-BE49-F238E27FC236}">
                  <a16:creationId xmlns:a16="http://schemas.microsoft.com/office/drawing/2014/main" id="{285D7E07-4063-8919-C488-9DF15D0100C6}"/>
                </a:ext>
              </a:extLst>
            </p:cNvPr>
            <p:cNvSpPr/>
            <p:nvPr/>
          </p:nvSpPr>
          <p:spPr>
            <a:xfrm>
              <a:off x="279501" y="6811526"/>
              <a:ext cx="49295" cy="61797"/>
            </a:xfrm>
            <a:custGeom>
              <a:avLst/>
              <a:gdLst>
                <a:gd name="connsiteX0" fmla="*/ 49296 w 49295"/>
                <a:gd name="connsiteY0" fmla="*/ 61797 h 61797"/>
                <a:gd name="connsiteX1" fmla="*/ 43045 w 49295"/>
                <a:gd name="connsiteY1" fmla="*/ 61797 h 61797"/>
                <a:gd name="connsiteX2" fmla="*/ 21641 w 49295"/>
                <a:gd name="connsiteY2" fmla="*/ 38404 h 61797"/>
                <a:gd name="connsiteX3" fmla="*/ 4783 w 49295"/>
                <a:gd name="connsiteY3" fmla="*/ 38404 h 61797"/>
                <a:gd name="connsiteX4" fmla="*/ 4783 w 49295"/>
                <a:gd name="connsiteY4" fmla="*/ 61797 h 61797"/>
                <a:gd name="connsiteX5" fmla="*/ 0 w 49295"/>
                <a:gd name="connsiteY5" fmla="*/ 61797 h 61797"/>
                <a:gd name="connsiteX6" fmla="*/ 0 w 49295"/>
                <a:gd name="connsiteY6" fmla="*/ 0 h 61797"/>
                <a:gd name="connsiteX7" fmla="*/ 27181 w 49295"/>
                <a:gd name="connsiteY7" fmla="*/ 0 h 61797"/>
                <a:gd name="connsiteX8" fmla="*/ 47496 w 49295"/>
                <a:gd name="connsiteY8" fmla="*/ 19273 h 61797"/>
                <a:gd name="connsiteX9" fmla="*/ 27465 w 49295"/>
                <a:gd name="connsiteY9" fmla="*/ 38168 h 61797"/>
                <a:gd name="connsiteX10" fmla="*/ 49296 w 49295"/>
                <a:gd name="connsiteY10" fmla="*/ 61797 h 61797"/>
                <a:gd name="connsiteX11" fmla="*/ 4783 w 49295"/>
                <a:gd name="connsiteY11" fmla="*/ 33906 h 61797"/>
                <a:gd name="connsiteX12" fmla="*/ 26660 w 49295"/>
                <a:gd name="connsiteY12" fmla="*/ 33906 h 61797"/>
                <a:gd name="connsiteX13" fmla="*/ 42287 w 49295"/>
                <a:gd name="connsiteY13" fmla="*/ 19179 h 61797"/>
                <a:gd name="connsiteX14" fmla="*/ 27181 w 49295"/>
                <a:gd name="connsiteY14" fmla="*/ 4451 h 61797"/>
                <a:gd name="connsiteX15" fmla="*/ 4735 w 49295"/>
                <a:gd name="connsiteY15" fmla="*/ 4451 h 61797"/>
                <a:gd name="connsiteX16" fmla="*/ 4735 w 49295"/>
                <a:gd name="connsiteY16" fmla="*/ 33906 h 617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9295" h="61797">
                  <a:moveTo>
                    <a:pt x="49296" y="61797"/>
                  </a:moveTo>
                  <a:lnTo>
                    <a:pt x="43045" y="61797"/>
                  </a:lnTo>
                  <a:lnTo>
                    <a:pt x="21641" y="38404"/>
                  </a:lnTo>
                  <a:lnTo>
                    <a:pt x="4783" y="38404"/>
                  </a:lnTo>
                  <a:lnTo>
                    <a:pt x="4783" y="61797"/>
                  </a:lnTo>
                  <a:lnTo>
                    <a:pt x="0" y="61797"/>
                  </a:lnTo>
                  <a:lnTo>
                    <a:pt x="0" y="0"/>
                  </a:lnTo>
                  <a:cubicBezTo>
                    <a:pt x="9092" y="0"/>
                    <a:pt x="18089" y="0"/>
                    <a:pt x="27181" y="0"/>
                  </a:cubicBezTo>
                  <a:cubicBezTo>
                    <a:pt x="40582" y="0"/>
                    <a:pt x="47401" y="9613"/>
                    <a:pt x="47496" y="19273"/>
                  </a:cubicBezTo>
                  <a:cubicBezTo>
                    <a:pt x="47591" y="29360"/>
                    <a:pt x="40961" y="38168"/>
                    <a:pt x="27465" y="38168"/>
                  </a:cubicBezTo>
                  <a:lnTo>
                    <a:pt x="49296" y="61797"/>
                  </a:lnTo>
                  <a:close/>
                  <a:moveTo>
                    <a:pt x="4783" y="33906"/>
                  </a:moveTo>
                  <a:lnTo>
                    <a:pt x="26660" y="33906"/>
                  </a:lnTo>
                  <a:cubicBezTo>
                    <a:pt x="37457" y="33906"/>
                    <a:pt x="42193" y="27797"/>
                    <a:pt x="42287" y="19179"/>
                  </a:cubicBezTo>
                  <a:cubicBezTo>
                    <a:pt x="42382" y="11933"/>
                    <a:pt x="37410" y="4451"/>
                    <a:pt x="27181" y="4451"/>
                  </a:cubicBezTo>
                  <a:lnTo>
                    <a:pt x="4735" y="4451"/>
                  </a:lnTo>
                  <a:lnTo>
                    <a:pt x="4735" y="33906"/>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29" name="Freeform 28">
              <a:extLst>
                <a:ext uri="{FF2B5EF4-FFF2-40B4-BE49-F238E27FC236}">
                  <a16:creationId xmlns:a16="http://schemas.microsoft.com/office/drawing/2014/main" id="{C9FB357A-51A4-470F-1602-66ACD4E547FA}"/>
                </a:ext>
              </a:extLst>
            </p:cNvPr>
            <p:cNvSpPr/>
            <p:nvPr/>
          </p:nvSpPr>
          <p:spPr>
            <a:xfrm>
              <a:off x="336847" y="6811526"/>
              <a:ext cx="4688" cy="61797"/>
            </a:xfrm>
            <a:custGeom>
              <a:avLst/>
              <a:gdLst>
                <a:gd name="connsiteX0" fmla="*/ 0 w 4688"/>
                <a:gd name="connsiteY0" fmla="*/ 61797 h 61797"/>
                <a:gd name="connsiteX1" fmla="*/ 0 w 4688"/>
                <a:gd name="connsiteY1" fmla="*/ 0 h 61797"/>
                <a:gd name="connsiteX2" fmla="*/ 4688 w 4688"/>
                <a:gd name="connsiteY2" fmla="*/ 0 h 61797"/>
                <a:gd name="connsiteX3" fmla="*/ 4688 w 4688"/>
                <a:gd name="connsiteY3" fmla="*/ 61797 h 61797"/>
                <a:gd name="connsiteX4" fmla="*/ 0 w 4688"/>
                <a:gd name="connsiteY4" fmla="*/ 61797 h 617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88" h="61797">
                  <a:moveTo>
                    <a:pt x="0" y="61797"/>
                  </a:moveTo>
                  <a:lnTo>
                    <a:pt x="0" y="0"/>
                  </a:lnTo>
                  <a:lnTo>
                    <a:pt x="4688" y="0"/>
                  </a:lnTo>
                  <a:lnTo>
                    <a:pt x="4688" y="61797"/>
                  </a:lnTo>
                  <a:lnTo>
                    <a:pt x="0" y="61797"/>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30" name="Freeform 29">
              <a:extLst>
                <a:ext uri="{FF2B5EF4-FFF2-40B4-BE49-F238E27FC236}">
                  <a16:creationId xmlns:a16="http://schemas.microsoft.com/office/drawing/2014/main" id="{4F61FF0F-5EF4-8A5F-D147-8AD7E10E46E2}"/>
                </a:ext>
              </a:extLst>
            </p:cNvPr>
            <p:cNvSpPr/>
            <p:nvPr/>
          </p:nvSpPr>
          <p:spPr>
            <a:xfrm>
              <a:off x="351808" y="6810816"/>
              <a:ext cx="54317" cy="63218"/>
            </a:xfrm>
            <a:custGeom>
              <a:avLst/>
              <a:gdLst>
                <a:gd name="connsiteX0" fmla="*/ 54318 w 54317"/>
                <a:gd name="connsiteY0" fmla="*/ 53937 h 63218"/>
                <a:gd name="connsiteX1" fmla="*/ 31777 w 54317"/>
                <a:gd name="connsiteY1" fmla="*/ 63218 h 63218"/>
                <a:gd name="connsiteX2" fmla="*/ 2 w 54317"/>
                <a:gd name="connsiteY2" fmla="*/ 31964 h 63218"/>
                <a:gd name="connsiteX3" fmla="*/ 31777 w 54317"/>
                <a:gd name="connsiteY3" fmla="*/ 0 h 63218"/>
                <a:gd name="connsiteX4" fmla="*/ 54318 w 54317"/>
                <a:gd name="connsiteY4" fmla="*/ 9281 h 63218"/>
                <a:gd name="connsiteX5" fmla="*/ 51050 w 54317"/>
                <a:gd name="connsiteY5" fmla="*/ 12123 h 63218"/>
                <a:gd name="connsiteX6" fmla="*/ 31777 w 54317"/>
                <a:gd name="connsiteY6" fmla="*/ 4262 h 63218"/>
                <a:gd name="connsiteX7" fmla="*/ 4596 w 54317"/>
                <a:gd name="connsiteY7" fmla="*/ 31822 h 63218"/>
                <a:gd name="connsiteX8" fmla="*/ 31777 w 54317"/>
                <a:gd name="connsiteY8" fmla="*/ 58861 h 63218"/>
                <a:gd name="connsiteX9" fmla="*/ 51098 w 54317"/>
                <a:gd name="connsiteY9" fmla="*/ 51001 h 63218"/>
                <a:gd name="connsiteX10" fmla="*/ 54318 w 54317"/>
                <a:gd name="connsiteY10" fmla="*/ 53937 h 632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4317" h="63218">
                  <a:moveTo>
                    <a:pt x="54318" y="53937"/>
                  </a:moveTo>
                  <a:cubicBezTo>
                    <a:pt x="48114" y="60140"/>
                    <a:pt x="39922" y="63218"/>
                    <a:pt x="31777" y="63218"/>
                  </a:cubicBezTo>
                  <a:cubicBezTo>
                    <a:pt x="10941" y="63218"/>
                    <a:pt x="97" y="48633"/>
                    <a:pt x="2" y="31964"/>
                  </a:cubicBezTo>
                  <a:cubicBezTo>
                    <a:pt x="-187" y="15438"/>
                    <a:pt x="10610" y="0"/>
                    <a:pt x="31777" y="0"/>
                  </a:cubicBezTo>
                  <a:cubicBezTo>
                    <a:pt x="39922" y="0"/>
                    <a:pt x="48114" y="3078"/>
                    <a:pt x="54318" y="9281"/>
                  </a:cubicBezTo>
                  <a:lnTo>
                    <a:pt x="51050" y="12123"/>
                  </a:lnTo>
                  <a:cubicBezTo>
                    <a:pt x="45747" y="6819"/>
                    <a:pt x="38785" y="4262"/>
                    <a:pt x="31777" y="4262"/>
                  </a:cubicBezTo>
                  <a:cubicBezTo>
                    <a:pt x="13782" y="4262"/>
                    <a:pt x="4501" y="17000"/>
                    <a:pt x="4596" y="31822"/>
                  </a:cubicBezTo>
                  <a:cubicBezTo>
                    <a:pt x="4785" y="46313"/>
                    <a:pt x="13972" y="58861"/>
                    <a:pt x="31777" y="58861"/>
                  </a:cubicBezTo>
                  <a:cubicBezTo>
                    <a:pt x="38738" y="58861"/>
                    <a:pt x="45841" y="56210"/>
                    <a:pt x="51098" y="51001"/>
                  </a:cubicBezTo>
                  <a:lnTo>
                    <a:pt x="54318" y="53937"/>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31" name="Freeform 30">
              <a:extLst>
                <a:ext uri="{FF2B5EF4-FFF2-40B4-BE49-F238E27FC236}">
                  <a16:creationId xmlns:a16="http://schemas.microsoft.com/office/drawing/2014/main" id="{8E880BDF-9C9C-9E0C-93B0-1DAF7E07F904}"/>
                </a:ext>
              </a:extLst>
            </p:cNvPr>
            <p:cNvSpPr/>
            <p:nvPr/>
          </p:nvSpPr>
          <p:spPr>
            <a:xfrm>
              <a:off x="417443" y="6811526"/>
              <a:ext cx="4688" cy="61797"/>
            </a:xfrm>
            <a:custGeom>
              <a:avLst/>
              <a:gdLst>
                <a:gd name="connsiteX0" fmla="*/ 0 w 4688"/>
                <a:gd name="connsiteY0" fmla="*/ 61797 h 61797"/>
                <a:gd name="connsiteX1" fmla="*/ 0 w 4688"/>
                <a:gd name="connsiteY1" fmla="*/ 0 h 61797"/>
                <a:gd name="connsiteX2" fmla="*/ 4688 w 4688"/>
                <a:gd name="connsiteY2" fmla="*/ 0 h 61797"/>
                <a:gd name="connsiteX3" fmla="*/ 4688 w 4688"/>
                <a:gd name="connsiteY3" fmla="*/ 61797 h 61797"/>
                <a:gd name="connsiteX4" fmla="*/ 0 w 4688"/>
                <a:gd name="connsiteY4" fmla="*/ 61797 h 617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88" h="61797">
                  <a:moveTo>
                    <a:pt x="0" y="61797"/>
                  </a:moveTo>
                  <a:lnTo>
                    <a:pt x="0" y="0"/>
                  </a:lnTo>
                  <a:lnTo>
                    <a:pt x="4688" y="0"/>
                  </a:lnTo>
                  <a:lnTo>
                    <a:pt x="4688" y="61797"/>
                  </a:lnTo>
                  <a:lnTo>
                    <a:pt x="0" y="61797"/>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32" name="Freeform 31">
              <a:extLst>
                <a:ext uri="{FF2B5EF4-FFF2-40B4-BE49-F238E27FC236}">
                  <a16:creationId xmlns:a16="http://schemas.microsoft.com/office/drawing/2014/main" id="{B88CF999-ED30-8E65-E57F-83326EBA9F1F}"/>
                </a:ext>
              </a:extLst>
            </p:cNvPr>
            <p:cNvSpPr/>
            <p:nvPr/>
          </p:nvSpPr>
          <p:spPr>
            <a:xfrm>
              <a:off x="435817" y="6811526"/>
              <a:ext cx="48301" cy="61797"/>
            </a:xfrm>
            <a:custGeom>
              <a:avLst/>
              <a:gdLst>
                <a:gd name="connsiteX0" fmla="*/ 2036 w 48301"/>
                <a:gd name="connsiteY0" fmla="*/ 0 h 61797"/>
                <a:gd name="connsiteX1" fmla="*/ 43613 w 48301"/>
                <a:gd name="connsiteY1" fmla="*/ 51143 h 61797"/>
                <a:gd name="connsiteX2" fmla="*/ 43613 w 48301"/>
                <a:gd name="connsiteY2" fmla="*/ 0 h 61797"/>
                <a:gd name="connsiteX3" fmla="*/ 48301 w 48301"/>
                <a:gd name="connsiteY3" fmla="*/ 0 h 61797"/>
                <a:gd name="connsiteX4" fmla="*/ 48301 w 48301"/>
                <a:gd name="connsiteY4" fmla="*/ 61797 h 61797"/>
                <a:gd name="connsiteX5" fmla="*/ 46454 w 48301"/>
                <a:gd name="connsiteY5" fmla="*/ 61797 h 61797"/>
                <a:gd name="connsiteX6" fmla="*/ 4783 w 48301"/>
                <a:gd name="connsiteY6" fmla="*/ 10749 h 61797"/>
                <a:gd name="connsiteX7" fmla="*/ 4783 w 48301"/>
                <a:gd name="connsiteY7" fmla="*/ 61797 h 61797"/>
                <a:gd name="connsiteX8" fmla="*/ 0 w 48301"/>
                <a:gd name="connsiteY8" fmla="*/ 61797 h 61797"/>
                <a:gd name="connsiteX9" fmla="*/ 0 w 48301"/>
                <a:gd name="connsiteY9" fmla="*/ 0 h 61797"/>
                <a:gd name="connsiteX10" fmla="*/ 2036 w 48301"/>
                <a:gd name="connsiteY10" fmla="*/ 0 h 617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8301" h="61797">
                  <a:moveTo>
                    <a:pt x="2036" y="0"/>
                  </a:moveTo>
                  <a:lnTo>
                    <a:pt x="43613" y="51143"/>
                  </a:lnTo>
                  <a:lnTo>
                    <a:pt x="43613" y="0"/>
                  </a:lnTo>
                  <a:lnTo>
                    <a:pt x="48301" y="0"/>
                  </a:lnTo>
                  <a:lnTo>
                    <a:pt x="48301" y="61797"/>
                  </a:lnTo>
                  <a:lnTo>
                    <a:pt x="46454" y="61797"/>
                  </a:lnTo>
                  <a:lnTo>
                    <a:pt x="4783" y="10749"/>
                  </a:lnTo>
                  <a:lnTo>
                    <a:pt x="4783" y="61797"/>
                  </a:lnTo>
                  <a:lnTo>
                    <a:pt x="0" y="61797"/>
                  </a:lnTo>
                  <a:lnTo>
                    <a:pt x="0" y="0"/>
                  </a:lnTo>
                  <a:lnTo>
                    <a:pt x="2036" y="0"/>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33" name="Freeform 32">
              <a:extLst>
                <a:ext uri="{FF2B5EF4-FFF2-40B4-BE49-F238E27FC236}">
                  <a16:creationId xmlns:a16="http://schemas.microsoft.com/office/drawing/2014/main" id="{54B26BEC-DA9E-A4E8-B495-EA83743A1051}"/>
                </a:ext>
              </a:extLst>
            </p:cNvPr>
            <p:cNvSpPr/>
            <p:nvPr/>
          </p:nvSpPr>
          <p:spPr>
            <a:xfrm>
              <a:off x="494820" y="6810626"/>
              <a:ext cx="55168" cy="63502"/>
            </a:xfrm>
            <a:custGeom>
              <a:avLst/>
              <a:gdLst>
                <a:gd name="connsiteX0" fmla="*/ 51711 w 55168"/>
                <a:gd name="connsiteY0" fmla="*/ 12265 h 63502"/>
                <a:gd name="connsiteX1" fmla="*/ 31822 w 55168"/>
                <a:gd name="connsiteY1" fmla="*/ 4309 h 63502"/>
                <a:gd name="connsiteX2" fmla="*/ 4546 w 55168"/>
                <a:gd name="connsiteY2" fmla="*/ 31869 h 63502"/>
                <a:gd name="connsiteX3" fmla="*/ 31822 w 55168"/>
                <a:gd name="connsiteY3" fmla="*/ 58956 h 63502"/>
                <a:gd name="connsiteX4" fmla="*/ 50622 w 55168"/>
                <a:gd name="connsiteY4" fmla="*/ 51806 h 63502"/>
                <a:gd name="connsiteX5" fmla="*/ 50622 w 55168"/>
                <a:gd name="connsiteY5" fmla="*/ 34474 h 63502"/>
                <a:gd name="connsiteX6" fmla="*/ 29123 w 55168"/>
                <a:gd name="connsiteY6" fmla="*/ 34474 h 63502"/>
                <a:gd name="connsiteX7" fmla="*/ 29123 w 55168"/>
                <a:gd name="connsiteY7" fmla="*/ 30307 h 63502"/>
                <a:gd name="connsiteX8" fmla="*/ 55168 w 55168"/>
                <a:gd name="connsiteY8" fmla="*/ 30307 h 63502"/>
                <a:gd name="connsiteX9" fmla="*/ 55168 w 55168"/>
                <a:gd name="connsiteY9" fmla="*/ 53510 h 63502"/>
                <a:gd name="connsiteX10" fmla="*/ 31870 w 55168"/>
                <a:gd name="connsiteY10" fmla="*/ 63502 h 63502"/>
                <a:gd name="connsiteX11" fmla="*/ 1 w 55168"/>
                <a:gd name="connsiteY11" fmla="*/ 31964 h 63502"/>
                <a:gd name="connsiteX12" fmla="*/ 31870 w 55168"/>
                <a:gd name="connsiteY12" fmla="*/ 0 h 63502"/>
                <a:gd name="connsiteX13" fmla="*/ 54458 w 55168"/>
                <a:gd name="connsiteY13" fmla="*/ 9281 h 63502"/>
                <a:gd name="connsiteX14" fmla="*/ 51711 w 55168"/>
                <a:gd name="connsiteY14" fmla="*/ 12265 h 635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5168" h="63502">
                  <a:moveTo>
                    <a:pt x="51711" y="12265"/>
                  </a:moveTo>
                  <a:cubicBezTo>
                    <a:pt x="46313" y="6961"/>
                    <a:pt x="38831" y="4309"/>
                    <a:pt x="31822" y="4309"/>
                  </a:cubicBezTo>
                  <a:cubicBezTo>
                    <a:pt x="13733" y="4309"/>
                    <a:pt x="4452" y="17568"/>
                    <a:pt x="4546" y="31869"/>
                  </a:cubicBezTo>
                  <a:cubicBezTo>
                    <a:pt x="4546" y="46455"/>
                    <a:pt x="13828" y="58956"/>
                    <a:pt x="31822" y="58956"/>
                  </a:cubicBezTo>
                  <a:cubicBezTo>
                    <a:pt x="38452" y="58956"/>
                    <a:pt x="45318" y="56683"/>
                    <a:pt x="50622" y="51806"/>
                  </a:cubicBezTo>
                  <a:lnTo>
                    <a:pt x="50622" y="34474"/>
                  </a:lnTo>
                  <a:lnTo>
                    <a:pt x="29123" y="34474"/>
                  </a:lnTo>
                  <a:lnTo>
                    <a:pt x="29123" y="30307"/>
                  </a:lnTo>
                  <a:lnTo>
                    <a:pt x="55168" y="30307"/>
                  </a:lnTo>
                  <a:lnTo>
                    <a:pt x="55168" y="53510"/>
                  </a:lnTo>
                  <a:cubicBezTo>
                    <a:pt x="48728" y="59951"/>
                    <a:pt x="41056" y="63502"/>
                    <a:pt x="31870" y="63502"/>
                  </a:cubicBezTo>
                  <a:cubicBezTo>
                    <a:pt x="10845" y="63502"/>
                    <a:pt x="1" y="48822"/>
                    <a:pt x="1" y="31964"/>
                  </a:cubicBezTo>
                  <a:cubicBezTo>
                    <a:pt x="-94" y="12644"/>
                    <a:pt x="13070" y="0"/>
                    <a:pt x="31870" y="0"/>
                  </a:cubicBezTo>
                  <a:cubicBezTo>
                    <a:pt x="40015" y="0"/>
                    <a:pt x="48207" y="3078"/>
                    <a:pt x="54458" y="9281"/>
                  </a:cubicBezTo>
                  <a:lnTo>
                    <a:pt x="51711" y="12265"/>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34" name="Freeform 33">
              <a:extLst>
                <a:ext uri="{FF2B5EF4-FFF2-40B4-BE49-F238E27FC236}">
                  <a16:creationId xmlns:a16="http://schemas.microsoft.com/office/drawing/2014/main" id="{D9E9AFD0-C0FD-DCE4-DBB9-0CED1C35159A}"/>
                </a:ext>
              </a:extLst>
            </p:cNvPr>
            <p:cNvSpPr/>
            <p:nvPr/>
          </p:nvSpPr>
          <p:spPr>
            <a:xfrm>
              <a:off x="565094" y="6809348"/>
              <a:ext cx="63504" cy="64449"/>
            </a:xfrm>
            <a:custGeom>
              <a:avLst/>
              <a:gdLst>
                <a:gd name="connsiteX0" fmla="*/ 63502 w 63504"/>
                <a:gd name="connsiteY0" fmla="*/ 32485 h 64449"/>
                <a:gd name="connsiteX1" fmla="*/ 31775 w 63504"/>
                <a:gd name="connsiteY1" fmla="*/ 64449 h 64449"/>
                <a:gd name="connsiteX2" fmla="*/ 0 w 63504"/>
                <a:gd name="connsiteY2" fmla="*/ 32580 h 64449"/>
                <a:gd name="connsiteX3" fmla="*/ 31775 w 63504"/>
                <a:gd name="connsiteY3" fmla="*/ 0 h 64449"/>
                <a:gd name="connsiteX4" fmla="*/ 63502 w 63504"/>
                <a:gd name="connsiteY4" fmla="*/ 32485 h 64449"/>
                <a:gd name="connsiteX5" fmla="*/ 11460 w 63504"/>
                <a:gd name="connsiteY5" fmla="*/ 32769 h 64449"/>
                <a:gd name="connsiteX6" fmla="*/ 31775 w 63504"/>
                <a:gd name="connsiteY6" fmla="*/ 53795 h 64449"/>
                <a:gd name="connsiteX7" fmla="*/ 51995 w 63504"/>
                <a:gd name="connsiteY7" fmla="*/ 32675 h 64449"/>
                <a:gd name="connsiteX8" fmla="*/ 31775 w 63504"/>
                <a:gd name="connsiteY8" fmla="*/ 10607 h 64449"/>
                <a:gd name="connsiteX9" fmla="*/ 11460 w 63504"/>
                <a:gd name="connsiteY9" fmla="*/ 32769 h 644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3504" h="64449">
                  <a:moveTo>
                    <a:pt x="63502" y="32485"/>
                  </a:moveTo>
                  <a:cubicBezTo>
                    <a:pt x="63312" y="48491"/>
                    <a:pt x="53510" y="64449"/>
                    <a:pt x="31775" y="64449"/>
                  </a:cubicBezTo>
                  <a:cubicBezTo>
                    <a:pt x="10039" y="64449"/>
                    <a:pt x="0" y="48822"/>
                    <a:pt x="0" y="32580"/>
                  </a:cubicBezTo>
                  <a:cubicBezTo>
                    <a:pt x="0" y="16337"/>
                    <a:pt x="10418" y="0"/>
                    <a:pt x="31775" y="0"/>
                  </a:cubicBezTo>
                  <a:cubicBezTo>
                    <a:pt x="53084" y="0"/>
                    <a:pt x="63691" y="16337"/>
                    <a:pt x="63502" y="32485"/>
                  </a:cubicBezTo>
                  <a:close/>
                  <a:moveTo>
                    <a:pt x="11460" y="32769"/>
                  </a:moveTo>
                  <a:cubicBezTo>
                    <a:pt x="11744" y="42903"/>
                    <a:pt x="17190" y="53795"/>
                    <a:pt x="31775" y="53795"/>
                  </a:cubicBezTo>
                  <a:cubicBezTo>
                    <a:pt x="46360" y="53795"/>
                    <a:pt x="51805" y="42856"/>
                    <a:pt x="51995" y="32675"/>
                  </a:cubicBezTo>
                  <a:cubicBezTo>
                    <a:pt x="52184" y="22257"/>
                    <a:pt x="46360" y="10607"/>
                    <a:pt x="31775" y="10607"/>
                  </a:cubicBezTo>
                  <a:cubicBezTo>
                    <a:pt x="17190" y="10607"/>
                    <a:pt x="11223" y="22351"/>
                    <a:pt x="11460" y="32769"/>
                  </a:cubicBezTo>
                  <a:close/>
                </a:path>
              </a:pathLst>
            </a:custGeom>
            <a:solidFill>
              <a:srgbClr val="00A099"/>
            </a:solidFill>
            <a:ln w="438" cap="flat">
              <a:noFill/>
              <a:prstDash val="solid"/>
              <a:miter/>
            </a:ln>
          </p:spPr>
          <p:txBody>
            <a:bodyPr rtlCol="0" anchor="ctr"/>
            <a:lstStyle/>
            <a:p>
              <a:endParaRPr lang="en-US" sz="1013" b="0" i="0">
                <a:latin typeface="Nexa Book" pitchFamily="2" charset="77"/>
              </a:endParaRPr>
            </a:p>
          </p:txBody>
        </p:sp>
        <p:sp>
          <p:nvSpPr>
            <p:cNvPr id="35" name="Freeform 34">
              <a:extLst>
                <a:ext uri="{FF2B5EF4-FFF2-40B4-BE49-F238E27FC236}">
                  <a16:creationId xmlns:a16="http://schemas.microsoft.com/office/drawing/2014/main" id="{E8760AA1-E29F-2188-1BB3-8881263C4506}"/>
                </a:ext>
              </a:extLst>
            </p:cNvPr>
            <p:cNvSpPr/>
            <p:nvPr/>
          </p:nvSpPr>
          <p:spPr>
            <a:xfrm>
              <a:off x="638019" y="6810484"/>
              <a:ext cx="51379" cy="61986"/>
            </a:xfrm>
            <a:custGeom>
              <a:avLst/>
              <a:gdLst>
                <a:gd name="connsiteX0" fmla="*/ 39730 w 51379"/>
                <a:gd name="connsiteY0" fmla="*/ 0 h 61986"/>
                <a:gd name="connsiteX1" fmla="*/ 51379 w 51379"/>
                <a:gd name="connsiteY1" fmla="*/ 0 h 61986"/>
                <a:gd name="connsiteX2" fmla="*/ 51379 w 51379"/>
                <a:gd name="connsiteY2" fmla="*/ 61892 h 61986"/>
                <a:gd name="connsiteX3" fmla="*/ 44134 w 51379"/>
                <a:gd name="connsiteY3" fmla="*/ 61892 h 61986"/>
                <a:gd name="connsiteX4" fmla="*/ 44134 w 51379"/>
                <a:gd name="connsiteY4" fmla="*/ 61987 h 61986"/>
                <a:gd name="connsiteX5" fmla="*/ 11649 w 51379"/>
                <a:gd name="connsiteY5" fmla="*/ 20220 h 61986"/>
                <a:gd name="connsiteX6" fmla="*/ 11649 w 51379"/>
                <a:gd name="connsiteY6" fmla="*/ 61892 h 61986"/>
                <a:gd name="connsiteX7" fmla="*/ 0 w 51379"/>
                <a:gd name="connsiteY7" fmla="*/ 61892 h 61986"/>
                <a:gd name="connsiteX8" fmla="*/ 0 w 51379"/>
                <a:gd name="connsiteY8" fmla="*/ 95 h 61986"/>
                <a:gd name="connsiteX9" fmla="*/ 9471 w 51379"/>
                <a:gd name="connsiteY9" fmla="*/ 95 h 61986"/>
                <a:gd name="connsiteX10" fmla="*/ 39777 w 51379"/>
                <a:gd name="connsiteY10" fmla="*/ 38404 h 61986"/>
                <a:gd name="connsiteX11" fmla="*/ 39777 w 51379"/>
                <a:gd name="connsiteY11" fmla="*/ 0 h 619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1379" h="61986">
                  <a:moveTo>
                    <a:pt x="39730" y="0"/>
                  </a:moveTo>
                  <a:lnTo>
                    <a:pt x="51379" y="0"/>
                  </a:lnTo>
                  <a:lnTo>
                    <a:pt x="51379" y="61892"/>
                  </a:lnTo>
                  <a:lnTo>
                    <a:pt x="44134" y="61892"/>
                  </a:lnTo>
                  <a:lnTo>
                    <a:pt x="44134" y="61987"/>
                  </a:lnTo>
                  <a:lnTo>
                    <a:pt x="11649" y="20220"/>
                  </a:lnTo>
                  <a:lnTo>
                    <a:pt x="11649" y="61892"/>
                  </a:lnTo>
                  <a:lnTo>
                    <a:pt x="0" y="61892"/>
                  </a:lnTo>
                  <a:lnTo>
                    <a:pt x="0" y="95"/>
                  </a:lnTo>
                  <a:lnTo>
                    <a:pt x="9471" y="95"/>
                  </a:lnTo>
                  <a:lnTo>
                    <a:pt x="39777" y="38404"/>
                  </a:lnTo>
                  <a:lnTo>
                    <a:pt x="39777" y="0"/>
                  </a:lnTo>
                  <a:close/>
                </a:path>
              </a:pathLst>
            </a:custGeom>
            <a:solidFill>
              <a:srgbClr val="00A099"/>
            </a:solidFill>
            <a:ln w="438" cap="flat">
              <a:noFill/>
              <a:prstDash val="solid"/>
              <a:miter/>
            </a:ln>
          </p:spPr>
          <p:txBody>
            <a:bodyPr rtlCol="0" anchor="ctr"/>
            <a:lstStyle/>
            <a:p>
              <a:endParaRPr lang="en-US" sz="1013" b="0" i="0">
                <a:latin typeface="Nexa Book" pitchFamily="2" charset="77"/>
              </a:endParaRPr>
            </a:p>
          </p:txBody>
        </p:sp>
        <p:sp>
          <p:nvSpPr>
            <p:cNvPr id="36" name="Freeform 35">
              <a:extLst>
                <a:ext uri="{FF2B5EF4-FFF2-40B4-BE49-F238E27FC236}">
                  <a16:creationId xmlns:a16="http://schemas.microsoft.com/office/drawing/2014/main" id="{F86F2C48-9195-F884-5097-483F2FDF0756}"/>
                </a:ext>
              </a:extLst>
            </p:cNvPr>
            <p:cNvSpPr/>
            <p:nvPr/>
          </p:nvSpPr>
          <p:spPr>
            <a:xfrm>
              <a:off x="699958" y="6810579"/>
              <a:ext cx="46264" cy="61844"/>
            </a:xfrm>
            <a:custGeom>
              <a:avLst/>
              <a:gdLst>
                <a:gd name="connsiteX0" fmla="*/ 46265 w 46264"/>
                <a:gd name="connsiteY0" fmla="*/ 61845 h 61844"/>
                <a:gd name="connsiteX1" fmla="*/ 0 w 46264"/>
                <a:gd name="connsiteY1" fmla="*/ 61845 h 61844"/>
                <a:gd name="connsiteX2" fmla="*/ 0 w 46264"/>
                <a:gd name="connsiteY2" fmla="*/ 0 h 61844"/>
                <a:gd name="connsiteX3" fmla="*/ 46265 w 46264"/>
                <a:gd name="connsiteY3" fmla="*/ 0 h 61844"/>
                <a:gd name="connsiteX4" fmla="*/ 46265 w 46264"/>
                <a:gd name="connsiteY4" fmla="*/ 11318 h 61844"/>
                <a:gd name="connsiteX5" fmla="*/ 11554 w 46264"/>
                <a:gd name="connsiteY5" fmla="*/ 11318 h 61844"/>
                <a:gd name="connsiteX6" fmla="*/ 11554 w 46264"/>
                <a:gd name="connsiteY6" fmla="*/ 25524 h 61844"/>
                <a:gd name="connsiteX7" fmla="*/ 45034 w 46264"/>
                <a:gd name="connsiteY7" fmla="*/ 25524 h 61844"/>
                <a:gd name="connsiteX8" fmla="*/ 45034 w 46264"/>
                <a:gd name="connsiteY8" fmla="*/ 36368 h 61844"/>
                <a:gd name="connsiteX9" fmla="*/ 11554 w 46264"/>
                <a:gd name="connsiteY9" fmla="*/ 36368 h 61844"/>
                <a:gd name="connsiteX10" fmla="*/ 11554 w 46264"/>
                <a:gd name="connsiteY10" fmla="*/ 50338 h 61844"/>
                <a:gd name="connsiteX11" fmla="*/ 46265 w 46264"/>
                <a:gd name="connsiteY11" fmla="*/ 50338 h 61844"/>
                <a:gd name="connsiteX12" fmla="*/ 46265 w 46264"/>
                <a:gd name="connsiteY12" fmla="*/ 61845 h 61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6264" h="61844">
                  <a:moveTo>
                    <a:pt x="46265" y="61845"/>
                  </a:moveTo>
                  <a:lnTo>
                    <a:pt x="0" y="61845"/>
                  </a:lnTo>
                  <a:cubicBezTo>
                    <a:pt x="0" y="41246"/>
                    <a:pt x="0" y="20599"/>
                    <a:pt x="0" y="0"/>
                  </a:cubicBezTo>
                  <a:lnTo>
                    <a:pt x="46265" y="0"/>
                  </a:lnTo>
                  <a:lnTo>
                    <a:pt x="46265" y="11318"/>
                  </a:lnTo>
                  <a:lnTo>
                    <a:pt x="11554" y="11318"/>
                  </a:lnTo>
                  <a:lnTo>
                    <a:pt x="11554" y="25524"/>
                  </a:lnTo>
                  <a:lnTo>
                    <a:pt x="45034" y="25524"/>
                  </a:lnTo>
                  <a:lnTo>
                    <a:pt x="45034" y="36368"/>
                  </a:lnTo>
                  <a:lnTo>
                    <a:pt x="11554" y="36368"/>
                  </a:lnTo>
                  <a:lnTo>
                    <a:pt x="11554" y="50338"/>
                  </a:lnTo>
                  <a:lnTo>
                    <a:pt x="46265" y="50338"/>
                  </a:lnTo>
                  <a:lnTo>
                    <a:pt x="46265" y="61845"/>
                  </a:lnTo>
                  <a:close/>
                </a:path>
              </a:pathLst>
            </a:custGeom>
            <a:solidFill>
              <a:srgbClr val="00A099"/>
            </a:solidFill>
            <a:ln w="438" cap="flat">
              <a:noFill/>
              <a:prstDash val="solid"/>
              <a:miter/>
            </a:ln>
          </p:spPr>
          <p:txBody>
            <a:bodyPr rtlCol="0" anchor="ctr"/>
            <a:lstStyle/>
            <a:p>
              <a:endParaRPr lang="en-US" sz="1013" b="0" i="0">
                <a:latin typeface="Nexa Book" pitchFamily="2" charset="77"/>
              </a:endParaRPr>
            </a:p>
          </p:txBody>
        </p:sp>
        <p:sp>
          <p:nvSpPr>
            <p:cNvPr id="37" name="Freeform 36">
              <a:extLst>
                <a:ext uri="{FF2B5EF4-FFF2-40B4-BE49-F238E27FC236}">
                  <a16:creationId xmlns:a16="http://schemas.microsoft.com/office/drawing/2014/main" id="{60AA74B8-5938-8C45-8445-0C79A02C3E35}"/>
                </a:ext>
              </a:extLst>
            </p:cNvPr>
            <p:cNvSpPr/>
            <p:nvPr/>
          </p:nvSpPr>
          <p:spPr>
            <a:xfrm>
              <a:off x="747644" y="6800634"/>
              <a:ext cx="15390" cy="20457"/>
            </a:xfrm>
            <a:custGeom>
              <a:avLst/>
              <a:gdLst>
                <a:gd name="connsiteX0" fmla="*/ 9376 w 15390"/>
                <a:gd name="connsiteY0" fmla="*/ 20457 h 20457"/>
                <a:gd name="connsiteX1" fmla="*/ 6014 w 15390"/>
                <a:gd name="connsiteY1" fmla="*/ 20457 h 20457"/>
                <a:gd name="connsiteX2" fmla="*/ 6014 w 15390"/>
                <a:gd name="connsiteY2" fmla="*/ 2889 h 20457"/>
                <a:gd name="connsiteX3" fmla="*/ 0 w 15390"/>
                <a:gd name="connsiteY3" fmla="*/ 2889 h 20457"/>
                <a:gd name="connsiteX4" fmla="*/ 0 w 15390"/>
                <a:gd name="connsiteY4" fmla="*/ 0 h 20457"/>
                <a:gd name="connsiteX5" fmla="*/ 15390 w 15390"/>
                <a:gd name="connsiteY5" fmla="*/ 0 h 20457"/>
                <a:gd name="connsiteX6" fmla="*/ 15390 w 15390"/>
                <a:gd name="connsiteY6" fmla="*/ 2889 h 20457"/>
                <a:gd name="connsiteX7" fmla="*/ 9376 w 15390"/>
                <a:gd name="connsiteY7" fmla="*/ 2889 h 20457"/>
                <a:gd name="connsiteX8" fmla="*/ 9376 w 15390"/>
                <a:gd name="connsiteY8" fmla="*/ 20457 h 20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390" h="20457">
                  <a:moveTo>
                    <a:pt x="9376" y="20457"/>
                  </a:moveTo>
                  <a:lnTo>
                    <a:pt x="6014" y="20457"/>
                  </a:lnTo>
                  <a:lnTo>
                    <a:pt x="6014" y="2889"/>
                  </a:lnTo>
                  <a:lnTo>
                    <a:pt x="0" y="2889"/>
                  </a:lnTo>
                  <a:lnTo>
                    <a:pt x="0" y="0"/>
                  </a:lnTo>
                  <a:lnTo>
                    <a:pt x="15390" y="0"/>
                  </a:lnTo>
                  <a:lnTo>
                    <a:pt x="15390" y="2889"/>
                  </a:lnTo>
                  <a:lnTo>
                    <a:pt x="9376" y="2889"/>
                  </a:lnTo>
                  <a:lnTo>
                    <a:pt x="9376" y="20457"/>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38" name="Freeform 37">
              <a:extLst>
                <a:ext uri="{FF2B5EF4-FFF2-40B4-BE49-F238E27FC236}">
                  <a16:creationId xmlns:a16="http://schemas.microsoft.com/office/drawing/2014/main" id="{EACDAAB3-EE0D-A9F6-2699-C493021CB0C1}"/>
                </a:ext>
              </a:extLst>
            </p:cNvPr>
            <p:cNvSpPr/>
            <p:nvPr/>
          </p:nvSpPr>
          <p:spPr>
            <a:xfrm>
              <a:off x="766206" y="6800634"/>
              <a:ext cx="21119" cy="20457"/>
            </a:xfrm>
            <a:custGeom>
              <a:avLst/>
              <a:gdLst>
                <a:gd name="connsiteX0" fmla="*/ 8808 w 21119"/>
                <a:gd name="connsiteY0" fmla="*/ 20457 h 20457"/>
                <a:gd name="connsiteX1" fmla="*/ 2889 w 21119"/>
                <a:gd name="connsiteY1" fmla="*/ 3362 h 20457"/>
                <a:gd name="connsiteX2" fmla="*/ 2794 w 21119"/>
                <a:gd name="connsiteY2" fmla="*/ 3362 h 20457"/>
                <a:gd name="connsiteX3" fmla="*/ 3031 w 21119"/>
                <a:gd name="connsiteY3" fmla="*/ 10513 h 20457"/>
                <a:gd name="connsiteX4" fmla="*/ 3031 w 21119"/>
                <a:gd name="connsiteY4" fmla="*/ 20457 h 20457"/>
                <a:gd name="connsiteX5" fmla="*/ 0 w 21119"/>
                <a:gd name="connsiteY5" fmla="*/ 20457 h 20457"/>
                <a:gd name="connsiteX6" fmla="*/ 0 w 21119"/>
                <a:gd name="connsiteY6" fmla="*/ 0 h 20457"/>
                <a:gd name="connsiteX7" fmla="*/ 4735 w 21119"/>
                <a:gd name="connsiteY7" fmla="*/ 0 h 20457"/>
                <a:gd name="connsiteX8" fmla="*/ 10418 w 21119"/>
                <a:gd name="connsiteY8" fmla="*/ 16290 h 20457"/>
                <a:gd name="connsiteX9" fmla="*/ 10513 w 21119"/>
                <a:gd name="connsiteY9" fmla="*/ 16290 h 20457"/>
                <a:gd name="connsiteX10" fmla="*/ 16385 w 21119"/>
                <a:gd name="connsiteY10" fmla="*/ 0 h 20457"/>
                <a:gd name="connsiteX11" fmla="*/ 21120 w 21119"/>
                <a:gd name="connsiteY11" fmla="*/ 0 h 20457"/>
                <a:gd name="connsiteX12" fmla="*/ 21120 w 21119"/>
                <a:gd name="connsiteY12" fmla="*/ 20457 h 20457"/>
                <a:gd name="connsiteX13" fmla="*/ 17900 w 21119"/>
                <a:gd name="connsiteY13" fmla="*/ 20457 h 20457"/>
                <a:gd name="connsiteX14" fmla="*/ 17900 w 21119"/>
                <a:gd name="connsiteY14" fmla="*/ 10323 h 20457"/>
                <a:gd name="connsiteX15" fmla="*/ 17995 w 21119"/>
                <a:gd name="connsiteY15" fmla="*/ 6345 h 20457"/>
                <a:gd name="connsiteX16" fmla="*/ 18137 w 21119"/>
                <a:gd name="connsiteY16" fmla="*/ 3362 h 20457"/>
                <a:gd name="connsiteX17" fmla="*/ 18042 w 21119"/>
                <a:gd name="connsiteY17" fmla="*/ 3362 h 20457"/>
                <a:gd name="connsiteX18" fmla="*/ 11886 w 21119"/>
                <a:gd name="connsiteY18" fmla="*/ 20410 h 20457"/>
                <a:gd name="connsiteX19" fmla="*/ 8808 w 21119"/>
                <a:gd name="connsiteY19" fmla="*/ 20410 h 20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1119" h="20457">
                  <a:moveTo>
                    <a:pt x="8808" y="20457"/>
                  </a:moveTo>
                  <a:lnTo>
                    <a:pt x="2889" y="3362"/>
                  </a:lnTo>
                  <a:lnTo>
                    <a:pt x="2794" y="3362"/>
                  </a:lnTo>
                  <a:cubicBezTo>
                    <a:pt x="2936" y="5919"/>
                    <a:pt x="3031" y="8287"/>
                    <a:pt x="3031" y="10513"/>
                  </a:cubicBezTo>
                  <a:lnTo>
                    <a:pt x="3031" y="20457"/>
                  </a:lnTo>
                  <a:lnTo>
                    <a:pt x="0" y="20457"/>
                  </a:lnTo>
                  <a:lnTo>
                    <a:pt x="0" y="0"/>
                  </a:lnTo>
                  <a:lnTo>
                    <a:pt x="4735" y="0"/>
                  </a:lnTo>
                  <a:lnTo>
                    <a:pt x="10418" y="16290"/>
                  </a:lnTo>
                  <a:lnTo>
                    <a:pt x="10513" y="16290"/>
                  </a:lnTo>
                  <a:lnTo>
                    <a:pt x="16385" y="0"/>
                  </a:lnTo>
                  <a:lnTo>
                    <a:pt x="21120" y="0"/>
                  </a:lnTo>
                  <a:lnTo>
                    <a:pt x="21120" y="20457"/>
                  </a:lnTo>
                  <a:lnTo>
                    <a:pt x="17900" y="20457"/>
                  </a:lnTo>
                  <a:lnTo>
                    <a:pt x="17900" y="10323"/>
                  </a:lnTo>
                  <a:cubicBezTo>
                    <a:pt x="17900" y="9329"/>
                    <a:pt x="17947" y="8003"/>
                    <a:pt x="17995" y="6345"/>
                  </a:cubicBezTo>
                  <a:cubicBezTo>
                    <a:pt x="18042" y="4735"/>
                    <a:pt x="18089" y="3741"/>
                    <a:pt x="18137" y="3362"/>
                  </a:cubicBezTo>
                  <a:lnTo>
                    <a:pt x="18042" y="3362"/>
                  </a:lnTo>
                  <a:lnTo>
                    <a:pt x="11886" y="20410"/>
                  </a:lnTo>
                  <a:lnTo>
                    <a:pt x="8808" y="20410"/>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1309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762363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40000" y="0"/>
            <a:ext cx="8118000" cy="770400"/>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40000" y="1131888"/>
            <a:ext cx="8118000"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Tree>
    <p:extLst>
      <p:ext uri="{BB962C8B-B14F-4D97-AF65-F5344CB8AC3E}">
        <p14:creationId xmlns:p14="http://schemas.microsoft.com/office/powerpoint/2010/main" val="823099819"/>
      </p:ext>
    </p:extLst>
  </p:cSld>
  <p:clrMap bg1="lt1" tx1="dk1" bg2="lt2" tx2="dk2" accent1="accent1" accent2="accent2" accent3="accent3" accent4="accent4" accent5="accent5" accent6="accent6" hlink="hlink" folHlink="folHlink"/>
  <p:sldLayoutIdLst>
    <p:sldLayoutId id="2147483793" r:id="rId1"/>
    <p:sldLayoutId id="2147483794" r:id="rId2"/>
    <p:sldLayoutId id="2147483795" r:id="rId3"/>
    <p:sldLayoutId id="2147483796" r:id="rId4"/>
    <p:sldLayoutId id="2147483797" r:id="rId5"/>
    <p:sldLayoutId id="2147483798" r:id="rId6"/>
    <p:sldLayoutId id="2147483799" r:id="rId7"/>
    <p:sldLayoutId id="2147483800" r:id="rId8"/>
    <p:sldLayoutId id="2147483801" r:id="rId9"/>
    <p:sldLayoutId id="2147483802" r:id="rId10"/>
    <p:sldLayoutId id="2147483803" r:id="rId11"/>
    <p:sldLayoutId id="2147483804" r:id="rId12"/>
    <p:sldLayoutId id="2147483805" r:id="rId13"/>
    <p:sldLayoutId id="2147483806" r:id="rId14"/>
    <p:sldLayoutId id="2147483807" r:id="rId15"/>
    <p:sldLayoutId id="2147483808" r:id="rId16"/>
    <p:sldLayoutId id="2147483809" r:id="rId17"/>
    <p:sldLayoutId id="2147483810" r:id="rId18"/>
    <p:sldLayoutId id="2147483811" r:id="rId19"/>
    <p:sldLayoutId id="2147483812" r:id="rId20"/>
    <p:sldLayoutId id="2147483813" r:id="rId21"/>
    <p:sldLayoutId id="2147483814" r:id="rId22"/>
    <p:sldLayoutId id="2147483815" r:id="rId23"/>
    <p:sldLayoutId id="2147483816" r:id="rId24"/>
    <p:sldLayoutId id="2147483817" r:id="rId25"/>
    <p:sldLayoutId id="2147483818" r:id="rId26"/>
    <p:sldLayoutId id="2147483819" r:id="rId27"/>
    <p:sldLayoutId id="2147483820" r:id="rId28"/>
    <p:sldLayoutId id="2147483821" r:id="rId29"/>
    <p:sldLayoutId id="2147483822" r:id="rId30"/>
    <p:sldLayoutId id="2147483823" r:id="rId31"/>
    <p:sldLayoutId id="2147483824" r:id="rId32"/>
    <p:sldLayoutId id="2147483825" r:id="rId33"/>
    <p:sldLayoutId id="2147483826" r:id="rId34"/>
    <p:sldLayoutId id="2147483827" r:id="rId35"/>
    <p:sldLayoutId id="2147483828" r:id="rId36"/>
    <p:sldLayoutId id="2147483829" r:id="rId37"/>
    <p:sldLayoutId id="2147483830" r:id="rId38"/>
    <p:sldLayoutId id="2147483831" r:id="rId39"/>
    <p:sldLayoutId id="2147483832" r:id="rId40"/>
    <p:sldLayoutId id="2147483833" r:id="rId41"/>
    <p:sldLayoutId id="2147483834" r:id="rId42"/>
    <p:sldLayoutId id="2147483835" r:id="rId43"/>
    <p:sldLayoutId id="2147483836" r:id="rId44"/>
    <p:sldLayoutId id="2147483837" r:id="rId45"/>
    <p:sldLayoutId id="2147483838" r:id="rId46"/>
    <p:sldLayoutId id="2147483839" r:id="rId47"/>
    <p:sldLayoutId id="2147483840" r:id="rId48"/>
    <p:sldLayoutId id="2147483841" r:id="rId49"/>
    <p:sldLayoutId id="2147483842" r:id="rId50"/>
    <p:sldLayoutId id="2147483843" r:id="rId51"/>
  </p:sldLayoutIdLst>
  <p:hf hdr="0"/>
  <p:txStyles>
    <p:titleStyle>
      <a:lvl1pPr algn="l" defTabSz="685783" rtl="0" eaLnBrk="1" latinLnBrk="0" hangingPunct="1">
        <a:lnSpc>
          <a:spcPct val="90000"/>
        </a:lnSpc>
        <a:spcBef>
          <a:spcPct val="0"/>
        </a:spcBef>
        <a:buNone/>
        <a:defRPr lang="en-AE" sz="1600" b="1"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40">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42.bin"/><Relationship Id="rId2" Type="http://schemas.openxmlformats.org/officeDocument/2006/relationships/slideLayout" Target="../slideLayouts/slideLayout8.xml"/><Relationship Id="rId1" Type="http://schemas.openxmlformats.org/officeDocument/2006/relationships/tags" Target="../tags/tag42.xml"/><Relationship Id="rId6" Type="http://schemas.openxmlformats.org/officeDocument/2006/relationships/chart" Target="../charts/chart2.xml"/><Relationship Id="rId5" Type="http://schemas.openxmlformats.org/officeDocument/2006/relationships/chart" Target="../charts/chart1.xml"/><Relationship Id="rId4" Type="http://schemas.openxmlformats.org/officeDocument/2006/relationships/image" Target="../media/image75.emf"/></Relationships>
</file>

<file path=ppt/slides/_rels/slide10.xml.rels><?xml version="1.0" encoding="UTF-8" standalone="yes"?>
<Relationships xmlns="http://schemas.openxmlformats.org/package/2006/relationships"><Relationship Id="rId8" Type="http://schemas.openxmlformats.org/officeDocument/2006/relationships/chart" Target="../charts/chart31.xml"/><Relationship Id="rId3" Type="http://schemas.openxmlformats.org/officeDocument/2006/relationships/oleObject" Target="../embeddings/oleObject47.bin"/><Relationship Id="rId7" Type="http://schemas.openxmlformats.org/officeDocument/2006/relationships/chart" Target="../charts/chart30.xml"/><Relationship Id="rId2" Type="http://schemas.openxmlformats.org/officeDocument/2006/relationships/slideLayout" Target="../slideLayouts/slideLayout8.xml"/><Relationship Id="rId1" Type="http://schemas.openxmlformats.org/officeDocument/2006/relationships/tags" Target="../tags/tag51.xml"/><Relationship Id="rId6" Type="http://schemas.openxmlformats.org/officeDocument/2006/relationships/chart" Target="../charts/chart29.xml"/><Relationship Id="rId5" Type="http://schemas.openxmlformats.org/officeDocument/2006/relationships/chart" Target="../charts/chart28.xml"/><Relationship Id="rId4" Type="http://schemas.openxmlformats.org/officeDocument/2006/relationships/image" Target="../media/image75.emf"/></Relationships>
</file>

<file path=ppt/slides/_rels/slide11.xml.rels><?xml version="1.0" encoding="UTF-8" standalone="yes"?>
<Relationships xmlns="http://schemas.openxmlformats.org/package/2006/relationships"><Relationship Id="rId8" Type="http://schemas.openxmlformats.org/officeDocument/2006/relationships/chart" Target="../charts/chart35.xml"/><Relationship Id="rId3" Type="http://schemas.openxmlformats.org/officeDocument/2006/relationships/oleObject" Target="../embeddings/oleObject48.bin"/><Relationship Id="rId7" Type="http://schemas.openxmlformats.org/officeDocument/2006/relationships/chart" Target="../charts/chart34.xml"/><Relationship Id="rId2" Type="http://schemas.openxmlformats.org/officeDocument/2006/relationships/slideLayout" Target="../slideLayouts/slideLayout8.xml"/><Relationship Id="rId1" Type="http://schemas.openxmlformats.org/officeDocument/2006/relationships/tags" Target="../tags/tag52.xml"/><Relationship Id="rId6" Type="http://schemas.openxmlformats.org/officeDocument/2006/relationships/chart" Target="../charts/chart33.xml"/><Relationship Id="rId5" Type="http://schemas.openxmlformats.org/officeDocument/2006/relationships/chart" Target="../charts/chart32.xml"/><Relationship Id="rId4" Type="http://schemas.openxmlformats.org/officeDocument/2006/relationships/image" Target="../media/image75.emf"/><Relationship Id="rId9" Type="http://schemas.openxmlformats.org/officeDocument/2006/relationships/chart" Target="../charts/chart36.xml"/></Relationships>
</file>

<file path=ppt/slides/_rels/slide12.xml.rels><?xml version="1.0" encoding="UTF-8" standalone="yes"?>
<Relationships xmlns="http://schemas.openxmlformats.org/package/2006/relationships"><Relationship Id="rId8" Type="http://schemas.openxmlformats.org/officeDocument/2006/relationships/chart" Target="../charts/chart39.xml"/><Relationship Id="rId3" Type="http://schemas.openxmlformats.org/officeDocument/2006/relationships/notesSlide" Target="../notesSlides/notesSlide1.xml"/><Relationship Id="rId7" Type="http://schemas.openxmlformats.org/officeDocument/2006/relationships/chart" Target="../charts/chart38.xml"/><Relationship Id="rId2" Type="http://schemas.openxmlformats.org/officeDocument/2006/relationships/slideLayout" Target="../slideLayouts/slideLayout8.xml"/><Relationship Id="rId1" Type="http://schemas.openxmlformats.org/officeDocument/2006/relationships/tags" Target="../tags/tag53.xml"/><Relationship Id="rId6" Type="http://schemas.openxmlformats.org/officeDocument/2006/relationships/chart" Target="../charts/chart37.xml"/><Relationship Id="rId11" Type="http://schemas.openxmlformats.org/officeDocument/2006/relationships/chart" Target="../charts/chart42.xml"/><Relationship Id="rId5" Type="http://schemas.openxmlformats.org/officeDocument/2006/relationships/image" Target="../media/image75.emf"/><Relationship Id="rId10" Type="http://schemas.openxmlformats.org/officeDocument/2006/relationships/chart" Target="../charts/chart41.xml"/><Relationship Id="rId4" Type="http://schemas.openxmlformats.org/officeDocument/2006/relationships/oleObject" Target="../embeddings/oleObject49.bin"/><Relationship Id="rId9" Type="http://schemas.openxmlformats.org/officeDocument/2006/relationships/chart" Target="../charts/chart40.xml"/></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42.bin"/><Relationship Id="rId7" Type="http://schemas.openxmlformats.org/officeDocument/2006/relationships/chart" Target="../charts/chart5.xml"/><Relationship Id="rId2" Type="http://schemas.openxmlformats.org/officeDocument/2006/relationships/slideLayout" Target="../slideLayouts/slideLayout8.xml"/><Relationship Id="rId1" Type="http://schemas.openxmlformats.org/officeDocument/2006/relationships/tags" Target="../tags/tag43.xml"/><Relationship Id="rId6" Type="http://schemas.openxmlformats.org/officeDocument/2006/relationships/chart" Target="../charts/chart4.xml"/><Relationship Id="rId5" Type="http://schemas.openxmlformats.org/officeDocument/2006/relationships/chart" Target="../charts/chart3.xml"/><Relationship Id="rId4" Type="http://schemas.openxmlformats.org/officeDocument/2006/relationships/image" Target="../media/image75.emf"/></Relationships>
</file>

<file path=ppt/slides/_rels/slide3.xml.rels><?xml version="1.0" encoding="UTF-8" standalone="yes"?>
<Relationships xmlns="http://schemas.openxmlformats.org/package/2006/relationships"><Relationship Id="rId8" Type="http://schemas.openxmlformats.org/officeDocument/2006/relationships/chart" Target="../charts/chart9.xml"/><Relationship Id="rId3" Type="http://schemas.openxmlformats.org/officeDocument/2006/relationships/oleObject" Target="../embeddings/oleObject43.bin"/><Relationship Id="rId7" Type="http://schemas.openxmlformats.org/officeDocument/2006/relationships/chart" Target="../charts/chart8.xml"/><Relationship Id="rId2" Type="http://schemas.openxmlformats.org/officeDocument/2006/relationships/slideLayout" Target="../slideLayouts/slideLayout8.xml"/><Relationship Id="rId1" Type="http://schemas.openxmlformats.org/officeDocument/2006/relationships/tags" Target="../tags/tag44.xml"/><Relationship Id="rId6" Type="http://schemas.openxmlformats.org/officeDocument/2006/relationships/chart" Target="../charts/chart7.xml"/><Relationship Id="rId5" Type="http://schemas.openxmlformats.org/officeDocument/2006/relationships/chart" Target="../charts/chart6.xml"/><Relationship Id="rId4" Type="http://schemas.openxmlformats.org/officeDocument/2006/relationships/image" Target="../media/image75.emf"/></Relationships>
</file>

<file path=ppt/slides/_rels/slide4.xml.rels><?xml version="1.0" encoding="UTF-8" standalone="yes"?>
<Relationships xmlns="http://schemas.openxmlformats.org/package/2006/relationships"><Relationship Id="rId8" Type="http://schemas.openxmlformats.org/officeDocument/2006/relationships/chart" Target="../charts/chart13.xml"/><Relationship Id="rId3" Type="http://schemas.openxmlformats.org/officeDocument/2006/relationships/oleObject" Target="../embeddings/oleObject44.bin"/><Relationship Id="rId7" Type="http://schemas.openxmlformats.org/officeDocument/2006/relationships/chart" Target="../charts/chart12.xml"/><Relationship Id="rId2" Type="http://schemas.openxmlformats.org/officeDocument/2006/relationships/slideLayout" Target="../slideLayouts/slideLayout8.xml"/><Relationship Id="rId1" Type="http://schemas.openxmlformats.org/officeDocument/2006/relationships/tags" Target="../tags/tag45.xml"/><Relationship Id="rId6" Type="http://schemas.openxmlformats.org/officeDocument/2006/relationships/chart" Target="../charts/chart11.xml"/><Relationship Id="rId5" Type="http://schemas.openxmlformats.org/officeDocument/2006/relationships/chart" Target="../charts/chart10.xml"/><Relationship Id="rId4" Type="http://schemas.openxmlformats.org/officeDocument/2006/relationships/image" Target="../media/image75.emf"/><Relationship Id="rId9" Type="http://schemas.openxmlformats.org/officeDocument/2006/relationships/chart" Target="../charts/chart14.xml"/></Relationships>
</file>

<file path=ppt/slides/_rels/slide5.xml.rels><?xml version="1.0" encoding="UTF-8" standalone="yes"?>
<Relationships xmlns="http://schemas.openxmlformats.org/package/2006/relationships"><Relationship Id="rId8" Type="http://schemas.openxmlformats.org/officeDocument/2006/relationships/chart" Target="../charts/chart18.xml"/><Relationship Id="rId3" Type="http://schemas.openxmlformats.org/officeDocument/2006/relationships/oleObject" Target="../embeddings/oleObject45.bin"/><Relationship Id="rId7" Type="http://schemas.openxmlformats.org/officeDocument/2006/relationships/chart" Target="../charts/chart17.xml"/><Relationship Id="rId2" Type="http://schemas.openxmlformats.org/officeDocument/2006/relationships/slideLayout" Target="../slideLayouts/slideLayout8.xml"/><Relationship Id="rId1" Type="http://schemas.openxmlformats.org/officeDocument/2006/relationships/tags" Target="../tags/tag46.xml"/><Relationship Id="rId6" Type="http://schemas.openxmlformats.org/officeDocument/2006/relationships/chart" Target="../charts/chart16.xml"/><Relationship Id="rId5" Type="http://schemas.openxmlformats.org/officeDocument/2006/relationships/chart" Target="../charts/chart15.xml"/><Relationship Id="rId10" Type="http://schemas.openxmlformats.org/officeDocument/2006/relationships/chart" Target="../charts/chart20.xml"/><Relationship Id="rId4" Type="http://schemas.openxmlformats.org/officeDocument/2006/relationships/image" Target="../media/image75.emf"/><Relationship Id="rId9" Type="http://schemas.openxmlformats.org/officeDocument/2006/relationships/chart" Target="../charts/chart19.xml"/></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46.bin"/><Relationship Id="rId2" Type="http://schemas.openxmlformats.org/officeDocument/2006/relationships/slideLayout" Target="../slideLayouts/slideLayout8.xml"/><Relationship Id="rId1" Type="http://schemas.openxmlformats.org/officeDocument/2006/relationships/tags" Target="../tags/tag47.xml"/><Relationship Id="rId5" Type="http://schemas.openxmlformats.org/officeDocument/2006/relationships/chart" Target="../charts/chart21.xml"/><Relationship Id="rId4" Type="http://schemas.openxmlformats.org/officeDocument/2006/relationships/image" Target="../media/image75.emf"/></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47.bin"/><Relationship Id="rId2" Type="http://schemas.openxmlformats.org/officeDocument/2006/relationships/slideLayout" Target="../slideLayouts/slideLayout8.xml"/><Relationship Id="rId1" Type="http://schemas.openxmlformats.org/officeDocument/2006/relationships/tags" Target="../tags/tag48.xml"/><Relationship Id="rId5" Type="http://schemas.openxmlformats.org/officeDocument/2006/relationships/chart" Target="../charts/chart22.xml"/><Relationship Id="rId4" Type="http://schemas.openxmlformats.org/officeDocument/2006/relationships/image" Target="../media/image75.emf"/></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47.bin"/><Relationship Id="rId2" Type="http://schemas.openxmlformats.org/officeDocument/2006/relationships/slideLayout" Target="../slideLayouts/slideLayout8.xml"/><Relationship Id="rId1" Type="http://schemas.openxmlformats.org/officeDocument/2006/relationships/tags" Target="../tags/tag49.xml"/><Relationship Id="rId6" Type="http://schemas.openxmlformats.org/officeDocument/2006/relationships/chart" Target="../charts/chart24.xml"/><Relationship Id="rId5" Type="http://schemas.openxmlformats.org/officeDocument/2006/relationships/chart" Target="../charts/chart23.xml"/><Relationship Id="rId4" Type="http://schemas.openxmlformats.org/officeDocument/2006/relationships/image" Target="../media/image75.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47.bin"/><Relationship Id="rId7" Type="http://schemas.openxmlformats.org/officeDocument/2006/relationships/chart" Target="../charts/chart27.xml"/><Relationship Id="rId2" Type="http://schemas.openxmlformats.org/officeDocument/2006/relationships/slideLayout" Target="../slideLayouts/slideLayout8.xml"/><Relationship Id="rId1" Type="http://schemas.openxmlformats.org/officeDocument/2006/relationships/tags" Target="../tags/tag50.xml"/><Relationship Id="rId6" Type="http://schemas.openxmlformats.org/officeDocument/2006/relationships/chart" Target="../charts/chart26.xml"/><Relationship Id="rId5" Type="http://schemas.openxmlformats.org/officeDocument/2006/relationships/chart" Target="../charts/chart25.xml"/><Relationship Id="rId4" Type="http://schemas.openxmlformats.org/officeDocument/2006/relationships/image" Target="../media/image75.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2CA2BB6-6314-F87E-F71B-5A3B40BA754C}"/>
            </a:ext>
          </a:extLst>
        </p:cNvPr>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09F83F2E-4496-57D3-A6AF-63FBD977DAB6}"/>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09F83F2E-4496-57D3-A6AF-63FBD977DAB6}"/>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graphicFrame>
        <p:nvGraphicFramePr>
          <p:cNvPr id="14" name="C1">
            <a:extLst>
              <a:ext uri="{FF2B5EF4-FFF2-40B4-BE49-F238E27FC236}">
                <a16:creationId xmlns:a16="http://schemas.microsoft.com/office/drawing/2014/main" id="{CA68FF62-0B71-52B1-FDB7-24841EC476B1}"/>
              </a:ext>
            </a:extLst>
          </p:cNvPr>
          <p:cNvGraphicFramePr>
            <a:graphicFrameLocks/>
          </p:cNvGraphicFramePr>
          <p:nvPr>
            <p:extLst>
              <p:ext uri="{D42A27DB-BD31-4B8C-83A1-F6EECF244321}">
                <p14:modId xmlns:p14="http://schemas.microsoft.com/office/powerpoint/2010/main" val="927665782"/>
              </p:ext>
            </p:extLst>
          </p:nvPr>
        </p:nvGraphicFramePr>
        <p:xfrm>
          <a:off x="2613976" y="1131888"/>
          <a:ext cx="5670000" cy="1764000"/>
        </p:xfrm>
        <a:graphic>
          <a:graphicData uri="http://schemas.openxmlformats.org/drawingml/2006/chart">
            <c:chart xmlns:c="http://schemas.openxmlformats.org/drawingml/2006/chart" xmlns:r="http://schemas.openxmlformats.org/officeDocument/2006/relationships" r:id="rId5"/>
          </a:graphicData>
        </a:graphic>
      </p:graphicFrame>
      <p:sp>
        <p:nvSpPr>
          <p:cNvPr id="2" name="Date Placeholder 1">
            <a:extLst>
              <a:ext uri="{FF2B5EF4-FFF2-40B4-BE49-F238E27FC236}">
                <a16:creationId xmlns:a16="http://schemas.microsoft.com/office/drawing/2014/main" id="{1B949444-4C43-8678-1EB0-79BC29A5DC0D}"/>
              </a:ext>
            </a:extLst>
          </p:cNvPr>
          <p:cNvSpPr>
            <a:spLocks noGrp="1"/>
          </p:cNvSpPr>
          <p:nvPr>
            <p:ph type="dt" sz="half" idx="14"/>
          </p:nvPr>
        </p:nvSpPr>
        <p:spPr/>
        <p:txBody>
          <a:bodyPr/>
          <a:lstStyle/>
          <a:p>
            <a:pPr marL="0" marR="0" lvl="0" indent="0" algn="r" defTabSz="685749" rtl="0" eaLnBrk="1" fontAlgn="auto" latinLnBrk="0" hangingPunct="1">
              <a:lnSpc>
                <a:spcPct val="100000"/>
              </a:lnSpc>
              <a:spcBef>
                <a:spcPts val="0"/>
              </a:spcBef>
              <a:spcAft>
                <a:spcPts val="0"/>
              </a:spcAft>
              <a:buClrTx/>
              <a:buSzTx/>
              <a:buFontTx/>
              <a:buNone/>
              <a:tabLst/>
              <a:defRPr/>
            </a:pPr>
            <a:fld id="{F632CF21-2390-4A0B-8364-B2E9978807FB}" type="datetime1">
              <a:rPr kumimoji="0" lang="en-US" sz="4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mn-cs"/>
              </a:rPr>
              <a:pPr marL="0" marR="0" lvl="0" indent="0" algn="r" defTabSz="685749" rtl="0" eaLnBrk="1" fontAlgn="auto" latinLnBrk="0" hangingPunct="1">
                <a:lnSpc>
                  <a:spcPct val="100000"/>
                </a:lnSpc>
                <a:spcBef>
                  <a:spcPts val="0"/>
                </a:spcBef>
                <a:spcAft>
                  <a:spcPts val="0"/>
                </a:spcAft>
                <a:buClrTx/>
                <a:buSzTx/>
                <a:buFontTx/>
                <a:buNone/>
                <a:tabLst/>
                <a:defRPr/>
              </a:pPr>
              <a:t>7/8/2024</a:t>
            </a:fld>
            <a:endParaRPr kumimoji="0" lang="en-US" sz="4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mn-cs"/>
            </a:endParaRPr>
          </a:p>
        </p:txBody>
      </p:sp>
      <p:sp>
        <p:nvSpPr>
          <p:cNvPr id="4" name="Footer Placeholder 3">
            <a:extLst>
              <a:ext uri="{FF2B5EF4-FFF2-40B4-BE49-F238E27FC236}">
                <a16:creationId xmlns:a16="http://schemas.microsoft.com/office/drawing/2014/main" id="{39308DA1-F287-5B81-7ABF-B17068836394}"/>
              </a:ext>
            </a:extLst>
          </p:cNvPr>
          <p:cNvSpPr>
            <a:spLocks noGrp="1"/>
          </p:cNvSpPr>
          <p:nvPr>
            <p:ph type="ftr" sz="quarter" idx="15"/>
          </p:nvPr>
        </p:nvSpPr>
        <p:spPr/>
        <p:txBody>
          <a:bodyPr/>
          <a:lstStyle/>
          <a:p>
            <a:pPr marL="0" marR="0" lvl="0" indent="0" algn="ctr" defTabSz="685749" rtl="0" eaLnBrk="1" fontAlgn="auto" latinLnBrk="0" hangingPunct="1">
              <a:lnSpc>
                <a:spcPct val="100000"/>
              </a:lnSpc>
              <a:spcBef>
                <a:spcPts val="0"/>
              </a:spcBef>
              <a:spcAft>
                <a:spcPts val="0"/>
              </a:spcAft>
              <a:buClrTx/>
              <a:buSzTx/>
              <a:buFontTx/>
              <a:buNone/>
              <a:tabLst/>
              <a:defRPr/>
            </a:pPr>
            <a:endParaRPr kumimoji="0" lang="en-US" sz="4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mn-cs"/>
            </a:endParaRPr>
          </a:p>
        </p:txBody>
      </p:sp>
      <p:sp>
        <p:nvSpPr>
          <p:cNvPr id="3" name="Slide Number Placeholder 2">
            <a:extLst>
              <a:ext uri="{FF2B5EF4-FFF2-40B4-BE49-F238E27FC236}">
                <a16:creationId xmlns:a16="http://schemas.microsoft.com/office/drawing/2014/main" id="{E7D61BF2-525A-209D-9419-FE1ED0E98338}"/>
              </a:ext>
            </a:extLst>
          </p:cNvPr>
          <p:cNvSpPr>
            <a:spLocks noGrp="1"/>
          </p:cNvSpPr>
          <p:nvPr>
            <p:ph type="sldNum" sz="quarter" idx="16"/>
          </p:nvPr>
        </p:nvSpPr>
        <p:spPr/>
        <p:txBody>
          <a:bodyPr/>
          <a:lstStyle/>
          <a:p>
            <a:pPr marL="0" marR="0" lvl="0" indent="0" algn="r" defTabSz="685749" rtl="0" eaLnBrk="1" fontAlgn="auto" latinLnBrk="0" hangingPunct="1">
              <a:lnSpc>
                <a:spcPct val="100000"/>
              </a:lnSpc>
              <a:spcBef>
                <a:spcPts val="0"/>
              </a:spcBef>
              <a:spcAft>
                <a:spcPts val="0"/>
              </a:spcAft>
              <a:buClrTx/>
              <a:buSzTx/>
              <a:buFontTx/>
              <a:buNone/>
              <a:tabLst/>
              <a:defRPr/>
            </a:pPr>
            <a:fld id="{7B1F438D-4EAF-094E-9162-80CF3EF77236}" type="slidenum">
              <a:rPr kumimoji="0" lang="en-US" sz="4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pPr marL="0" marR="0" lvl="0" indent="0" algn="r" defTabSz="685749" rtl="0" eaLnBrk="1" fontAlgn="auto" latinLnBrk="0" hangingPunct="1">
                <a:lnSpc>
                  <a:spcPct val="100000"/>
                </a:lnSpc>
                <a:spcBef>
                  <a:spcPts val="0"/>
                </a:spcBef>
                <a:spcAft>
                  <a:spcPts val="0"/>
                </a:spcAft>
                <a:buClrTx/>
                <a:buSzTx/>
                <a:buFontTx/>
                <a:buNone/>
                <a:tabLst/>
                <a:defRPr/>
              </a:pPr>
              <a:t>1</a:t>
            </a:fld>
            <a:endParaRPr kumimoji="0" lang="en-US" sz="4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0" name="Content Placeholder 9">
            <a:extLst>
              <a:ext uri="{FF2B5EF4-FFF2-40B4-BE49-F238E27FC236}">
                <a16:creationId xmlns:a16="http://schemas.microsoft.com/office/drawing/2014/main" id="{1FC37CA7-551A-ECA1-3602-72149EDE0A35}"/>
              </a:ext>
            </a:extLst>
          </p:cNvPr>
          <p:cNvSpPr>
            <a:spLocks noGrp="1"/>
          </p:cNvSpPr>
          <p:nvPr>
            <p:ph type="body" sz="quarter" idx="17"/>
          </p:nvPr>
        </p:nvSpPr>
        <p:spPr/>
        <p:txBody>
          <a:bodyPr/>
          <a:lstStyle/>
          <a:p>
            <a:r>
              <a:rPr lang="en-US"/>
              <a:t>DATA SOURCE: Consumer Test | </a:t>
            </a:r>
            <a:r>
              <a:rPr lang="en-US">
                <a:highlight>
                  <a:srgbClr val="FFFF00"/>
                </a:highlight>
              </a:rPr>
              <a:t>Dec 2023</a:t>
            </a:r>
          </a:p>
        </p:txBody>
      </p:sp>
      <p:sp>
        <p:nvSpPr>
          <p:cNvPr id="5" name="Text Placeholder 4">
            <a:extLst>
              <a:ext uri="{FF2B5EF4-FFF2-40B4-BE49-F238E27FC236}">
                <a16:creationId xmlns:a16="http://schemas.microsoft.com/office/drawing/2014/main" id="{B22FF677-7330-F110-E8C4-FAE166EBDE03}"/>
              </a:ext>
            </a:extLst>
          </p:cNvPr>
          <p:cNvSpPr>
            <a:spLocks noGrp="1"/>
          </p:cNvSpPr>
          <p:nvPr>
            <p:ph type="body" sz="quarter" idx="18"/>
          </p:nvPr>
        </p:nvSpPr>
        <p:spPr/>
        <p:txBody>
          <a:bodyPr/>
          <a:lstStyle/>
          <a:p>
            <a:r>
              <a:rPr sz="1200" b="0" dirty="0">
                <a:solidFill>
                  <a:srgbClr val="00A097"/>
                </a:solidFill>
                <a:latin typeface="Nexa Bold (Headings)"/>
              </a:rPr>
              <a:t>Ranking SKUs when introducing each innovation one by one |</a:t>
            </a:r>
            <a:r>
              <a:rPr lang="en-US" sz="1200" b="0" dirty="0">
                <a:solidFill>
                  <a:srgbClr val="00A097"/>
                </a:solidFill>
                <a:latin typeface="Nexa Bold (Headings)"/>
              </a:rPr>
              <a:t> </a:t>
            </a:r>
            <a:r>
              <a:rPr lang="en-US" sz="1200" b="0" dirty="0">
                <a:solidFill>
                  <a:srgbClr val="00A097"/>
                </a:solidFill>
                <a:highlight>
                  <a:srgbClr val="FFFF00"/>
                </a:highlight>
                <a:latin typeface="Nexa Bold (Headings)"/>
              </a:rPr>
              <a:t>Panda</a:t>
            </a:r>
            <a:r>
              <a:rPr lang="en-US" sz="1200" b="0" dirty="0">
                <a:solidFill>
                  <a:srgbClr val="00A097"/>
                </a:solidFill>
                <a:latin typeface="Nexa Bold (Headings)"/>
              </a:rPr>
              <a:t> | </a:t>
            </a:r>
            <a:r>
              <a:rPr sz="1200" b="0" dirty="0" err="1">
                <a:solidFill>
                  <a:srgbClr val="00A097"/>
                </a:solidFill>
                <a:highlight>
                  <a:srgbClr val="FFFF00"/>
                </a:highlight>
                <a:latin typeface="Nexa Bold (Headings)"/>
              </a:rPr>
              <a:t>Cookies'n</a:t>
            </a:r>
            <a:r>
              <a:rPr sz="1200" b="0" dirty="0">
                <a:solidFill>
                  <a:srgbClr val="00A097"/>
                </a:solidFill>
                <a:highlight>
                  <a:srgbClr val="FFFF00"/>
                </a:highlight>
                <a:latin typeface="Nexa Bold (Headings)"/>
              </a:rPr>
              <a:t> Creme</a:t>
            </a:r>
            <a:r>
              <a:rPr sz="1200" b="0" dirty="0">
                <a:solidFill>
                  <a:srgbClr val="00A097"/>
                </a:solidFill>
                <a:latin typeface="Nexa Bold (Headings)"/>
              </a:rPr>
              <a:t> innovation</a:t>
            </a:r>
            <a:endParaRPr lang="en-CH" dirty="0">
              <a:highlight>
                <a:srgbClr val="FFFF00"/>
              </a:highlight>
            </a:endParaRPr>
          </a:p>
        </p:txBody>
      </p:sp>
      <p:sp>
        <p:nvSpPr>
          <p:cNvPr id="8" name="Title 7">
            <a:extLst>
              <a:ext uri="{FF2B5EF4-FFF2-40B4-BE49-F238E27FC236}">
                <a16:creationId xmlns:a16="http://schemas.microsoft.com/office/drawing/2014/main" id="{507085F6-B6AB-BAB5-20D8-B8D77658C990}"/>
              </a:ext>
            </a:extLst>
          </p:cNvPr>
          <p:cNvSpPr>
            <a:spLocks noGrp="1"/>
          </p:cNvSpPr>
          <p:nvPr>
            <p:ph type="title"/>
          </p:nvPr>
        </p:nvSpPr>
        <p:spPr/>
        <p:txBody>
          <a:bodyPr vert="horz"/>
          <a:lstStyle/>
          <a:p>
            <a:r>
              <a:rPr lang="en-US" dirty="0"/>
              <a:t>Innovation ranking</a:t>
            </a:r>
            <a:r>
              <a:rPr lang="en-US" dirty="0">
                <a:solidFill>
                  <a:schemeClr val="bg2">
                    <a:lumMod val="90000"/>
                  </a:schemeClr>
                </a:solidFill>
                <a:latin typeface="+mj-lt"/>
              </a:rPr>
              <a:t> (Replace with SO WHAT)</a:t>
            </a:r>
            <a:endParaRPr lang="en-CH" dirty="0">
              <a:solidFill>
                <a:schemeClr val="tx1">
                  <a:lumMod val="40000"/>
                  <a:lumOff val="60000"/>
                </a:schemeClr>
              </a:solidFill>
            </a:endParaRPr>
          </a:p>
        </p:txBody>
      </p:sp>
      <p:graphicFrame>
        <p:nvGraphicFramePr>
          <p:cNvPr id="22" name="C3">
            <a:extLst>
              <a:ext uri="{FF2B5EF4-FFF2-40B4-BE49-F238E27FC236}">
                <a16:creationId xmlns:a16="http://schemas.microsoft.com/office/drawing/2014/main" id="{22072898-026F-B905-3F09-F0C8CEB2410B}"/>
              </a:ext>
            </a:extLst>
          </p:cNvPr>
          <p:cNvGraphicFramePr>
            <a:graphicFrameLocks/>
          </p:cNvGraphicFramePr>
          <p:nvPr>
            <p:extLst>
              <p:ext uri="{D42A27DB-BD31-4B8C-83A1-F6EECF244321}">
                <p14:modId xmlns:p14="http://schemas.microsoft.com/office/powerpoint/2010/main" val="1585756417"/>
              </p:ext>
            </p:extLst>
          </p:nvPr>
        </p:nvGraphicFramePr>
        <p:xfrm>
          <a:off x="2613976" y="2964741"/>
          <a:ext cx="5670000" cy="1764000"/>
        </p:xfrm>
        <a:graphic>
          <a:graphicData uri="http://schemas.openxmlformats.org/drawingml/2006/chart">
            <c:chart xmlns:c="http://schemas.openxmlformats.org/drawingml/2006/chart" xmlns:r="http://schemas.openxmlformats.org/officeDocument/2006/relationships" r:id="rId6"/>
          </a:graphicData>
        </a:graphic>
      </p:graphicFrame>
      <p:sp>
        <p:nvSpPr>
          <p:cNvPr id="7" name="TB5">
            <a:extLst>
              <a:ext uri="{FF2B5EF4-FFF2-40B4-BE49-F238E27FC236}">
                <a16:creationId xmlns:a16="http://schemas.microsoft.com/office/drawing/2014/main" id="{0C2B1F16-70EC-32A2-83A7-66CBB06F50CB}"/>
              </a:ext>
            </a:extLst>
          </p:cNvPr>
          <p:cNvSpPr txBox="1"/>
          <p:nvPr/>
        </p:nvSpPr>
        <p:spPr>
          <a:xfrm>
            <a:off x="2555874" y="4739972"/>
            <a:ext cx="6084125"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49" rtl="0" eaLnBrk="1" fontAlgn="auto" latinLnBrk="0" hangingPunct="1">
              <a:lnSpc>
                <a:spcPct val="100000"/>
              </a:lnSpc>
              <a:spcBef>
                <a:spcPts val="0"/>
              </a:spcBef>
              <a:spcAft>
                <a:spcPts val="0"/>
              </a:spcAft>
              <a:buClrTx/>
              <a:buSzTx/>
              <a:buFontTx/>
              <a:buNone/>
              <a:tabLst/>
              <a:defRPr/>
            </a:pPr>
            <a:r>
              <a:rPr kumimoji="0" sz="1000" b="0" i="0" u="none" strike="noStrike" kern="1200" cap="none" spc="0" normalizeH="0" baseline="0" noProof="0" dirty="0">
                <a:ln>
                  <a:noFill/>
                </a:ln>
                <a:solidFill>
                  <a:schemeClr val="tx2"/>
                </a:solidFill>
                <a:effectLst/>
                <a:uLnTx/>
                <a:uFillTx/>
                <a:latin typeface="Nexa Bold"/>
                <a:ea typeface="+mn-ea"/>
                <a:cs typeface="+mn-cs"/>
              </a:rPr>
              <a:t>SKU ranked by shares</a:t>
            </a:r>
            <a:endParaRPr kumimoji="0" lang="en-US" sz="1000" b="0" i="0" u="none" strike="noStrike" kern="1200" cap="none" spc="0" normalizeH="0" baseline="0" noProof="0" dirty="0">
              <a:ln>
                <a:noFill/>
              </a:ln>
              <a:solidFill>
                <a:schemeClr val="tx2"/>
              </a:solidFill>
              <a:effectLst/>
              <a:uLnTx/>
              <a:uFillTx/>
              <a:latin typeface="Nexa Bold" panose="00000800000000000000" pitchFamily="2" charset="0"/>
              <a:ea typeface="Open Sans" panose="020B0604020202020204" charset="0"/>
              <a:cs typeface="Open Sans" panose="020B0604020202020204" charset="0"/>
            </a:endParaRPr>
          </a:p>
        </p:txBody>
      </p:sp>
      <p:sp>
        <p:nvSpPr>
          <p:cNvPr id="6" name="Rectangle 5">
            <a:extLst>
              <a:ext uri="{FF2B5EF4-FFF2-40B4-BE49-F238E27FC236}">
                <a16:creationId xmlns:a16="http://schemas.microsoft.com/office/drawing/2014/main" id="{6A78CA1A-5A0E-C589-A245-33A898E6AFDA}"/>
              </a:ext>
            </a:extLst>
          </p:cNvPr>
          <p:cNvSpPr/>
          <p:nvPr/>
        </p:nvSpPr>
        <p:spPr>
          <a:xfrm>
            <a:off x="540000" y="1131888"/>
            <a:ext cx="2015873" cy="360808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05740" rtlCol="0" anchor="ctr"/>
          <a:lstStyle/>
          <a:p>
            <a:pPr marL="0" marR="0" lvl="0" indent="0" algn="l" defTabSz="685749" rtl="0" eaLnBrk="1" fontAlgn="auto" latinLnBrk="0" hangingPunct="1">
              <a:lnSpc>
                <a:spcPct val="100000"/>
              </a:lnSpc>
              <a:spcBef>
                <a:spcPts val="0"/>
              </a:spcBef>
              <a:spcAft>
                <a:spcPts val="0"/>
              </a:spcAft>
              <a:buClrTx/>
              <a:buSzTx/>
              <a:buFontTx/>
              <a:buNone/>
              <a:tabLst/>
              <a:defRPr/>
            </a:pPr>
            <a:endParaRPr kumimoji="0" lang="en-CH" sz="1200" b="0" i="0" u="none" strike="noStrike" kern="1200" cap="none" spc="0" normalizeH="0" baseline="0" noProof="0">
              <a:ln>
                <a:noFill/>
              </a:ln>
              <a:solidFill>
                <a:srgbClr val="575555"/>
              </a:solidFill>
              <a:effectLst/>
              <a:uLnTx/>
              <a:uFillTx/>
              <a:latin typeface="Nexa Book"/>
              <a:ea typeface="Open Sans" panose="020B0604020202020204" charset="0"/>
              <a:cs typeface="Open Sans" panose="020B0604020202020204" charset="0"/>
            </a:endParaRPr>
          </a:p>
        </p:txBody>
      </p:sp>
    </p:spTree>
    <p:extLst>
      <p:ext uri="{BB962C8B-B14F-4D97-AF65-F5344CB8AC3E}">
        <p14:creationId xmlns:p14="http://schemas.microsoft.com/office/powerpoint/2010/main" val="403474462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33A6171A-5777-4DCF-03ED-0823D8856A74}"/>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3" name="think-cell data - do not delete" hidden="1">
                        <a:extLst>
                          <a:ext uri="{FF2B5EF4-FFF2-40B4-BE49-F238E27FC236}">
                            <a16:creationId xmlns:a16="http://schemas.microsoft.com/office/drawing/2014/main" id="{33A6171A-5777-4DCF-03ED-0823D8856A74}"/>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353DFEAD-A1D1-6542-9D85-214A488D6167}"/>
              </a:ext>
            </a:extLst>
          </p:cNvPr>
          <p:cNvSpPr>
            <a:spLocks noGrp="1"/>
          </p:cNvSpPr>
          <p:nvPr>
            <p:ph type="dt" sz="half" idx="14"/>
          </p:nvPr>
        </p:nvSpPr>
        <p:spPr/>
        <p:txBody>
          <a:bodyPr/>
          <a:lstStyle/>
          <a:p>
            <a:pPr marL="0" marR="0" lvl="0" indent="0" algn="r" defTabSz="685732" rtl="0" eaLnBrk="1" fontAlgn="auto" latinLnBrk="0" hangingPunct="1">
              <a:lnSpc>
                <a:spcPct val="100000"/>
              </a:lnSpc>
              <a:spcBef>
                <a:spcPts val="0"/>
              </a:spcBef>
              <a:spcAft>
                <a:spcPts val="0"/>
              </a:spcAft>
              <a:buClrTx/>
              <a:buSzTx/>
              <a:buFontTx/>
              <a:buNone/>
              <a:tabLst/>
              <a:defRPr/>
            </a:pPr>
            <a:fld id="{4EB6B45F-B530-4BAF-9193-C42832625196}" type="datetime1">
              <a:rPr kumimoji="0" lang="en-US" sz="4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mn-cs"/>
              </a:rPr>
              <a:pPr marL="0" marR="0" lvl="0" indent="0" algn="r" defTabSz="685732" rtl="0" eaLnBrk="1" fontAlgn="auto" latinLnBrk="0" hangingPunct="1">
                <a:lnSpc>
                  <a:spcPct val="100000"/>
                </a:lnSpc>
                <a:spcBef>
                  <a:spcPts val="0"/>
                </a:spcBef>
                <a:spcAft>
                  <a:spcPts val="0"/>
                </a:spcAft>
                <a:buClrTx/>
                <a:buSzTx/>
                <a:buFontTx/>
                <a:buNone/>
                <a:tabLst/>
                <a:defRPr/>
              </a:pPr>
              <a:t>7/8/2024</a:t>
            </a:fld>
            <a:endParaRPr kumimoji="0" lang="en-US" sz="400" b="0" i="0" u="none" strike="noStrike" kern="1200" cap="none" spc="0" normalizeH="0" baseline="0" noProof="0" dirty="0">
              <a:ln>
                <a:noFill/>
              </a:ln>
              <a:solidFill>
                <a:srgbClr val="E6E5E5">
                  <a:lumMod val="50000"/>
                </a:srgbClr>
              </a:solidFill>
              <a:effectLst/>
              <a:uLnTx/>
              <a:uFillTx/>
              <a:latin typeface="Nexa Book" panose="00000400000000000000" pitchFamily="50" charset="0"/>
              <a:ea typeface="+mn-ea"/>
              <a:cs typeface="+mn-cs"/>
            </a:endParaRPr>
          </a:p>
        </p:txBody>
      </p:sp>
      <p:sp>
        <p:nvSpPr>
          <p:cNvPr id="10" name="Footer Placeholder 9">
            <a:extLst>
              <a:ext uri="{FF2B5EF4-FFF2-40B4-BE49-F238E27FC236}">
                <a16:creationId xmlns:a16="http://schemas.microsoft.com/office/drawing/2014/main" id="{D4D8DB3C-73BE-A102-A2BC-AABD486F1C28}"/>
              </a:ext>
            </a:extLst>
          </p:cNvPr>
          <p:cNvSpPr>
            <a:spLocks noGrp="1"/>
          </p:cNvSpPr>
          <p:nvPr>
            <p:ph type="ftr" sz="quarter" idx="15"/>
          </p:nvPr>
        </p:nvSpPr>
        <p:spPr/>
        <p:txBody>
          <a:bodyPr/>
          <a:lstStyle/>
          <a:p>
            <a:pPr marL="0" marR="0" lvl="0" indent="0" algn="ctr" defTabSz="685732" rtl="0" eaLnBrk="1" fontAlgn="auto" latinLnBrk="0" hangingPunct="1">
              <a:lnSpc>
                <a:spcPct val="100000"/>
              </a:lnSpc>
              <a:spcBef>
                <a:spcPts val="0"/>
              </a:spcBef>
              <a:spcAft>
                <a:spcPts val="0"/>
              </a:spcAft>
              <a:buClrTx/>
              <a:buSzTx/>
              <a:buFontTx/>
              <a:buNone/>
              <a:tabLst/>
              <a:defRPr/>
            </a:pPr>
            <a:endParaRPr kumimoji="0" lang="en-US" sz="400" b="0" i="0" u="none" strike="noStrike" kern="1200" cap="none" spc="0" normalizeH="0" baseline="0" noProof="0" dirty="0">
              <a:ln>
                <a:noFill/>
              </a:ln>
              <a:solidFill>
                <a:srgbClr val="E6E5E5">
                  <a:lumMod val="50000"/>
                </a:srgbClr>
              </a:solidFill>
              <a:effectLst/>
              <a:uLnTx/>
              <a:uFillTx/>
              <a:latin typeface="Nexa Book" panose="00000400000000000000" pitchFamily="50" charset="0"/>
              <a:ea typeface="+mn-ea"/>
              <a:cs typeface="+mn-cs"/>
            </a:endParaRPr>
          </a:p>
        </p:txBody>
      </p:sp>
      <p:sp>
        <p:nvSpPr>
          <p:cNvPr id="9" name="Slide Number Placeholder 8">
            <a:extLst>
              <a:ext uri="{FF2B5EF4-FFF2-40B4-BE49-F238E27FC236}">
                <a16:creationId xmlns:a16="http://schemas.microsoft.com/office/drawing/2014/main" id="{42790245-CC35-4A86-9084-F27F8D4F407E}"/>
              </a:ext>
            </a:extLst>
          </p:cNvPr>
          <p:cNvSpPr>
            <a:spLocks noGrp="1"/>
          </p:cNvSpPr>
          <p:nvPr>
            <p:ph type="sldNum" sz="quarter" idx="16"/>
          </p:nvPr>
        </p:nvSpPr>
        <p:spPr/>
        <p:txBody>
          <a:bodyPr/>
          <a:lstStyle/>
          <a:p>
            <a:pPr marL="0" marR="0" lvl="0" indent="0" algn="r" defTabSz="685732" rtl="0" eaLnBrk="1" fontAlgn="auto" latinLnBrk="0" hangingPunct="1">
              <a:lnSpc>
                <a:spcPct val="100000"/>
              </a:lnSpc>
              <a:spcBef>
                <a:spcPts val="0"/>
              </a:spcBef>
              <a:spcAft>
                <a:spcPts val="0"/>
              </a:spcAft>
              <a:buClrTx/>
              <a:buSzTx/>
              <a:buFontTx/>
              <a:buNone/>
              <a:tabLst/>
              <a:defRPr/>
            </a:pPr>
            <a:fld id="{7B1F438D-4EAF-094E-9162-80CF3EF77236}" type="slidenum">
              <a:rPr kumimoji="0" lang="en-US" sz="4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pPr marL="0" marR="0" lvl="0" indent="0" algn="r" defTabSz="685732" rtl="0" eaLnBrk="1" fontAlgn="auto" latinLnBrk="0" hangingPunct="1">
                <a:lnSpc>
                  <a:spcPct val="100000"/>
                </a:lnSpc>
                <a:spcBef>
                  <a:spcPts val="0"/>
                </a:spcBef>
                <a:spcAft>
                  <a:spcPts val="0"/>
                </a:spcAft>
                <a:buClrTx/>
                <a:buSzTx/>
                <a:buFontTx/>
                <a:buNone/>
                <a:tabLst/>
                <a:defRPr/>
              </a:pPr>
              <a:t>10</a:t>
            </a:fld>
            <a:endParaRPr kumimoji="0" lang="en-US" sz="4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8" name="Text Placeholder 7">
            <a:extLst>
              <a:ext uri="{FF2B5EF4-FFF2-40B4-BE49-F238E27FC236}">
                <a16:creationId xmlns:a16="http://schemas.microsoft.com/office/drawing/2014/main" id="{0E3E615C-F877-449B-9D49-17526771E455}"/>
              </a:ext>
            </a:extLst>
          </p:cNvPr>
          <p:cNvSpPr>
            <a:spLocks noGrp="1"/>
          </p:cNvSpPr>
          <p:nvPr>
            <p:ph type="body" sz="quarter" idx="17"/>
          </p:nvPr>
        </p:nvSpPr>
        <p:spPr/>
        <p:txBody>
          <a:bodyPr/>
          <a:lstStyle/>
          <a:p>
            <a:r>
              <a:rPr lang="en-US" dirty="0"/>
              <a:t>DATA SOURCE: Consumer Test | </a:t>
            </a:r>
            <a:r>
              <a:rPr lang="en-US" dirty="0">
                <a:highlight>
                  <a:srgbClr val="FFFF00"/>
                </a:highlight>
              </a:rPr>
              <a:t>Dec 2023</a:t>
            </a:r>
          </a:p>
        </p:txBody>
      </p:sp>
      <p:sp>
        <p:nvSpPr>
          <p:cNvPr id="6" name="Text Placeholder 5">
            <a:extLst>
              <a:ext uri="{FF2B5EF4-FFF2-40B4-BE49-F238E27FC236}">
                <a16:creationId xmlns:a16="http://schemas.microsoft.com/office/drawing/2014/main" id="{D55134F6-EB04-3FE8-6CD7-5BDCFF545022}"/>
              </a:ext>
            </a:extLst>
          </p:cNvPr>
          <p:cNvSpPr>
            <a:spLocks noGrp="1"/>
          </p:cNvSpPr>
          <p:nvPr>
            <p:ph type="body" sz="quarter" idx="18"/>
          </p:nvPr>
        </p:nvSpPr>
        <p:spPr/>
        <p:txBody>
          <a:bodyPr/>
          <a:lstStyle/>
          <a:p>
            <a:r>
              <a:rPr dirty="0">
                <a:solidFill>
                  <a:srgbClr val="00A097"/>
                </a:solidFill>
              </a:rPr>
              <a:t>Innovation | Sourcing Analysis | Rescaled Delta Share by Product | </a:t>
            </a:r>
            <a:r>
              <a:rPr lang="en-US" dirty="0">
                <a:solidFill>
                  <a:srgbClr val="00A097"/>
                </a:solidFill>
                <a:highlight>
                  <a:srgbClr val="FFFF00"/>
                </a:highlight>
              </a:rPr>
              <a:t>Panda</a:t>
            </a:r>
            <a:r>
              <a:rPr lang="en-US" dirty="0">
                <a:solidFill>
                  <a:srgbClr val="00A097"/>
                </a:solidFill>
              </a:rPr>
              <a:t> | </a:t>
            </a:r>
            <a:r>
              <a:rPr dirty="0" err="1">
                <a:solidFill>
                  <a:srgbClr val="00A097"/>
                </a:solidFill>
                <a:highlight>
                  <a:srgbClr val="FFFF00"/>
                </a:highlight>
              </a:rPr>
              <a:t>Cookies'n</a:t>
            </a:r>
            <a:r>
              <a:rPr dirty="0">
                <a:solidFill>
                  <a:srgbClr val="00A097"/>
                </a:solidFill>
                <a:highlight>
                  <a:srgbClr val="FFFF00"/>
                </a:highlight>
              </a:rPr>
              <a:t> Creme</a:t>
            </a:r>
            <a:r>
              <a:rPr dirty="0">
                <a:solidFill>
                  <a:srgbClr val="00A097"/>
                </a:solidFill>
              </a:rPr>
              <a:t> innovation</a:t>
            </a:r>
            <a:endParaRPr lang="en-CH" dirty="0">
              <a:highlight>
                <a:srgbClr val="FFFF00"/>
              </a:highlight>
            </a:endParaRPr>
          </a:p>
        </p:txBody>
      </p:sp>
      <p:sp>
        <p:nvSpPr>
          <p:cNvPr id="5" name="Title 4">
            <a:extLst>
              <a:ext uri="{FF2B5EF4-FFF2-40B4-BE49-F238E27FC236}">
                <a16:creationId xmlns:a16="http://schemas.microsoft.com/office/drawing/2014/main" id="{395DB3D6-566A-6C68-BCB1-630B40CC6AF4}"/>
              </a:ext>
            </a:extLst>
          </p:cNvPr>
          <p:cNvSpPr>
            <a:spLocks noGrp="1"/>
          </p:cNvSpPr>
          <p:nvPr>
            <p:ph type="title"/>
          </p:nvPr>
        </p:nvSpPr>
        <p:spPr/>
        <p:txBody>
          <a:bodyPr vert="horz"/>
          <a:lstStyle/>
          <a:p>
            <a:r>
              <a:rPr lang="en-US" dirty="0"/>
              <a:t>Innovation sourcing</a:t>
            </a:r>
            <a:r>
              <a:rPr lang="en-US" dirty="0">
                <a:solidFill>
                  <a:schemeClr val="bg2">
                    <a:lumMod val="90000"/>
                  </a:schemeClr>
                </a:solidFill>
                <a:latin typeface="+mj-lt"/>
              </a:rPr>
              <a:t> (Replace with SO WHAT)</a:t>
            </a:r>
            <a:endParaRPr lang="en-CH" dirty="0">
              <a:solidFill>
                <a:schemeClr val="tx1">
                  <a:lumMod val="40000"/>
                  <a:lumOff val="60000"/>
                </a:schemeClr>
              </a:solidFill>
            </a:endParaRPr>
          </a:p>
        </p:txBody>
      </p:sp>
      <p:graphicFrame>
        <p:nvGraphicFramePr>
          <p:cNvPr id="2" name="T1">
            <a:extLst>
              <a:ext uri="{FF2B5EF4-FFF2-40B4-BE49-F238E27FC236}">
                <a16:creationId xmlns:a16="http://schemas.microsoft.com/office/drawing/2014/main" id="{4216B121-BA0E-42BE-B43F-95D8C12C9C2A}"/>
              </a:ext>
            </a:extLst>
          </p:cNvPr>
          <p:cNvGraphicFramePr>
            <a:graphicFrameLocks noGrp="1"/>
          </p:cNvGraphicFramePr>
          <p:nvPr>
            <p:ph idx="4294967295"/>
            <p:extLst>
              <p:ext uri="{D42A27DB-BD31-4B8C-83A1-F6EECF244321}">
                <p14:modId xmlns:p14="http://schemas.microsoft.com/office/powerpoint/2010/main" val="1231161196"/>
              </p:ext>
            </p:extLst>
          </p:nvPr>
        </p:nvGraphicFramePr>
        <p:xfrm>
          <a:off x="549286" y="1136016"/>
          <a:ext cx="7550114" cy="3658181"/>
        </p:xfrm>
        <a:graphic>
          <a:graphicData uri="http://schemas.openxmlformats.org/drawingml/2006/table">
            <a:tbl>
              <a:tblPr firstRow="1" bandRow="1">
                <a:tableStyleId>{5C22544A-7EE6-4342-B048-85BDC9FD1C3A}</a:tableStyleId>
              </a:tblPr>
              <a:tblGrid>
                <a:gridCol w="1629646">
                  <a:extLst>
                    <a:ext uri="{9D8B030D-6E8A-4147-A177-3AD203B41FA5}">
                      <a16:colId xmlns:a16="http://schemas.microsoft.com/office/drawing/2014/main" val="721526330"/>
                    </a:ext>
                  </a:extLst>
                </a:gridCol>
                <a:gridCol w="1480117">
                  <a:extLst>
                    <a:ext uri="{9D8B030D-6E8A-4147-A177-3AD203B41FA5}">
                      <a16:colId xmlns:a16="http://schemas.microsoft.com/office/drawing/2014/main" val="1048155142"/>
                    </a:ext>
                  </a:extLst>
                </a:gridCol>
                <a:gridCol w="1480117">
                  <a:extLst>
                    <a:ext uri="{9D8B030D-6E8A-4147-A177-3AD203B41FA5}">
                      <a16:colId xmlns:a16="http://schemas.microsoft.com/office/drawing/2014/main" val="2226225783"/>
                    </a:ext>
                  </a:extLst>
                </a:gridCol>
                <a:gridCol w="1480117">
                  <a:extLst>
                    <a:ext uri="{9D8B030D-6E8A-4147-A177-3AD203B41FA5}">
                      <a16:colId xmlns:a16="http://schemas.microsoft.com/office/drawing/2014/main" val="2541288816"/>
                    </a:ext>
                  </a:extLst>
                </a:gridCol>
                <a:gridCol w="1480117">
                  <a:extLst>
                    <a:ext uri="{9D8B030D-6E8A-4147-A177-3AD203B41FA5}">
                      <a16:colId xmlns:a16="http://schemas.microsoft.com/office/drawing/2014/main" val="1505432836"/>
                    </a:ext>
                  </a:extLst>
                </a:gridCol>
              </a:tblGrid>
              <a:tr h="500180">
                <a:tc>
                  <a:txBody>
                    <a:bodyPr/>
                    <a:lstStyle/>
                    <a:p>
                      <a:endParaRPr lang="en-US" sz="1200" b="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lnL w="12700" cmpd="sng">
                      <a:noFill/>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Hershey's Cookies 'n Creme Block 90g</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Hershey's Cookies 'n Creme Creations Salted Caramel 38g</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Hershey's Cookies 'n Creme 40Gx 4</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sz="800" b="0" dirty="0">
                        <a:solidFill>
                          <a:srgbClr val="575555"/>
                        </a:solidFill>
                        <a:latin typeface="Nexa Bold"/>
                      </a:endParaRP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79314632"/>
                  </a:ext>
                </a:extLst>
              </a:tr>
              <a:tr h="287091">
                <a:tc>
                  <a:txBody>
                    <a:bodyPr/>
                    <a:lstStyle/>
                    <a:p>
                      <a:pPr marL="0" indent="0" algn="l"/>
                      <a:r>
                        <a:rPr sz="700" dirty="0">
                          <a:solidFill>
                            <a:srgbClr val="575555"/>
                          </a:solidFill>
                          <a:latin typeface="Nexa Book"/>
                        </a:rPr>
                        <a:t>Galaxy Jewels 1.4kg</a:t>
                      </a:r>
                      <a:endParaRPr lang="it-IT" sz="600" dirty="0">
                        <a:solidFill>
                          <a:schemeClr val="tx2"/>
                        </a:solidFill>
                        <a:latin typeface="+mj-lt"/>
                        <a:ea typeface="Open Sans" panose="020B0606030504020204" pitchFamily="34" charset="0"/>
                        <a:cs typeface="Open Sans" panose="020B0606030504020204" pitchFamily="34" charset="0"/>
                      </a:endParaRP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dirty="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09896903"/>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Cadbury Dairy Milk Minis Selection 5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35418687"/>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Galaxy Jewels 9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55601717"/>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Galaxy Smooth Milk Chocolate 36g x 24</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03762638"/>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Galaxy Jewels 650g</a:t>
                      </a:r>
                      <a:endParaRPr kumimoji="0" lang="pl-PL"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dirty="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48513420"/>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Tiffany Break Mini Fun 384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32561583"/>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Mackintosh Quality Street Chocolate 6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87225186"/>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Tiffany Break 31gx12</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dirty="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17557293"/>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Ferrero Rocher 3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1933896"/>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Tiffany Break Supa 38gx12</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24532404"/>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Kinder Maxi Chocolate 21gx11 (10+1)</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dirty="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dirty="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dirty="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dirty="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79640701"/>
                  </a:ext>
                </a:extLst>
              </a:tr>
            </a:tbl>
          </a:graphicData>
        </a:graphic>
      </p:graphicFrame>
      <p:graphicFrame>
        <p:nvGraphicFramePr>
          <p:cNvPr id="22" name="C1">
            <a:extLst>
              <a:ext uri="{FF2B5EF4-FFF2-40B4-BE49-F238E27FC236}">
                <a16:creationId xmlns:a16="http://schemas.microsoft.com/office/drawing/2014/main" id="{4BD40146-997A-4DD8-9328-B245AE537396}"/>
              </a:ext>
            </a:extLst>
          </p:cNvPr>
          <p:cNvGraphicFramePr>
            <a:graphicFrameLocks/>
          </p:cNvGraphicFramePr>
          <p:nvPr>
            <p:extLst>
              <p:ext uri="{D42A27DB-BD31-4B8C-83A1-F6EECF244321}">
                <p14:modId xmlns:p14="http://schemas.microsoft.com/office/powerpoint/2010/main" val="2909960217"/>
              </p:ext>
            </p:extLst>
          </p:nvPr>
        </p:nvGraphicFramePr>
        <p:xfrm>
          <a:off x="2190609" y="1634201"/>
          <a:ext cx="1460728" cy="3178644"/>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23" name="C2">
            <a:extLst>
              <a:ext uri="{FF2B5EF4-FFF2-40B4-BE49-F238E27FC236}">
                <a16:creationId xmlns:a16="http://schemas.microsoft.com/office/drawing/2014/main" id="{CF549649-9D07-45BA-9997-BE52ED385C34}"/>
              </a:ext>
            </a:extLst>
          </p:cNvPr>
          <p:cNvGraphicFramePr>
            <a:graphicFrameLocks/>
          </p:cNvGraphicFramePr>
          <p:nvPr>
            <p:extLst>
              <p:ext uri="{D42A27DB-BD31-4B8C-83A1-F6EECF244321}">
                <p14:modId xmlns:p14="http://schemas.microsoft.com/office/powerpoint/2010/main" val="2894155712"/>
              </p:ext>
            </p:extLst>
          </p:nvPr>
        </p:nvGraphicFramePr>
        <p:xfrm>
          <a:off x="3661076" y="1633547"/>
          <a:ext cx="1474820" cy="3169979"/>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9" name="C3">
            <a:extLst>
              <a:ext uri="{FF2B5EF4-FFF2-40B4-BE49-F238E27FC236}">
                <a16:creationId xmlns:a16="http://schemas.microsoft.com/office/drawing/2014/main" id="{FC0D54D0-1ACD-4937-8BF6-259AC4A57D6A}"/>
              </a:ext>
            </a:extLst>
          </p:cNvPr>
          <p:cNvGraphicFramePr>
            <a:graphicFrameLocks/>
          </p:cNvGraphicFramePr>
          <p:nvPr>
            <p:extLst>
              <p:ext uri="{D42A27DB-BD31-4B8C-83A1-F6EECF244321}">
                <p14:modId xmlns:p14="http://schemas.microsoft.com/office/powerpoint/2010/main" val="1673221944"/>
              </p:ext>
            </p:extLst>
          </p:nvPr>
        </p:nvGraphicFramePr>
        <p:xfrm>
          <a:off x="5145635" y="1652194"/>
          <a:ext cx="1452171" cy="3156254"/>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7" name="C3">
            <a:extLst>
              <a:ext uri="{FF2B5EF4-FFF2-40B4-BE49-F238E27FC236}">
                <a16:creationId xmlns:a16="http://schemas.microsoft.com/office/drawing/2014/main" id="{BEBEDFFE-F504-857B-0EA5-AA5211D9DC3D}"/>
              </a:ext>
            </a:extLst>
          </p:cNvPr>
          <p:cNvGraphicFramePr>
            <a:graphicFrameLocks/>
          </p:cNvGraphicFramePr>
          <p:nvPr>
            <p:extLst>
              <p:ext uri="{D42A27DB-BD31-4B8C-83A1-F6EECF244321}">
                <p14:modId xmlns:p14="http://schemas.microsoft.com/office/powerpoint/2010/main" val="1431584632"/>
              </p:ext>
            </p:extLst>
          </p:nvPr>
        </p:nvGraphicFramePr>
        <p:xfrm>
          <a:off x="6607545" y="1642876"/>
          <a:ext cx="1474821" cy="3169969"/>
        </p:xfrm>
        <a:graphic>
          <a:graphicData uri="http://schemas.openxmlformats.org/drawingml/2006/chart">
            <c:chart xmlns:c="http://schemas.openxmlformats.org/drawingml/2006/chart" xmlns:r="http://schemas.openxmlformats.org/officeDocument/2006/relationships" r:id="rId8"/>
          </a:graphicData>
        </a:graphic>
      </p:graphicFrame>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292F2B9-FCC3-51EC-1602-8F8CE9B70D66}"/>
            </a:ext>
          </a:extLst>
        </p:cNvPr>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533B0C29-CE52-EE2C-EA0D-4D64A3FA800A}"/>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3" name="think-cell data - do not delete" hidden="1">
                        <a:extLst>
                          <a:ext uri="{FF2B5EF4-FFF2-40B4-BE49-F238E27FC236}">
                            <a16:creationId xmlns:a16="http://schemas.microsoft.com/office/drawing/2014/main" id="{533B0C29-CE52-EE2C-EA0D-4D64A3FA800A}"/>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E3B885DE-5812-A1FF-D5D5-AAE30C26AE0F}"/>
              </a:ext>
            </a:extLst>
          </p:cNvPr>
          <p:cNvSpPr>
            <a:spLocks noGrp="1"/>
          </p:cNvSpPr>
          <p:nvPr>
            <p:ph type="dt" sz="half" idx="14"/>
          </p:nvPr>
        </p:nvSpPr>
        <p:spPr/>
        <p:txBody>
          <a:bodyPr/>
          <a:lstStyle/>
          <a:p>
            <a:pPr marL="0" marR="0" lvl="0" indent="0" algn="r" defTabSz="685732" rtl="0" eaLnBrk="1" fontAlgn="auto" latinLnBrk="0" hangingPunct="1">
              <a:lnSpc>
                <a:spcPct val="100000"/>
              </a:lnSpc>
              <a:spcBef>
                <a:spcPts val="0"/>
              </a:spcBef>
              <a:spcAft>
                <a:spcPts val="0"/>
              </a:spcAft>
              <a:buClrTx/>
              <a:buSzTx/>
              <a:buFontTx/>
              <a:buNone/>
              <a:tabLst/>
              <a:defRPr/>
            </a:pPr>
            <a:fld id="{4EB6B45F-B530-4BAF-9193-C42832625196}" type="datetime1">
              <a:rPr kumimoji="0" lang="en-US" sz="4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mn-cs"/>
              </a:rPr>
              <a:pPr marL="0" marR="0" lvl="0" indent="0" algn="r" defTabSz="685732" rtl="0" eaLnBrk="1" fontAlgn="auto" latinLnBrk="0" hangingPunct="1">
                <a:lnSpc>
                  <a:spcPct val="100000"/>
                </a:lnSpc>
                <a:spcBef>
                  <a:spcPts val="0"/>
                </a:spcBef>
                <a:spcAft>
                  <a:spcPts val="0"/>
                </a:spcAft>
                <a:buClrTx/>
                <a:buSzTx/>
                <a:buFontTx/>
                <a:buNone/>
                <a:tabLst/>
                <a:defRPr/>
              </a:pPr>
              <a:t>7/8/2024</a:t>
            </a:fld>
            <a:endParaRPr kumimoji="0" lang="en-US" sz="400" b="0" i="0" u="none" strike="noStrike" kern="1200" cap="none" spc="0" normalizeH="0" baseline="0" noProof="0" dirty="0">
              <a:ln>
                <a:noFill/>
              </a:ln>
              <a:solidFill>
                <a:srgbClr val="E6E5E5">
                  <a:lumMod val="50000"/>
                </a:srgbClr>
              </a:solidFill>
              <a:effectLst/>
              <a:uLnTx/>
              <a:uFillTx/>
              <a:latin typeface="Nexa Book" panose="00000400000000000000" pitchFamily="50" charset="0"/>
              <a:ea typeface="+mn-ea"/>
              <a:cs typeface="+mn-cs"/>
            </a:endParaRPr>
          </a:p>
        </p:txBody>
      </p:sp>
      <p:sp>
        <p:nvSpPr>
          <p:cNvPr id="10" name="Footer Placeholder 9">
            <a:extLst>
              <a:ext uri="{FF2B5EF4-FFF2-40B4-BE49-F238E27FC236}">
                <a16:creationId xmlns:a16="http://schemas.microsoft.com/office/drawing/2014/main" id="{4CD7A7EA-97B1-EC24-D1EA-620139B1A1F3}"/>
              </a:ext>
            </a:extLst>
          </p:cNvPr>
          <p:cNvSpPr>
            <a:spLocks noGrp="1"/>
          </p:cNvSpPr>
          <p:nvPr>
            <p:ph type="ftr" sz="quarter" idx="15"/>
          </p:nvPr>
        </p:nvSpPr>
        <p:spPr/>
        <p:txBody>
          <a:bodyPr/>
          <a:lstStyle/>
          <a:p>
            <a:pPr marL="0" marR="0" lvl="0" indent="0" algn="ctr" defTabSz="685732" rtl="0" eaLnBrk="1" fontAlgn="auto" latinLnBrk="0" hangingPunct="1">
              <a:lnSpc>
                <a:spcPct val="100000"/>
              </a:lnSpc>
              <a:spcBef>
                <a:spcPts val="0"/>
              </a:spcBef>
              <a:spcAft>
                <a:spcPts val="0"/>
              </a:spcAft>
              <a:buClrTx/>
              <a:buSzTx/>
              <a:buFontTx/>
              <a:buNone/>
              <a:tabLst/>
              <a:defRPr/>
            </a:pPr>
            <a:endParaRPr kumimoji="0" lang="en-US" sz="400" b="0" i="0" u="none" strike="noStrike" kern="1200" cap="none" spc="0" normalizeH="0" baseline="0" noProof="0" dirty="0">
              <a:ln>
                <a:noFill/>
              </a:ln>
              <a:solidFill>
                <a:srgbClr val="E6E5E5">
                  <a:lumMod val="50000"/>
                </a:srgbClr>
              </a:solidFill>
              <a:effectLst/>
              <a:uLnTx/>
              <a:uFillTx/>
              <a:latin typeface="Nexa Book" panose="00000400000000000000" pitchFamily="50" charset="0"/>
              <a:ea typeface="+mn-ea"/>
              <a:cs typeface="+mn-cs"/>
            </a:endParaRPr>
          </a:p>
        </p:txBody>
      </p:sp>
      <p:sp>
        <p:nvSpPr>
          <p:cNvPr id="9" name="Slide Number Placeholder 8">
            <a:extLst>
              <a:ext uri="{FF2B5EF4-FFF2-40B4-BE49-F238E27FC236}">
                <a16:creationId xmlns:a16="http://schemas.microsoft.com/office/drawing/2014/main" id="{7FF6827D-FEE7-E299-93A9-712D1CBBCE86}"/>
              </a:ext>
            </a:extLst>
          </p:cNvPr>
          <p:cNvSpPr>
            <a:spLocks noGrp="1"/>
          </p:cNvSpPr>
          <p:nvPr>
            <p:ph type="sldNum" sz="quarter" idx="16"/>
          </p:nvPr>
        </p:nvSpPr>
        <p:spPr/>
        <p:txBody>
          <a:bodyPr/>
          <a:lstStyle/>
          <a:p>
            <a:pPr marL="0" marR="0" lvl="0" indent="0" algn="r" defTabSz="685732" rtl="0" eaLnBrk="1" fontAlgn="auto" latinLnBrk="0" hangingPunct="1">
              <a:lnSpc>
                <a:spcPct val="100000"/>
              </a:lnSpc>
              <a:spcBef>
                <a:spcPts val="0"/>
              </a:spcBef>
              <a:spcAft>
                <a:spcPts val="0"/>
              </a:spcAft>
              <a:buClrTx/>
              <a:buSzTx/>
              <a:buFontTx/>
              <a:buNone/>
              <a:tabLst/>
              <a:defRPr/>
            </a:pPr>
            <a:fld id="{7B1F438D-4EAF-094E-9162-80CF3EF77236}" type="slidenum">
              <a:rPr kumimoji="0" lang="en-US" sz="4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pPr marL="0" marR="0" lvl="0" indent="0" algn="r" defTabSz="685732" rtl="0" eaLnBrk="1" fontAlgn="auto" latinLnBrk="0" hangingPunct="1">
                <a:lnSpc>
                  <a:spcPct val="100000"/>
                </a:lnSpc>
                <a:spcBef>
                  <a:spcPts val="0"/>
                </a:spcBef>
                <a:spcAft>
                  <a:spcPts val="0"/>
                </a:spcAft>
                <a:buClrTx/>
                <a:buSzTx/>
                <a:buFontTx/>
                <a:buNone/>
                <a:tabLst/>
                <a:defRPr/>
              </a:pPr>
              <a:t>11</a:t>
            </a:fld>
            <a:endParaRPr kumimoji="0" lang="en-US" sz="4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8" name="Text Placeholder 7">
            <a:extLst>
              <a:ext uri="{FF2B5EF4-FFF2-40B4-BE49-F238E27FC236}">
                <a16:creationId xmlns:a16="http://schemas.microsoft.com/office/drawing/2014/main" id="{42B4D939-5D3D-8B34-3B7D-18D1F39775DD}"/>
              </a:ext>
            </a:extLst>
          </p:cNvPr>
          <p:cNvSpPr>
            <a:spLocks noGrp="1"/>
          </p:cNvSpPr>
          <p:nvPr>
            <p:ph type="body" sz="quarter" idx="17"/>
          </p:nvPr>
        </p:nvSpPr>
        <p:spPr/>
        <p:txBody>
          <a:bodyPr/>
          <a:lstStyle/>
          <a:p>
            <a:r>
              <a:rPr lang="en-US" dirty="0"/>
              <a:t>DATA SOURCE: Consumer Test | </a:t>
            </a:r>
            <a:r>
              <a:rPr lang="en-US" dirty="0">
                <a:highlight>
                  <a:srgbClr val="FFFF00"/>
                </a:highlight>
              </a:rPr>
              <a:t>Dec 2023</a:t>
            </a:r>
          </a:p>
        </p:txBody>
      </p:sp>
      <p:sp>
        <p:nvSpPr>
          <p:cNvPr id="6" name="Text Placeholder 5">
            <a:extLst>
              <a:ext uri="{FF2B5EF4-FFF2-40B4-BE49-F238E27FC236}">
                <a16:creationId xmlns:a16="http://schemas.microsoft.com/office/drawing/2014/main" id="{6F44156A-3756-5B46-9ED8-AE8DE089015E}"/>
              </a:ext>
            </a:extLst>
          </p:cNvPr>
          <p:cNvSpPr>
            <a:spLocks noGrp="1"/>
          </p:cNvSpPr>
          <p:nvPr>
            <p:ph type="body" sz="quarter" idx="18"/>
          </p:nvPr>
        </p:nvSpPr>
        <p:spPr/>
        <p:txBody>
          <a:bodyPr/>
          <a:lstStyle/>
          <a:p>
            <a:r>
              <a:rPr dirty="0">
                <a:solidFill>
                  <a:srgbClr val="00A097"/>
                </a:solidFill>
              </a:rPr>
              <a:t>Innovation | Sourcing Analysis | Rescaled Delta Share by Product | </a:t>
            </a:r>
            <a:r>
              <a:rPr lang="en-US" dirty="0">
                <a:solidFill>
                  <a:srgbClr val="00A097"/>
                </a:solidFill>
                <a:highlight>
                  <a:srgbClr val="FFFF00"/>
                </a:highlight>
              </a:rPr>
              <a:t>Panda</a:t>
            </a:r>
            <a:r>
              <a:rPr lang="en-US" dirty="0">
                <a:solidFill>
                  <a:srgbClr val="00A097"/>
                </a:solidFill>
              </a:rPr>
              <a:t> | </a:t>
            </a:r>
            <a:r>
              <a:rPr dirty="0" err="1">
                <a:solidFill>
                  <a:srgbClr val="00A097"/>
                </a:solidFill>
                <a:highlight>
                  <a:srgbClr val="FFFF00"/>
                </a:highlight>
              </a:rPr>
              <a:t>Cookies'n</a:t>
            </a:r>
            <a:r>
              <a:rPr dirty="0">
                <a:solidFill>
                  <a:srgbClr val="00A097"/>
                </a:solidFill>
                <a:highlight>
                  <a:srgbClr val="FFFF00"/>
                </a:highlight>
              </a:rPr>
              <a:t> Creme</a:t>
            </a:r>
            <a:r>
              <a:rPr dirty="0">
                <a:solidFill>
                  <a:srgbClr val="00A097"/>
                </a:solidFill>
              </a:rPr>
              <a:t> innovation</a:t>
            </a:r>
            <a:endParaRPr lang="en-CH" dirty="0">
              <a:highlight>
                <a:srgbClr val="FFFF00"/>
              </a:highlight>
            </a:endParaRPr>
          </a:p>
        </p:txBody>
      </p:sp>
      <p:sp>
        <p:nvSpPr>
          <p:cNvPr id="5" name="Title 4">
            <a:extLst>
              <a:ext uri="{FF2B5EF4-FFF2-40B4-BE49-F238E27FC236}">
                <a16:creationId xmlns:a16="http://schemas.microsoft.com/office/drawing/2014/main" id="{5D9B850F-E121-A787-119C-8A937BBEF7AE}"/>
              </a:ext>
            </a:extLst>
          </p:cNvPr>
          <p:cNvSpPr>
            <a:spLocks noGrp="1"/>
          </p:cNvSpPr>
          <p:nvPr>
            <p:ph type="title"/>
          </p:nvPr>
        </p:nvSpPr>
        <p:spPr/>
        <p:txBody>
          <a:bodyPr vert="horz"/>
          <a:lstStyle/>
          <a:p>
            <a:r>
              <a:rPr lang="en-US" dirty="0"/>
              <a:t>Innovation sourcing</a:t>
            </a:r>
            <a:r>
              <a:rPr lang="en-US" dirty="0">
                <a:solidFill>
                  <a:schemeClr val="bg2">
                    <a:lumMod val="90000"/>
                  </a:schemeClr>
                </a:solidFill>
                <a:latin typeface="+mj-lt"/>
              </a:rPr>
              <a:t> (Replace with SO WHAT)</a:t>
            </a:r>
            <a:endParaRPr lang="en-CH" dirty="0">
              <a:solidFill>
                <a:schemeClr val="tx1">
                  <a:lumMod val="40000"/>
                  <a:lumOff val="60000"/>
                </a:schemeClr>
              </a:solidFill>
            </a:endParaRPr>
          </a:p>
        </p:txBody>
      </p:sp>
      <p:graphicFrame>
        <p:nvGraphicFramePr>
          <p:cNvPr id="2" name="T1">
            <a:extLst>
              <a:ext uri="{FF2B5EF4-FFF2-40B4-BE49-F238E27FC236}">
                <a16:creationId xmlns:a16="http://schemas.microsoft.com/office/drawing/2014/main" id="{F1AB4E63-CA43-0DE4-2BCD-03CEFE08810A}"/>
              </a:ext>
            </a:extLst>
          </p:cNvPr>
          <p:cNvGraphicFramePr>
            <a:graphicFrameLocks noGrp="1"/>
          </p:cNvGraphicFramePr>
          <p:nvPr>
            <p:ph idx="4294967295"/>
            <p:extLst>
              <p:ext uri="{D42A27DB-BD31-4B8C-83A1-F6EECF244321}">
                <p14:modId xmlns:p14="http://schemas.microsoft.com/office/powerpoint/2010/main" val="1088904319"/>
              </p:ext>
            </p:extLst>
          </p:nvPr>
        </p:nvGraphicFramePr>
        <p:xfrm>
          <a:off x="549286" y="1126379"/>
          <a:ext cx="8103586" cy="3627480"/>
        </p:xfrm>
        <a:graphic>
          <a:graphicData uri="http://schemas.openxmlformats.org/drawingml/2006/table">
            <a:tbl>
              <a:tblPr firstRow="1" bandRow="1">
                <a:tableStyleId>{5C22544A-7EE6-4342-B048-85BDC9FD1C3A}</a:tableStyleId>
              </a:tblPr>
              <a:tblGrid>
                <a:gridCol w="1367176">
                  <a:extLst>
                    <a:ext uri="{9D8B030D-6E8A-4147-A177-3AD203B41FA5}">
                      <a16:colId xmlns:a16="http://schemas.microsoft.com/office/drawing/2014/main" val="721526330"/>
                    </a:ext>
                  </a:extLst>
                </a:gridCol>
                <a:gridCol w="1347282">
                  <a:extLst>
                    <a:ext uri="{9D8B030D-6E8A-4147-A177-3AD203B41FA5}">
                      <a16:colId xmlns:a16="http://schemas.microsoft.com/office/drawing/2014/main" val="1048155142"/>
                    </a:ext>
                  </a:extLst>
                </a:gridCol>
                <a:gridCol w="1347282">
                  <a:extLst>
                    <a:ext uri="{9D8B030D-6E8A-4147-A177-3AD203B41FA5}">
                      <a16:colId xmlns:a16="http://schemas.microsoft.com/office/drawing/2014/main" val="2226225783"/>
                    </a:ext>
                  </a:extLst>
                </a:gridCol>
                <a:gridCol w="1347282">
                  <a:extLst>
                    <a:ext uri="{9D8B030D-6E8A-4147-A177-3AD203B41FA5}">
                      <a16:colId xmlns:a16="http://schemas.microsoft.com/office/drawing/2014/main" val="2541288816"/>
                    </a:ext>
                  </a:extLst>
                </a:gridCol>
                <a:gridCol w="1347282">
                  <a:extLst>
                    <a:ext uri="{9D8B030D-6E8A-4147-A177-3AD203B41FA5}">
                      <a16:colId xmlns:a16="http://schemas.microsoft.com/office/drawing/2014/main" val="1505432836"/>
                    </a:ext>
                  </a:extLst>
                </a:gridCol>
                <a:gridCol w="1347282">
                  <a:extLst>
                    <a:ext uri="{9D8B030D-6E8A-4147-A177-3AD203B41FA5}">
                      <a16:colId xmlns:a16="http://schemas.microsoft.com/office/drawing/2014/main" val="4255120039"/>
                    </a:ext>
                  </a:extLst>
                </a:gridCol>
              </a:tblGrid>
              <a:tr h="526140">
                <a:tc>
                  <a:txBody>
                    <a:bodyPr/>
                    <a:lstStyle/>
                    <a:p>
                      <a:endParaRPr lang="en-US" sz="1200" b="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lnL w="12700" cmpd="sng">
                      <a:noFill/>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Hershey's Cookies 'n Creme Block 90g</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eme Creations Salted Caramel 38g</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Hershey's Cookies 'n Creme 40Gx 4</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sz="800" b="0" dirty="0">
                        <a:solidFill>
                          <a:srgbClr val="575555"/>
                        </a:solidFill>
                        <a:latin typeface="Nexa Bold"/>
                      </a:endParaRP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sz="800" b="0" dirty="0">
                        <a:solidFill>
                          <a:srgbClr val="575555"/>
                        </a:solidFill>
                        <a:latin typeface="Nexa Bold"/>
                      </a:endParaRP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79314632"/>
                  </a:ext>
                </a:extLst>
              </a:tr>
              <a:tr h="281940">
                <a:tc>
                  <a:txBody>
                    <a:bodyPr/>
                    <a:lstStyle/>
                    <a:p>
                      <a:pPr marL="0" indent="0" algn="l"/>
                      <a:r>
                        <a:rPr sz="700" dirty="0">
                          <a:solidFill>
                            <a:srgbClr val="575555"/>
                          </a:solidFill>
                          <a:latin typeface="Nexa Book"/>
                        </a:rPr>
                        <a:t>Galaxy Jewels 1.4kg</a:t>
                      </a:r>
                      <a:endParaRPr lang="it-IT" sz="600" dirty="0">
                        <a:solidFill>
                          <a:schemeClr val="tx2"/>
                        </a:solidFill>
                        <a:latin typeface="+mj-lt"/>
                        <a:ea typeface="Open Sans" panose="020B0606030504020204" pitchFamily="34" charset="0"/>
                        <a:cs typeface="Open Sans" panose="020B0606030504020204" pitchFamily="34" charset="0"/>
                      </a:endParaRP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dirty="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09896903"/>
                  </a:ext>
                </a:extLst>
              </a:tr>
              <a:tr h="2819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Cadbury Dairy Milk Minis Selection 5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35418687"/>
                  </a:ext>
                </a:extLst>
              </a:tr>
              <a:tr h="2819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Galaxy Jewels 9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dirty="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55601717"/>
                  </a:ext>
                </a:extLst>
              </a:tr>
              <a:tr h="2819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Galaxy Smooth Milk Chocolate 36g x 24</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dirty="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03762638"/>
                  </a:ext>
                </a:extLst>
              </a:tr>
              <a:tr h="2819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Galaxy Jewels 650g</a:t>
                      </a:r>
                      <a:endParaRPr kumimoji="0" lang="pl-PL"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dirty="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dirty="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48513420"/>
                  </a:ext>
                </a:extLst>
              </a:tr>
              <a:tr h="2819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Tiffany Break Mini Fun 384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dirty="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32561583"/>
                  </a:ext>
                </a:extLst>
              </a:tr>
              <a:tr h="2819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Mackintosh Quality Street Chocolate 6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87225186"/>
                  </a:ext>
                </a:extLst>
              </a:tr>
              <a:tr h="2819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Tiffany Break 31gx12</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17557293"/>
                  </a:ext>
                </a:extLst>
              </a:tr>
              <a:tr h="2819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Ferrero Rocher 3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1933896"/>
                  </a:ext>
                </a:extLst>
              </a:tr>
              <a:tr h="2819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Tiffany Break Supa 38gx12</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24532404"/>
                  </a:ext>
                </a:extLst>
              </a:tr>
              <a:tr h="2819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Kinder Maxi Chocolate 21gx11 (10+1)</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dirty="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dirty="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dirty="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dirty="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dirty="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79640701"/>
                  </a:ext>
                </a:extLst>
              </a:tr>
            </a:tbl>
          </a:graphicData>
        </a:graphic>
      </p:graphicFrame>
      <p:graphicFrame>
        <p:nvGraphicFramePr>
          <p:cNvPr id="22" name="C1">
            <a:extLst>
              <a:ext uri="{FF2B5EF4-FFF2-40B4-BE49-F238E27FC236}">
                <a16:creationId xmlns:a16="http://schemas.microsoft.com/office/drawing/2014/main" id="{1B4E0230-70DF-FBB8-3C43-4A6E5E5C0DAB}"/>
              </a:ext>
            </a:extLst>
          </p:cNvPr>
          <p:cNvGraphicFramePr>
            <a:graphicFrameLocks/>
          </p:cNvGraphicFramePr>
          <p:nvPr>
            <p:extLst>
              <p:ext uri="{D42A27DB-BD31-4B8C-83A1-F6EECF244321}">
                <p14:modId xmlns:p14="http://schemas.microsoft.com/office/powerpoint/2010/main" val="3847490285"/>
              </p:ext>
            </p:extLst>
          </p:nvPr>
        </p:nvGraphicFramePr>
        <p:xfrm>
          <a:off x="1902137" y="1641524"/>
          <a:ext cx="1338652" cy="3112335"/>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23" name="C2">
            <a:extLst>
              <a:ext uri="{FF2B5EF4-FFF2-40B4-BE49-F238E27FC236}">
                <a16:creationId xmlns:a16="http://schemas.microsoft.com/office/drawing/2014/main" id="{177BA88C-7FE0-133C-E7AA-CD3C0BA79FB5}"/>
              </a:ext>
            </a:extLst>
          </p:cNvPr>
          <p:cNvGraphicFramePr>
            <a:graphicFrameLocks/>
          </p:cNvGraphicFramePr>
          <p:nvPr>
            <p:extLst>
              <p:ext uri="{D42A27DB-BD31-4B8C-83A1-F6EECF244321}">
                <p14:modId xmlns:p14="http://schemas.microsoft.com/office/powerpoint/2010/main" val="1824567045"/>
              </p:ext>
            </p:extLst>
          </p:nvPr>
        </p:nvGraphicFramePr>
        <p:xfrm>
          <a:off x="3255920" y="1654264"/>
          <a:ext cx="1350651" cy="309959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9" name="C3">
            <a:extLst>
              <a:ext uri="{FF2B5EF4-FFF2-40B4-BE49-F238E27FC236}">
                <a16:creationId xmlns:a16="http://schemas.microsoft.com/office/drawing/2014/main" id="{FA661148-19FC-4183-EB96-B643E1024B86}"/>
              </a:ext>
            </a:extLst>
          </p:cNvPr>
          <p:cNvGraphicFramePr>
            <a:graphicFrameLocks/>
          </p:cNvGraphicFramePr>
          <p:nvPr>
            <p:extLst>
              <p:ext uri="{D42A27DB-BD31-4B8C-83A1-F6EECF244321}">
                <p14:modId xmlns:p14="http://schemas.microsoft.com/office/powerpoint/2010/main" val="1305638954"/>
              </p:ext>
            </p:extLst>
          </p:nvPr>
        </p:nvGraphicFramePr>
        <p:xfrm>
          <a:off x="4621702" y="1647766"/>
          <a:ext cx="1327980" cy="309985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7" name="C3">
            <a:extLst>
              <a:ext uri="{FF2B5EF4-FFF2-40B4-BE49-F238E27FC236}">
                <a16:creationId xmlns:a16="http://schemas.microsoft.com/office/drawing/2014/main" id="{625DF3AB-9F99-8CBC-84D4-D7B525D854D3}"/>
              </a:ext>
            </a:extLst>
          </p:cNvPr>
          <p:cNvGraphicFramePr>
            <a:graphicFrameLocks/>
          </p:cNvGraphicFramePr>
          <p:nvPr>
            <p:extLst>
              <p:ext uri="{D42A27DB-BD31-4B8C-83A1-F6EECF244321}">
                <p14:modId xmlns:p14="http://schemas.microsoft.com/office/powerpoint/2010/main" val="1662610767"/>
              </p:ext>
            </p:extLst>
          </p:nvPr>
        </p:nvGraphicFramePr>
        <p:xfrm>
          <a:off x="5964813" y="1641524"/>
          <a:ext cx="1349196" cy="3099595"/>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3" name="C3">
            <a:extLst>
              <a:ext uri="{FF2B5EF4-FFF2-40B4-BE49-F238E27FC236}">
                <a16:creationId xmlns:a16="http://schemas.microsoft.com/office/drawing/2014/main" id="{2E2410D1-ACAB-7F15-8422-1C631B4EF6C0}"/>
              </a:ext>
            </a:extLst>
          </p:cNvPr>
          <p:cNvGraphicFramePr>
            <a:graphicFrameLocks/>
          </p:cNvGraphicFramePr>
          <p:nvPr>
            <p:extLst>
              <p:ext uri="{D42A27DB-BD31-4B8C-83A1-F6EECF244321}">
                <p14:modId xmlns:p14="http://schemas.microsoft.com/office/powerpoint/2010/main" val="2441577951"/>
              </p:ext>
            </p:extLst>
          </p:nvPr>
        </p:nvGraphicFramePr>
        <p:xfrm>
          <a:off x="7329139" y="1660506"/>
          <a:ext cx="1310861" cy="3074371"/>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140793098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3256EE6-6844-ADAE-D65B-BF65FDBCFDB1}"/>
            </a:ext>
          </a:extLst>
        </p:cNvPr>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FE6C61A5-BB67-3CFF-AAEC-C5B407F9BE5B}"/>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3" name="think-cell data - do not delete" hidden="1">
                        <a:extLst>
                          <a:ext uri="{FF2B5EF4-FFF2-40B4-BE49-F238E27FC236}">
                            <a16:creationId xmlns:a16="http://schemas.microsoft.com/office/drawing/2014/main" id="{FE6C61A5-BB67-3CFF-AAEC-C5B407F9BE5B}"/>
                          </a:ext>
                        </a:extLst>
                      </p:cNvPr>
                      <p:cNvPicPr/>
                      <p:nvPr/>
                    </p:nvPicPr>
                    <p:blipFill>
                      <a:blip r:embed="rId5"/>
                      <a:stretch>
                        <a:fillRect/>
                      </a:stretch>
                    </p:blipFill>
                    <p:spPr>
                      <a:xfrm>
                        <a:off x="1193" y="1193"/>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AEBFE409-24F6-E620-8F78-658465BFA7B2}"/>
              </a:ext>
            </a:extLst>
          </p:cNvPr>
          <p:cNvSpPr>
            <a:spLocks noGrp="1"/>
          </p:cNvSpPr>
          <p:nvPr>
            <p:ph type="dt" sz="half" idx="14"/>
          </p:nvPr>
        </p:nvSpPr>
        <p:spPr/>
        <p:txBody>
          <a:bodyPr/>
          <a:lstStyle/>
          <a:p>
            <a:pPr marL="0" marR="0" lvl="0" indent="0" algn="r" defTabSz="685732" rtl="0" eaLnBrk="1" fontAlgn="auto" latinLnBrk="0" hangingPunct="1">
              <a:lnSpc>
                <a:spcPct val="100000"/>
              </a:lnSpc>
              <a:spcBef>
                <a:spcPts val="0"/>
              </a:spcBef>
              <a:spcAft>
                <a:spcPts val="0"/>
              </a:spcAft>
              <a:buClrTx/>
              <a:buSzTx/>
              <a:buFontTx/>
              <a:buNone/>
              <a:tabLst/>
              <a:defRPr/>
            </a:pPr>
            <a:fld id="{4EB6B45F-B530-4BAF-9193-C42832625196}" type="datetime1">
              <a:rPr kumimoji="0" lang="en-US" sz="4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mn-cs"/>
              </a:rPr>
              <a:pPr marL="0" marR="0" lvl="0" indent="0" algn="r" defTabSz="685732" rtl="0" eaLnBrk="1" fontAlgn="auto" latinLnBrk="0" hangingPunct="1">
                <a:lnSpc>
                  <a:spcPct val="100000"/>
                </a:lnSpc>
                <a:spcBef>
                  <a:spcPts val="0"/>
                </a:spcBef>
                <a:spcAft>
                  <a:spcPts val="0"/>
                </a:spcAft>
                <a:buClrTx/>
                <a:buSzTx/>
                <a:buFontTx/>
                <a:buNone/>
                <a:tabLst/>
                <a:defRPr/>
              </a:pPr>
              <a:t>7/8/2024</a:t>
            </a:fld>
            <a:endParaRPr kumimoji="0" lang="en-US" sz="400" b="0" i="0" u="none" strike="noStrike" kern="1200" cap="none" spc="0" normalizeH="0" baseline="0" noProof="0" dirty="0">
              <a:ln>
                <a:noFill/>
              </a:ln>
              <a:solidFill>
                <a:srgbClr val="E6E5E5">
                  <a:lumMod val="50000"/>
                </a:srgbClr>
              </a:solidFill>
              <a:effectLst/>
              <a:uLnTx/>
              <a:uFillTx/>
              <a:latin typeface="Nexa Book" panose="00000400000000000000" pitchFamily="50" charset="0"/>
              <a:ea typeface="+mn-ea"/>
              <a:cs typeface="+mn-cs"/>
            </a:endParaRPr>
          </a:p>
        </p:txBody>
      </p:sp>
      <p:sp>
        <p:nvSpPr>
          <p:cNvPr id="10" name="Footer Placeholder 9">
            <a:extLst>
              <a:ext uri="{FF2B5EF4-FFF2-40B4-BE49-F238E27FC236}">
                <a16:creationId xmlns:a16="http://schemas.microsoft.com/office/drawing/2014/main" id="{B08FA977-1FBB-139B-293F-73C765ADA995}"/>
              </a:ext>
            </a:extLst>
          </p:cNvPr>
          <p:cNvSpPr>
            <a:spLocks noGrp="1"/>
          </p:cNvSpPr>
          <p:nvPr>
            <p:ph type="ftr" sz="quarter" idx="15"/>
          </p:nvPr>
        </p:nvSpPr>
        <p:spPr/>
        <p:txBody>
          <a:bodyPr/>
          <a:lstStyle/>
          <a:p>
            <a:pPr marL="0" marR="0" lvl="0" indent="0" algn="ctr" defTabSz="685732" rtl="0" eaLnBrk="1" fontAlgn="auto" latinLnBrk="0" hangingPunct="1">
              <a:lnSpc>
                <a:spcPct val="100000"/>
              </a:lnSpc>
              <a:spcBef>
                <a:spcPts val="0"/>
              </a:spcBef>
              <a:spcAft>
                <a:spcPts val="0"/>
              </a:spcAft>
              <a:buClrTx/>
              <a:buSzTx/>
              <a:buFontTx/>
              <a:buNone/>
              <a:tabLst/>
              <a:defRPr/>
            </a:pPr>
            <a:endParaRPr kumimoji="0" lang="en-US" sz="400" b="0" i="0" u="none" strike="noStrike" kern="1200" cap="none" spc="0" normalizeH="0" baseline="0" noProof="0" dirty="0">
              <a:ln>
                <a:noFill/>
              </a:ln>
              <a:solidFill>
                <a:srgbClr val="E6E5E5">
                  <a:lumMod val="50000"/>
                </a:srgbClr>
              </a:solidFill>
              <a:effectLst/>
              <a:uLnTx/>
              <a:uFillTx/>
              <a:latin typeface="Nexa Book" panose="00000400000000000000" pitchFamily="50" charset="0"/>
              <a:ea typeface="+mn-ea"/>
              <a:cs typeface="+mn-cs"/>
            </a:endParaRPr>
          </a:p>
        </p:txBody>
      </p:sp>
      <p:sp>
        <p:nvSpPr>
          <p:cNvPr id="9" name="Slide Number Placeholder 8">
            <a:extLst>
              <a:ext uri="{FF2B5EF4-FFF2-40B4-BE49-F238E27FC236}">
                <a16:creationId xmlns:a16="http://schemas.microsoft.com/office/drawing/2014/main" id="{5C676BB0-ED51-B04B-985F-82A92E9E2BB1}"/>
              </a:ext>
            </a:extLst>
          </p:cNvPr>
          <p:cNvSpPr>
            <a:spLocks noGrp="1"/>
          </p:cNvSpPr>
          <p:nvPr>
            <p:ph type="sldNum" sz="quarter" idx="16"/>
          </p:nvPr>
        </p:nvSpPr>
        <p:spPr/>
        <p:txBody>
          <a:bodyPr/>
          <a:lstStyle/>
          <a:p>
            <a:pPr marL="0" marR="0" lvl="0" indent="0" algn="r" defTabSz="685732" rtl="0" eaLnBrk="1" fontAlgn="auto" latinLnBrk="0" hangingPunct="1">
              <a:lnSpc>
                <a:spcPct val="100000"/>
              </a:lnSpc>
              <a:spcBef>
                <a:spcPts val="0"/>
              </a:spcBef>
              <a:spcAft>
                <a:spcPts val="0"/>
              </a:spcAft>
              <a:buClrTx/>
              <a:buSzTx/>
              <a:buFontTx/>
              <a:buNone/>
              <a:tabLst/>
              <a:defRPr/>
            </a:pPr>
            <a:fld id="{7B1F438D-4EAF-094E-9162-80CF3EF77236}" type="slidenum">
              <a:rPr kumimoji="0" lang="en-US" sz="4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pPr marL="0" marR="0" lvl="0" indent="0" algn="r" defTabSz="685732" rtl="0" eaLnBrk="1" fontAlgn="auto" latinLnBrk="0" hangingPunct="1">
                <a:lnSpc>
                  <a:spcPct val="100000"/>
                </a:lnSpc>
                <a:spcBef>
                  <a:spcPts val="0"/>
                </a:spcBef>
                <a:spcAft>
                  <a:spcPts val="0"/>
                </a:spcAft>
                <a:buClrTx/>
                <a:buSzTx/>
                <a:buFontTx/>
                <a:buNone/>
                <a:tabLst/>
                <a:defRPr/>
              </a:pPr>
              <a:t>12</a:t>
            </a:fld>
            <a:endParaRPr kumimoji="0" lang="en-US" sz="4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8" name="Text Placeholder 7">
            <a:extLst>
              <a:ext uri="{FF2B5EF4-FFF2-40B4-BE49-F238E27FC236}">
                <a16:creationId xmlns:a16="http://schemas.microsoft.com/office/drawing/2014/main" id="{7F278F65-FEED-2AEE-8E61-4B3F22169F16}"/>
              </a:ext>
            </a:extLst>
          </p:cNvPr>
          <p:cNvSpPr>
            <a:spLocks noGrp="1"/>
          </p:cNvSpPr>
          <p:nvPr>
            <p:ph type="body" sz="quarter" idx="17"/>
          </p:nvPr>
        </p:nvSpPr>
        <p:spPr/>
        <p:txBody>
          <a:bodyPr/>
          <a:lstStyle/>
          <a:p>
            <a:r>
              <a:rPr lang="en-US" dirty="0"/>
              <a:t>DATA SOURCE: Consumer Test | </a:t>
            </a:r>
            <a:r>
              <a:rPr lang="en-US" dirty="0">
                <a:highlight>
                  <a:srgbClr val="FFFF00"/>
                </a:highlight>
              </a:rPr>
              <a:t>Dec 2023</a:t>
            </a:r>
          </a:p>
        </p:txBody>
      </p:sp>
      <p:sp>
        <p:nvSpPr>
          <p:cNvPr id="6" name="Text Placeholder 5">
            <a:extLst>
              <a:ext uri="{FF2B5EF4-FFF2-40B4-BE49-F238E27FC236}">
                <a16:creationId xmlns:a16="http://schemas.microsoft.com/office/drawing/2014/main" id="{8D16457D-A9FA-23F9-1F69-C570C36971F0}"/>
              </a:ext>
            </a:extLst>
          </p:cNvPr>
          <p:cNvSpPr>
            <a:spLocks noGrp="1"/>
          </p:cNvSpPr>
          <p:nvPr>
            <p:ph type="body" sz="quarter" idx="18"/>
          </p:nvPr>
        </p:nvSpPr>
        <p:spPr/>
        <p:txBody>
          <a:bodyPr/>
          <a:lstStyle/>
          <a:p>
            <a:r>
              <a:rPr dirty="0">
                <a:solidFill>
                  <a:srgbClr val="00A097"/>
                </a:solidFill>
              </a:rPr>
              <a:t>Innovation | Sourcing Analysis | Rescaled Delta Share by Product | </a:t>
            </a:r>
            <a:r>
              <a:rPr lang="en-US" dirty="0">
                <a:solidFill>
                  <a:srgbClr val="00A097"/>
                </a:solidFill>
                <a:highlight>
                  <a:srgbClr val="FFFF00"/>
                </a:highlight>
              </a:rPr>
              <a:t>Panda</a:t>
            </a:r>
            <a:r>
              <a:rPr lang="en-US" dirty="0">
                <a:solidFill>
                  <a:srgbClr val="00A097"/>
                </a:solidFill>
              </a:rPr>
              <a:t> | </a:t>
            </a:r>
            <a:r>
              <a:rPr dirty="0" err="1">
                <a:solidFill>
                  <a:srgbClr val="00A097"/>
                </a:solidFill>
                <a:highlight>
                  <a:srgbClr val="FFFF00"/>
                </a:highlight>
              </a:rPr>
              <a:t>Cookies'n</a:t>
            </a:r>
            <a:r>
              <a:rPr dirty="0">
                <a:solidFill>
                  <a:srgbClr val="00A097"/>
                </a:solidFill>
                <a:highlight>
                  <a:srgbClr val="FFFF00"/>
                </a:highlight>
              </a:rPr>
              <a:t> Creme</a:t>
            </a:r>
            <a:r>
              <a:rPr dirty="0">
                <a:solidFill>
                  <a:srgbClr val="00A097"/>
                </a:solidFill>
              </a:rPr>
              <a:t> innovation</a:t>
            </a:r>
            <a:endParaRPr lang="en-CH" dirty="0">
              <a:highlight>
                <a:srgbClr val="FFFF00"/>
              </a:highlight>
            </a:endParaRPr>
          </a:p>
        </p:txBody>
      </p:sp>
      <p:sp>
        <p:nvSpPr>
          <p:cNvPr id="5" name="Title 4">
            <a:extLst>
              <a:ext uri="{FF2B5EF4-FFF2-40B4-BE49-F238E27FC236}">
                <a16:creationId xmlns:a16="http://schemas.microsoft.com/office/drawing/2014/main" id="{8D8FB705-3681-77A6-1D5A-00F0A2EE9240}"/>
              </a:ext>
            </a:extLst>
          </p:cNvPr>
          <p:cNvSpPr>
            <a:spLocks noGrp="1"/>
          </p:cNvSpPr>
          <p:nvPr>
            <p:ph type="title"/>
          </p:nvPr>
        </p:nvSpPr>
        <p:spPr/>
        <p:txBody>
          <a:bodyPr vert="horz"/>
          <a:lstStyle/>
          <a:p>
            <a:r>
              <a:rPr lang="en-US" dirty="0"/>
              <a:t>Innovation sourcing</a:t>
            </a:r>
            <a:r>
              <a:rPr lang="en-US" dirty="0">
                <a:solidFill>
                  <a:schemeClr val="bg2">
                    <a:lumMod val="90000"/>
                  </a:schemeClr>
                </a:solidFill>
                <a:latin typeface="+mj-lt"/>
              </a:rPr>
              <a:t> (Replace with SO WHAT)</a:t>
            </a:r>
            <a:endParaRPr lang="en-CH" dirty="0">
              <a:solidFill>
                <a:schemeClr val="tx1">
                  <a:lumMod val="40000"/>
                  <a:lumOff val="60000"/>
                </a:schemeClr>
              </a:solidFill>
            </a:endParaRPr>
          </a:p>
        </p:txBody>
      </p:sp>
      <p:graphicFrame>
        <p:nvGraphicFramePr>
          <p:cNvPr id="2" name="T1">
            <a:extLst>
              <a:ext uri="{FF2B5EF4-FFF2-40B4-BE49-F238E27FC236}">
                <a16:creationId xmlns:a16="http://schemas.microsoft.com/office/drawing/2014/main" id="{ABB0CE06-6E20-098E-E05C-ADD5CB0C7479}"/>
              </a:ext>
            </a:extLst>
          </p:cNvPr>
          <p:cNvGraphicFramePr>
            <a:graphicFrameLocks noGrp="1"/>
          </p:cNvGraphicFramePr>
          <p:nvPr>
            <p:ph idx="4294967295"/>
            <p:extLst>
              <p:ext uri="{D42A27DB-BD31-4B8C-83A1-F6EECF244321}">
                <p14:modId xmlns:p14="http://schemas.microsoft.com/office/powerpoint/2010/main" val="4152501982"/>
              </p:ext>
            </p:extLst>
          </p:nvPr>
        </p:nvGraphicFramePr>
        <p:xfrm>
          <a:off x="551579" y="1131888"/>
          <a:ext cx="8078679" cy="3600453"/>
        </p:xfrm>
        <a:graphic>
          <a:graphicData uri="http://schemas.openxmlformats.org/drawingml/2006/table">
            <a:tbl>
              <a:tblPr firstRow="1" bandRow="1">
                <a:tableStyleId>{5C22544A-7EE6-4342-B048-85BDC9FD1C3A}</a:tableStyleId>
              </a:tblPr>
              <a:tblGrid>
                <a:gridCol w="1165347">
                  <a:extLst>
                    <a:ext uri="{9D8B030D-6E8A-4147-A177-3AD203B41FA5}">
                      <a16:colId xmlns:a16="http://schemas.microsoft.com/office/drawing/2014/main" val="721526330"/>
                    </a:ext>
                  </a:extLst>
                </a:gridCol>
                <a:gridCol w="1152222">
                  <a:extLst>
                    <a:ext uri="{9D8B030D-6E8A-4147-A177-3AD203B41FA5}">
                      <a16:colId xmlns:a16="http://schemas.microsoft.com/office/drawing/2014/main" val="1048155142"/>
                    </a:ext>
                  </a:extLst>
                </a:gridCol>
                <a:gridCol w="1152222">
                  <a:extLst>
                    <a:ext uri="{9D8B030D-6E8A-4147-A177-3AD203B41FA5}">
                      <a16:colId xmlns:a16="http://schemas.microsoft.com/office/drawing/2014/main" val="2226225783"/>
                    </a:ext>
                  </a:extLst>
                </a:gridCol>
                <a:gridCol w="1152222">
                  <a:extLst>
                    <a:ext uri="{9D8B030D-6E8A-4147-A177-3AD203B41FA5}">
                      <a16:colId xmlns:a16="http://schemas.microsoft.com/office/drawing/2014/main" val="2541288816"/>
                    </a:ext>
                  </a:extLst>
                </a:gridCol>
                <a:gridCol w="1152222">
                  <a:extLst>
                    <a:ext uri="{9D8B030D-6E8A-4147-A177-3AD203B41FA5}">
                      <a16:colId xmlns:a16="http://schemas.microsoft.com/office/drawing/2014/main" val="1505432836"/>
                    </a:ext>
                  </a:extLst>
                </a:gridCol>
                <a:gridCol w="1152222">
                  <a:extLst>
                    <a:ext uri="{9D8B030D-6E8A-4147-A177-3AD203B41FA5}">
                      <a16:colId xmlns:a16="http://schemas.microsoft.com/office/drawing/2014/main" val="4255120039"/>
                    </a:ext>
                  </a:extLst>
                </a:gridCol>
                <a:gridCol w="1152222">
                  <a:extLst>
                    <a:ext uri="{9D8B030D-6E8A-4147-A177-3AD203B41FA5}">
                      <a16:colId xmlns:a16="http://schemas.microsoft.com/office/drawing/2014/main" val="211537028"/>
                    </a:ext>
                  </a:extLst>
                </a:gridCol>
              </a:tblGrid>
              <a:tr h="700892">
                <a:tc>
                  <a:txBody>
                    <a:bodyPr/>
                    <a:lstStyle/>
                    <a:p>
                      <a:endParaRPr lang="en-US" sz="1200" b="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lnL w="12700" cmpd="sng">
                      <a:noFill/>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Hershey's Cookies 'n Creme Block 90g</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Hershey's Cookies 'n Creme Creations Salted Caramel 38g</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Hershey's Cookies 'n Creme 40Gx 4</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sz="800" b="0" dirty="0">
                        <a:solidFill>
                          <a:srgbClr val="575555"/>
                        </a:solidFill>
                        <a:latin typeface="Nexa Bold"/>
                      </a:endParaRP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sz="800" b="0" dirty="0">
                        <a:solidFill>
                          <a:srgbClr val="575555"/>
                        </a:solidFill>
                        <a:latin typeface="Nexa Bold"/>
                      </a:endParaRP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sz="800" b="0" dirty="0">
                        <a:solidFill>
                          <a:srgbClr val="575555"/>
                        </a:solidFill>
                        <a:latin typeface="Nexa Bold"/>
                      </a:endParaRP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79314632"/>
                  </a:ext>
                </a:extLst>
              </a:tr>
              <a:tr h="261614">
                <a:tc>
                  <a:txBody>
                    <a:bodyPr/>
                    <a:lstStyle/>
                    <a:p>
                      <a:pPr marL="0" indent="0" algn="l"/>
                      <a:r>
                        <a:rPr sz="700" dirty="0">
                          <a:solidFill>
                            <a:srgbClr val="575555"/>
                          </a:solidFill>
                          <a:latin typeface="Nexa Book"/>
                        </a:rPr>
                        <a:t>Galaxy Jewels 1.4kg</a:t>
                      </a:r>
                      <a:endParaRPr lang="it-IT" sz="600" dirty="0">
                        <a:solidFill>
                          <a:schemeClr val="tx2"/>
                        </a:solidFill>
                        <a:latin typeface="+mj-lt"/>
                        <a:ea typeface="Open Sans" panose="020B0606030504020204" pitchFamily="34" charset="0"/>
                        <a:cs typeface="Open Sans" panose="020B0606030504020204" pitchFamily="34" charset="0"/>
                      </a:endParaRP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dirty="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09896903"/>
                  </a:ext>
                </a:extLst>
              </a:tr>
              <a:tr h="28342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Cadbury Dairy Milk Minis Selection 5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35418687"/>
                  </a:ext>
                </a:extLst>
              </a:tr>
              <a:tr h="26161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Galaxy Jewels 9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55601717"/>
                  </a:ext>
                </a:extLst>
              </a:tr>
              <a:tr h="26161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Galaxy Smooth Milk Chocolate 36g x 24</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03762638"/>
                  </a:ext>
                </a:extLst>
              </a:tr>
              <a:tr h="26161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Galaxy Jewels 650g</a:t>
                      </a:r>
                      <a:endParaRPr kumimoji="0" lang="pl-PL"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dirty="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dirty="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48513420"/>
                  </a:ext>
                </a:extLst>
              </a:tr>
              <a:tr h="26161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Tiffany Break Mini Fun 384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dirty="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32561583"/>
                  </a:ext>
                </a:extLst>
              </a:tr>
              <a:tr h="26161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Mackintosh Quality Street Chocolate 6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87225186"/>
                  </a:ext>
                </a:extLst>
              </a:tr>
              <a:tr h="26161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Tiffany Break 31gx12</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17557293"/>
                  </a:ext>
                </a:extLst>
              </a:tr>
              <a:tr h="26161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Ferrero Rocher 3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1933896"/>
                  </a:ext>
                </a:extLst>
              </a:tr>
              <a:tr h="26161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Tiffany Break Supa 38gx12</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24532404"/>
                  </a:ext>
                </a:extLst>
              </a:tr>
              <a:tr h="26161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Kinder Maxi Chocolate 21gx11 (10+1)</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dirty="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dirty="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dirty="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dirty="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dirty="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dirty="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79640701"/>
                  </a:ext>
                </a:extLst>
              </a:tr>
            </a:tbl>
          </a:graphicData>
        </a:graphic>
      </p:graphicFrame>
      <p:graphicFrame>
        <p:nvGraphicFramePr>
          <p:cNvPr id="22" name="C1">
            <a:extLst>
              <a:ext uri="{FF2B5EF4-FFF2-40B4-BE49-F238E27FC236}">
                <a16:creationId xmlns:a16="http://schemas.microsoft.com/office/drawing/2014/main" id="{07EDBFD3-E8FE-CBD3-A252-05851805E6D6}"/>
              </a:ext>
            </a:extLst>
          </p:cNvPr>
          <p:cNvGraphicFramePr>
            <a:graphicFrameLocks/>
          </p:cNvGraphicFramePr>
          <p:nvPr>
            <p:extLst>
              <p:ext uri="{D42A27DB-BD31-4B8C-83A1-F6EECF244321}">
                <p14:modId xmlns:p14="http://schemas.microsoft.com/office/powerpoint/2010/main" val="2663597098"/>
              </p:ext>
            </p:extLst>
          </p:nvPr>
        </p:nvGraphicFramePr>
        <p:xfrm>
          <a:off x="1707745" y="1823155"/>
          <a:ext cx="1165006" cy="2909184"/>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3" name="C2">
            <a:extLst>
              <a:ext uri="{FF2B5EF4-FFF2-40B4-BE49-F238E27FC236}">
                <a16:creationId xmlns:a16="http://schemas.microsoft.com/office/drawing/2014/main" id="{6F740B06-9F4F-D345-1D64-30FF16B95D9B}"/>
              </a:ext>
            </a:extLst>
          </p:cNvPr>
          <p:cNvGraphicFramePr>
            <a:graphicFrameLocks/>
          </p:cNvGraphicFramePr>
          <p:nvPr>
            <p:extLst>
              <p:ext uri="{D42A27DB-BD31-4B8C-83A1-F6EECF244321}">
                <p14:modId xmlns:p14="http://schemas.microsoft.com/office/powerpoint/2010/main" val="154756606"/>
              </p:ext>
            </p:extLst>
          </p:nvPr>
        </p:nvGraphicFramePr>
        <p:xfrm>
          <a:off x="2872752" y="1823154"/>
          <a:ext cx="1149859" cy="2905956"/>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9" name="C3">
            <a:extLst>
              <a:ext uri="{FF2B5EF4-FFF2-40B4-BE49-F238E27FC236}">
                <a16:creationId xmlns:a16="http://schemas.microsoft.com/office/drawing/2014/main" id="{ED3A6695-EC0F-F473-E6DB-934459090868}"/>
              </a:ext>
            </a:extLst>
          </p:cNvPr>
          <p:cNvGraphicFramePr>
            <a:graphicFrameLocks/>
          </p:cNvGraphicFramePr>
          <p:nvPr>
            <p:extLst>
              <p:ext uri="{D42A27DB-BD31-4B8C-83A1-F6EECF244321}">
                <p14:modId xmlns:p14="http://schemas.microsoft.com/office/powerpoint/2010/main" val="79624803"/>
              </p:ext>
            </p:extLst>
          </p:nvPr>
        </p:nvGraphicFramePr>
        <p:xfrm>
          <a:off x="4032354" y="1836919"/>
          <a:ext cx="1134479" cy="2897187"/>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7" name="C3">
            <a:extLst>
              <a:ext uri="{FF2B5EF4-FFF2-40B4-BE49-F238E27FC236}">
                <a16:creationId xmlns:a16="http://schemas.microsoft.com/office/drawing/2014/main" id="{7005277E-EC31-BCAE-DD2C-8C26DA3F1564}"/>
              </a:ext>
            </a:extLst>
          </p:cNvPr>
          <p:cNvGraphicFramePr>
            <a:graphicFrameLocks/>
          </p:cNvGraphicFramePr>
          <p:nvPr>
            <p:extLst>
              <p:ext uri="{D42A27DB-BD31-4B8C-83A1-F6EECF244321}">
                <p14:modId xmlns:p14="http://schemas.microsoft.com/office/powerpoint/2010/main" val="84550468"/>
              </p:ext>
            </p:extLst>
          </p:nvPr>
        </p:nvGraphicFramePr>
        <p:xfrm>
          <a:off x="5166834" y="1840100"/>
          <a:ext cx="1159601" cy="2885911"/>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3" name="C3">
            <a:extLst>
              <a:ext uri="{FF2B5EF4-FFF2-40B4-BE49-F238E27FC236}">
                <a16:creationId xmlns:a16="http://schemas.microsoft.com/office/drawing/2014/main" id="{F98846D9-F4D9-93C9-8EDD-D5EBFF7D3C2B}"/>
              </a:ext>
            </a:extLst>
          </p:cNvPr>
          <p:cNvGraphicFramePr>
            <a:graphicFrameLocks/>
          </p:cNvGraphicFramePr>
          <p:nvPr>
            <p:extLst>
              <p:ext uri="{D42A27DB-BD31-4B8C-83A1-F6EECF244321}">
                <p14:modId xmlns:p14="http://schemas.microsoft.com/office/powerpoint/2010/main" val="3010252197"/>
              </p:ext>
            </p:extLst>
          </p:nvPr>
        </p:nvGraphicFramePr>
        <p:xfrm>
          <a:off x="6336178" y="1840101"/>
          <a:ext cx="1134478" cy="2905956"/>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1" name="C3">
            <a:extLst>
              <a:ext uri="{FF2B5EF4-FFF2-40B4-BE49-F238E27FC236}">
                <a16:creationId xmlns:a16="http://schemas.microsoft.com/office/drawing/2014/main" id="{1393AEEC-26E6-89D7-B052-0EF4E5565357}"/>
              </a:ext>
            </a:extLst>
          </p:cNvPr>
          <p:cNvGraphicFramePr>
            <a:graphicFrameLocks/>
          </p:cNvGraphicFramePr>
          <p:nvPr>
            <p:extLst>
              <p:ext uri="{D42A27DB-BD31-4B8C-83A1-F6EECF244321}">
                <p14:modId xmlns:p14="http://schemas.microsoft.com/office/powerpoint/2010/main" val="1868846063"/>
              </p:ext>
            </p:extLst>
          </p:nvPr>
        </p:nvGraphicFramePr>
        <p:xfrm>
          <a:off x="7470656" y="1840101"/>
          <a:ext cx="1169343" cy="289224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118884426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2A392020-34BE-7E4F-CB0C-D614C602BA77}"/>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2A392020-34BE-7E4F-CB0C-D614C602BA77}"/>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graphicFrame>
        <p:nvGraphicFramePr>
          <p:cNvPr id="14" name="C1">
            <a:extLst>
              <a:ext uri="{FF2B5EF4-FFF2-40B4-BE49-F238E27FC236}">
                <a16:creationId xmlns:a16="http://schemas.microsoft.com/office/drawing/2014/main" id="{B4888DEA-F240-4680-941B-EDA3D8F62C95}"/>
              </a:ext>
            </a:extLst>
          </p:cNvPr>
          <p:cNvGraphicFramePr>
            <a:graphicFrameLocks/>
          </p:cNvGraphicFramePr>
          <p:nvPr>
            <p:extLst>
              <p:ext uri="{D42A27DB-BD31-4B8C-83A1-F6EECF244321}">
                <p14:modId xmlns:p14="http://schemas.microsoft.com/office/powerpoint/2010/main" val="4073746458"/>
              </p:ext>
            </p:extLst>
          </p:nvPr>
        </p:nvGraphicFramePr>
        <p:xfrm>
          <a:off x="2613976" y="1135428"/>
          <a:ext cx="5670000" cy="1152000"/>
        </p:xfrm>
        <a:graphic>
          <a:graphicData uri="http://schemas.openxmlformats.org/drawingml/2006/chart">
            <c:chart xmlns:c="http://schemas.openxmlformats.org/drawingml/2006/chart" xmlns:r="http://schemas.openxmlformats.org/officeDocument/2006/relationships" r:id="rId5"/>
          </a:graphicData>
        </a:graphic>
      </p:graphicFrame>
      <p:sp>
        <p:nvSpPr>
          <p:cNvPr id="2" name="Date Placeholder 1">
            <a:extLst>
              <a:ext uri="{FF2B5EF4-FFF2-40B4-BE49-F238E27FC236}">
                <a16:creationId xmlns:a16="http://schemas.microsoft.com/office/drawing/2014/main" id="{7BAFCE58-B928-3000-639C-213EF4C510C1}"/>
              </a:ext>
            </a:extLst>
          </p:cNvPr>
          <p:cNvSpPr>
            <a:spLocks noGrp="1"/>
          </p:cNvSpPr>
          <p:nvPr>
            <p:ph type="dt" sz="half" idx="14"/>
          </p:nvPr>
        </p:nvSpPr>
        <p:spPr/>
        <p:txBody>
          <a:bodyPr/>
          <a:lstStyle/>
          <a:p>
            <a:pPr marL="0" marR="0" lvl="0" indent="0" algn="r" defTabSz="685749" rtl="0" eaLnBrk="1" fontAlgn="auto" latinLnBrk="0" hangingPunct="1">
              <a:lnSpc>
                <a:spcPct val="100000"/>
              </a:lnSpc>
              <a:spcBef>
                <a:spcPts val="0"/>
              </a:spcBef>
              <a:spcAft>
                <a:spcPts val="0"/>
              </a:spcAft>
              <a:buClrTx/>
              <a:buSzTx/>
              <a:buFontTx/>
              <a:buNone/>
              <a:tabLst/>
              <a:defRPr/>
            </a:pPr>
            <a:fld id="{F632CF21-2390-4A0B-8364-B2E9978807FB}" type="datetime1">
              <a:rPr kumimoji="0" lang="en-US" sz="4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mn-cs"/>
              </a:rPr>
              <a:pPr marL="0" marR="0" lvl="0" indent="0" algn="r" defTabSz="685749" rtl="0" eaLnBrk="1" fontAlgn="auto" latinLnBrk="0" hangingPunct="1">
                <a:lnSpc>
                  <a:spcPct val="100000"/>
                </a:lnSpc>
                <a:spcBef>
                  <a:spcPts val="0"/>
                </a:spcBef>
                <a:spcAft>
                  <a:spcPts val="0"/>
                </a:spcAft>
                <a:buClrTx/>
                <a:buSzTx/>
                <a:buFontTx/>
                <a:buNone/>
                <a:tabLst/>
                <a:defRPr/>
              </a:pPr>
              <a:t>7/8/2024</a:t>
            </a:fld>
            <a:endParaRPr kumimoji="0" lang="en-US" sz="4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mn-cs"/>
            </a:endParaRPr>
          </a:p>
        </p:txBody>
      </p:sp>
      <p:sp>
        <p:nvSpPr>
          <p:cNvPr id="4" name="Footer Placeholder 3">
            <a:extLst>
              <a:ext uri="{FF2B5EF4-FFF2-40B4-BE49-F238E27FC236}">
                <a16:creationId xmlns:a16="http://schemas.microsoft.com/office/drawing/2014/main" id="{2B2EEAAC-F86A-B5F2-1B6F-18475945AF9E}"/>
              </a:ext>
            </a:extLst>
          </p:cNvPr>
          <p:cNvSpPr>
            <a:spLocks noGrp="1"/>
          </p:cNvSpPr>
          <p:nvPr>
            <p:ph type="ftr" sz="quarter" idx="15"/>
          </p:nvPr>
        </p:nvSpPr>
        <p:spPr/>
        <p:txBody>
          <a:bodyPr/>
          <a:lstStyle/>
          <a:p>
            <a:pPr marL="0" marR="0" lvl="0" indent="0" algn="ctr" defTabSz="685749" rtl="0" eaLnBrk="1" fontAlgn="auto" latinLnBrk="0" hangingPunct="1">
              <a:lnSpc>
                <a:spcPct val="100000"/>
              </a:lnSpc>
              <a:spcBef>
                <a:spcPts val="0"/>
              </a:spcBef>
              <a:spcAft>
                <a:spcPts val="0"/>
              </a:spcAft>
              <a:buClrTx/>
              <a:buSzTx/>
              <a:buFontTx/>
              <a:buNone/>
              <a:tabLst/>
              <a:defRPr/>
            </a:pPr>
            <a:endParaRPr kumimoji="0" lang="en-US" sz="4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mn-cs"/>
            </a:endParaRPr>
          </a:p>
        </p:txBody>
      </p:sp>
      <p:sp>
        <p:nvSpPr>
          <p:cNvPr id="3" name="Slide Number Placeholder 2">
            <a:extLst>
              <a:ext uri="{FF2B5EF4-FFF2-40B4-BE49-F238E27FC236}">
                <a16:creationId xmlns:a16="http://schemas.microsoft.com/office/drawing/2014/main" id="{55F77E7A-3A20-B2EC-1A30-18BFB94B014F}"/>
              </a:ext>
            </a:extLst>
          </p:cNvPr>
          <p:cNvSpPr>
            <a:spLocks noGrp="1"/>
          </p:cNvSpPr>
          <p:nvPr>
            <p:ph type="sldNum" sz="quarter" idx="16"/>
          </p:nvPr>
        </p:nvSpPr>
        <p:spPr/>
        <p:txBody>
          <a:bodyPr/>
          <a:lstStyle/>
          <a:p>
            <a:pPr marL="0" marR="0" lvl="0" indent="0" algn="r" defTabSz="685749" rtl="0" eaLnBrk="1" fontAlgn="auto" latinLnBrk="0" hangingPunct="1">
              <a:lnSpc>
                <a:spcPct val="100000"/>
              </a:lnSpc>
              <a:spcBef>
                <a:spcPts val="0"/>
              </a:spcBef>
              <a:spcAft>
                <a:spcPts val="0"/>
              </a:spcAft>
              <a:buClrTx/>
              <a:buSzTx/>
              <a:buFontTx/>
              <a:buNone/>
              <a:tabLst/>
              <a:defRPr/>
            </a:pPr>
            <a:fld id="{7B1F438D-4EAF-094E-9162-80CF3EF77236}" type="slidenum">
              <a:rPr kumimoji="0" lang="en-US" sz="4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pPr marL="0" marR="0" lvl="0" indent="0" algn="r" defTabSz="685749" rtl="0" eaLnBrk="1" fontAlgn="auto" latinLnBrk="0" hangingPunct="1">
                <a:lnSpc>
                  <a:spcPct val="100000"/>
                </a:lnSpc>
                <a:spcBef>
                  <a:spcPts val="0"/>
                </a:spcBef>
                <a:spcAft>
                  <a:spcPts val="0"/>
                </a:spcAft>
                <a:buClrTx/>
                <a:buSzTx/>
                <a:buFontTx/>
                <a:buNone/>
                <a:tabLst/>
                <a:defRPr/>
              </a:pPr>
              <a:t>2</a:t>
            </a:fld>
            <a:endParaRPr kumimoji="0" lang="en-US" sz="4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0" name="Content Placeholder 9">
            <a:extLst>
              <a:ext uri="{FF2B5EF4-FFF2-40B4-BE49-F238E27FC236}">
                <a16:creationId xmlns:a16="http://schemas.microsoft.com/office/drawing/2014/main" id="{3928E358-746D-422B-A23D-47E23D386150}"/>
              </a:ext>
            </a:extLst>
          </p:cNvPr>
          <p:cNvSpPr>
            <a:spLocks noGrp="1"/>
          </p:cNvSpPr>
          <p:nvPr>
            <p:ph type="body" sz="quarter" idx="17"/>
          </p:nvPr>
        </p:nvSpPr>
        <p:spPr/>
        <p:txBody>
          <a:bodyPr/>
          <a:lstStyle/>
          <a:p>
            <a:r>
              <a:rPr lang="en-US"/>
              <a:t>DATA SOURCE: Consumer Test | </a:t>
            </a:r>
            <a:r>
              <a:rPr lang="en-US">
                <a:highlight>
                  <a:srgbClr val="FFFF00"/>
                </a:highlight>
              </a:rPr>
              <a:t>Dec 2023</a:t>
            </a:r>
          </a:p>
        </p:txBody>
      </p:sp>
      <p:sp>
        <p:nvSpPr>
          <p:cNvPr id="5" name="Text Placeholder 4">
            <a:extLst>
              <a:ext uri="{FF2B5EF4-FFF2-40B4-BE49-F238E27FC236}">
                <a16:creationId xmlns:a16="http://schemas.microsoft.com/office/drawing/2014/main" id="{A093B738-C3A2-BB70-12B8-3674E3A302F4}"/>
              </a:ext>
            </a:extLst>
          </p:cNvPr>
          <p:cNvSpPr>
            <a:spLocks noGrp="1"/>
          </p:cNvSpPr>
          <p:nvPr>
            <p:ph type="body" sz="quarter" idx="18"/>
          </p:nvPr>
        </p:nvSpPr>
        <p:spPr/>
        <p:txBody>
          <a:bodyPr/>
          <a:lstStyle/>
          <a:p>
            <a:r>
              <a:rPr sz="1200" b="0" dirty="0">
                <a:solidFill>
                  <a:srgbClr val="00A097"/>
                </a:solidFill>
                <a:latin typeface="Nexa Bold (Headings)"/>
              </a:rPr>
              <a:t>Ranking SKUs when introducing each innovation one by one |</a:t>
            </a:r>
            <a:r>
              <a:rPr lang="en-US" sz="1200" b="0" dirty="0">
                <a:solidFill>
                  <a:srgbClr val="00A097"/>
                </a:solidFill>
                <a:latin typeface="Nexa Bold (Headings)"/>
              </a:rPr>
              <a:t> </a:t>
            </a:r>
            <a:r>
              <a:rPr lang="en-US" sz="1200" b="0" dirty="0">
                <a:solidFill>
                  <a:srgbClr val="00A097"/>
                </a:solidFill>
                <a:highlight>
                  <a:srgbClr val="FFFF00"/>
                </a:highlight>
                <a:latin typeface="Nexa Bold (Headings)"/>
              </a:rPr>
              <a:t>Panda</a:t>
            </a:r>
            <a:r>
              <a:rPr lang="en-US" sz="1200" b="0" dirty="0">
                <a:solidFill>
                  <a:srgbClr val="00A097"/>
                </a:solidFill>
                <a:latin typeface="Nexa Bold (Headings)"/>
              </a:rPr>
              <a:t> | </a:t>
            </a:r>
            <a:r>
              <a:rPr sz="1200" b="0" dirty="0" err="1">
                <a:solidFill>
                  <a:srgbClr val="00A097"/>
                </a:solidFill>
                <a:highlight>
                  <a:srgbClr val="FFFF00"/>
                </a:highlight>
                <a:latin typeface="Nexa Bold (Headings)"/>
              </a:rPr>
              <a:t>Cookies'n</a:t>
            </a:r>
            <a:r>
              <a:rPr sz="1200" b="0" dirty="0">
                <a:solidFill>
                  <a:srgbClr val="00A097"/>
                </a:solidFill>
                <a:highlight>
                  <a:srgbClr val="FFFF00"/>
                </a:highlight>
                <a:latin typeface="Nexa Bold (Headings)"/>
              </a:rPr>
              <a:t> Creme</a:t>
            </a:r>
            <a:r>
              <a:rPr sz="1200" b="0" dirty="0">
                <a:solidFill>
                  <a:srgbClr val="00A097"/>
                </a:solidFill>
                <a:latin typeface="Nexa Bold (Headings)"/>
              </a:rPr>
              <a:t> innovation</a:t>
            </a:r>
            <a:endParaRPr lang="en-CH" dirty="0">
              <a:highlight>
                <a:srgbClr val="FFFF00"/>
              </a:highlight>
            </a:endParaRPr>
          </a:p>
        </p:txBody>
      </p:sp>
      <p:sp>
        <p:nvSpPr>
          <p:cNvPr id="8" name="Title 7">
            <a:extLst>
              <a:ext uri="{FF2B5EF4-FFF2-40B4-BE49-F238E27FC236}">
                <a16:creationId xmlns:a16="http://schemas.microsoft.com/office/drawing/2014/main" id="{F59A75B5-7023-411F-8B3F-C745A7BBA78D}"/>
              </a:ext>
            </a:extLst>
          </p:cNvPr>
          <p:cNvSpPr>
            <a:spLocks noGrp="1"/>
          </p:cNvSpPr>
          <p:nvPr>
            <p:ph type="title"/>
          </p:nvPr>
        </p:nvSpPr>
        <p:spPr/>
        <p:txBody>
          <a:bodyPr vert="horz"/>
          <a:lstStyle/>
          <a:p>
            <a:r>
              <a:rPr lang="en-US" dirty="0"/>
              <a:t>Innovation ranking</a:t>
            </a:r>
            <a:r>
              <a:rPr lang="en-US" dirty="0">
                <a:solidFill>
                  <a:schemeClr val="bg2">
                    <a:lumMod val="90000"/>
                  </a:schemeClr>
                </a:solidFill>
                <a:latin typeface="+mj-lt"/>
              </a:rPr>
              <a:t> (Replace with SO WHAT)</a:t>
            </a:r>
            <a:endParaRPr lang="en-CH" dirty="0">
              <a:solidFill>
                <a:schemeClr val="tx1">
                  <a:lumMod val="40000"/>
                  <a:lumOff val="60000"/>
                </a:schemeClr>
              </a:solidFill>
            </a:endParaRPr>
          </a:p>
        </p:txBody>
      </p:sp>
      <p:sp>
        <p:nvSpPr>
          <p:cNvPr id="26" name="Rectangle 25">
            <a:extLst>
              <a:ext uri="{FF2B5EF4-FFF2-40B4-BE49-F238E27FC236}">
                <a16:creationId xmlns:a16="http://schemas.microsoft.com/office/drawing/2014/main" id="{66175E8E-3D4B-4215-89AA-7D2E8F2D16C1}"/>
              </a:ext>
            </a:extLst>
          </p:cNvPr>
          <p:cNvSpPr/>
          <p:nvPr/>
        </p:nvSpPr>
        <p:spPr>
          <a:xfrm>
            <a:off x="540000" y="1131888"/>
            <a:ext cx="2015873" cy="360808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05740" rtlCol="0" anchor="ctr"/>
          <a:lstStyle/>
          <a:p>
            <a:pPr marL="0" marR="0" lvl="0" indent="0" algn="l" defTabSz="685749" rtl="0" eaLnBrk="1" fontAlgn="auto" latinLnBrk="0" hangingPunct="1">
              <a:lnSpc>
                <a:spcPct val="100000"/>
              </a:lnSpc>
              <a:spcBef>
                <a:spcPts val="0"/>
              </a:spcBef>
              <a:spcAft>
                <a:spcPts val="0"/>
              </a:spcAft>
              <a:buClrTx/>
              <a:buSzTx/>
              <a:buFontTx/>
              <a:buNone/>
              <a:tabLst/>
              <a:defRPr/>
            </a:pPr>
            <a:endParaRPr kumimoji="0" lang="en-CH" sz="1200" b="0" i="0" u="none" strike="noStrike" kern="1200" cap="none" spc="0" normalizeH="0" baseline="0" noProof="0">
              <a:ln>
                <a:noFill/>
              </a:ln>
              <a:solidFill>
                <a:srgbClr val="575555"/>
              </a:solidFill>
              <a:effectLst/>
              <a:uLnTx/>
              <a:uFillTx/>
              <a:latin typeface="Nexa Book"/>
              <a:ea typeface="Open Sans" panose="020B0604020202020204" charset="0"/>
              <a:cs typeface="Open Sans" panose="020B0604020202020204" charset="0"/>
            </a:endParaRPr>
          </a:p>
        </p:txBody>
      </p:sp>
      <p:graphicFrame>
        <p:nvGraphicFramePr>
          <p:cNvPr id="22" name="C3">
            <a:extLst>
              <a:ext uri="{FF2B5EF4-FFF2-40B4-BE49-F238E27FC236}">
                <a16:creationId xmlns:a16="http://schemas.microsoft.com/office/drawing/2014/main" id="{2321A35A-BA05-4371-B39B-137903A03986}"/>
              </a:ext>
            </a:extLst>
          </p:cNvPr>
          <p:cNvGraphicFramePr>
            <a:graphicFrameLocks/>
          </p:cNvGraphicFramePr>
          <p:nvPr>
            <p:extLst>
              <p:ext uri="{D42A27DB-BD31-4B8C-83A1-F6EECF244321}">
                <p14:modId xmlns:p14="http://schemas.microsoft.com/office/powerpoint/2010/main" val="551060688"/>
              </p:ext>
            </p:extLst>
          </p:nvPr>
        </p:nvGraphicFramePr>
        <p:xfrm>
          <a:off x="2613976" y="3576118"/>
          <a:ext cx="5670000" cy="1152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6" name="C2">
            <a:extLst>
              <a:ext uri="{FF2B5EF4-FFF2-40B4-BE49-F238E27FC236}">
                <a16:creationId xmlns:a16="http://schemas.microsoft.com/office/drawing/2014/main" id="{CE503607-E2DC-4D1E-8776-B5976E680F12}"/>
              </a:ext>
            </a:extLst>
          </p:cNvPr>
          <p:cNvGraphicFramePr>
            <a:graphicFrameLocks/>
          </p:cNvGraphicFramePr>
          <p:nvPr>
            <p:extLst>
              <p:ext uri="{D42A27DB-BD31-4B8C-83A1-F6EECF244321}">
                <p14:modId xmlns:p14="http://schemas.microsoft.com/office/powerpoint/2010/main" val="2779208185"/>
              </p:ext>
            </p:extLst>
          </p:nvPr>
        </p:nvGraphicFramePr>
        <p:xfrm>
          <a:off x="2613976" y="2356113"/>
          <a:ext cx="5670000" cy="1152000"/>
        </p:xfrm>
        <a:graphic>
          <a:graphicData uri="http://schemas.openxmlformats.org/drawingml/2006/chart">
            <c:chart xmlns:c="http://schemas.openxmlformats.org/drawingml/2006/chart" xmlns:r="http://schemas.openxmlformats.org/officeDocument/2006/relationships" r:id="rId7"/>
          </a:graphicData>
        </a:graphic>
      </p:graphicFrame>
      <p:sp>
        <p:nvSpPr>
          <p:cNvPr id="6" name="TB5">
            <a:extLst>
              <a:ext uri="{FF2B5EF4-FFF2-40B4-BE49-F238E27FC236}">
                <a16:creationId xmlns:a16="http://schemas.microsoft.com/office/drawing/2014/main" id="{5C89AF43-EDEB-B561-3415-641BFA6279D3}"/>
              </a:ext>
            </a:extLst>
          </p:cNvPr>
          <p:cNvSpPr txBox="1"/>
          <p:nvPr/>
        </p:nvSpPr>
        <p:spPr>
          <a:xfrm>
            <a:off x="2555874" y="4739972"/>
            <a:ext cx="6084125"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49" rtl="0" eaLnBrk="1" fontAlgn="auto" latinLnBrk="0" hangingPunct="1">
              <a:lnSpc>
                <a:spcPct val="100000"/>
              </a:lnSpc>
              <a:spcBef>
                <a:spcPts val="0"/>
              </a:spcBef>
              <a:spcAft>
                <a:spcPts val="0"/>
              </a:spcAft>
              <a:buClrTx/>
              <a:buSzTx/>
              <a:buFontTx/>
              <a:buNone/>
              <a:tabLst/>
              <a:defRPr/>
            </a:pPr>
            <a:r>
              <a:rPr kumimoji="0" sz="1000" b="0" i="0" u="none" strike="noStrike" kern="1200" cap="none" spc="0" normalizeH="0" baseline="0" noProof="0" dirty="0">
                <a:ln>
                  <a:noFill/>
                </a:ln>
                <a:solidFill>
                  <a:schemeClr val="tx2"/>
                </a:solidFill>
                <a:effectLst/>
                <a:uLnTx/>
                <a:uFillTx/>
                <a:latin typeface="Nexa Bold"/>
                <a:ea typeface="+mn-ea"/>
                <a:cs typeface="+mn-cs"/>
              </a:rPr>
              <a:t>SKU ranked by shares</a:t>
            </a:r>
            <a:endParaRPr kumimoji="0" lang="en-US" sz="1000" b="0" i="0" u="none" strike="noStrike" kern="1200" cap="none" spc="0" normalizeH="0" baseline="0" noProof="0" dirty="0">
              <a:ln>
                <a:noFill/>
              </a:ln>
              <a:solidFill>
                <a:schemeClr val="tx2"/>
              </a:solidFill>
              <a:effectLst/>
              <a:uLnTx/>
              <a:uFillTx/>
              <a:latin typeface="Nexa Bold" panose="00000800000000000000" pitchFamily="2" charset="0"/>
              <a:ea typeface="Open Sans" panose="020B0604020202020204" charset="0"/>
              <a:cs typeface="Open Sans" panose="020B0604020202020204" charset="0"/>
            </a:endParaRPr>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3882CF3-07C3-5811-DF5C-0ADE57B497D5}"/>
            </a:ext>
          </a:extLst>
        </p:cNvPr>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B895F6A-DA37-0273-2F5A-56592CFB476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1B895F6A-DA37-0273-2F5A-56592CFB476D}"/>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graphicFrame>
        <p:nvGraphicFramePr>
          <p:cNvPr id="14" name="C1">
            <a:extLst>
              <a:ext uri="{FF2B5EF4-FFF2-40B4-BE49-F238E27FC236}">
                <a16:creationId xmlns:a16="http://schemas.microsoft.com/office/drawing/2014/main" id="{9914753B-F47F-F88C-4CD7-4E3A13DBBE14}"/>
              </a:ext>
            </a:extLst>
          </p:cNvPr>
          <p:cNvGraphicFramePr>
            <a:graphicFrameLocks/>
          </p:cNvGraphicFramePr>
          <p:nvPr>
            <p:extLst>
              <p:ext uri="{D42A27DB-BD31-4B8C-83A1-F6EECF244321}">
                <p14:modId xmlns:p14="http://schemas.microsoft.com/office/powerpoint/2010/main" val="4159307223"/>
              </p:ext>
            </p:extLst>
          </p:nvPr>
        </p:nvGraphicFramePr>
        <p:xfrm>
          <a:off x="2613976" y="1138659"/>
          <a:ext cx="5670000" cy="864000"/>
        </p:xfrm>
        <a:graphic>
          <a:graphicData uri="http://schemas.openxmlformats.org/drawingml/2006/chart">
            <c:chart xmlns:c="http://schemas.openxmlformats.org/drawingml/2006/chart" xmlns:r="http://schemas.openxmlformats.org/officeDocument/2006/relationships" r:id="rId5"/>
          </a:graphicData>
        </a:graphic>
      </p:graphicFrame>
      <p:sp>
        <p:nvSpPr>
          <p:cNvPr id="2" name="Date Placeholder 1">
            <a:extLst>
              <a:ext uri="{FF2B5EF4-FFF2-40B4-BE49-F238E27FC236}">
                <a16:creationId xmlns:a16="http://schemas.microsoft.com/office/drawing/2014/main" id="{5AC3BDDE-DD90-6AE6-C90C-92067C67F6EA}"/>
              </a:ext>
            </a:extLst>
          </p:cNvPr>
          <p:cNvSpPr>
            <a:spLocks noGrp="1"/>
          </p:cNvSpPr>
          <p:nvPr>
            <p:ph type="dt" sz="half" idx="14"/>
          </p:nvPr>
        </p:nvSpPr>
        <p:spPr/>
        <p:txBody>
          <a:bodyPr/>
          <a:lstStyle/>
          <a:p>
            <a:pPr marL="0" marR="0" lvl="0" indent="0" algn="r" defTabSz="685749" rtl="0" eaLnBrk="1" fontAlgn="auto" latinLnBrk="0" hangingPunct="1">
              <a:lnSpc>
                <a:spcPct val="100000"/>
              </a:lnSpc>
              <a:spcBef>
                <a:spcPts val="0"/>
              </a:spcBef>
              <a:spcAft>
                <a:spcPts val="0"/>
              </a:spcAft>
              <a:buClrTx/>
              <a:buSzTx/>
              <a:buFontTx/>
              <a:buNone/>
              <a:tabLst/>
              <a:defRPr/>
            </a:pPr>
            <a:fld id="{F632CF21-2390-4A0B-8364-B2E9978807FB}" type="datetime1">
              <a:rPr kumimoji="0" lang="en-US" sz="4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mn-cs"/>
              </a:rPr>
              <a:pPr marL="0" marR="0" lvl="0" indent="0" algn="r" defTabSz="685749" rtl="0" eaLnBrk="1" fontAlgn="auto" latinLnBrk="0" hangingPunct="1">
                <a:lnSpc>
                  <a:spcPct val="100000"/>
                </a:lnSpc>
                <a:spcBef>
                  <a:spcPts val="0"/>
                </a:spcBef>
                <a:spcAft>
                  <a:spcPts val="0"/>
                </a:spcAft>
                <a:buClrTx/>
                <a:buSzTx/>
                <a:buFontTx/>
                <a:buNone/>
                <a:tabLst/>
                <a:defRPr/>
              </a:pPr>
              <a:t>7/8/2024</a:t>
            </a:fld>
            <a:endParaRPr kumimoji="0" lang="en-US" sz="4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mn-cs"/>
            </a:endParaRPr>
          </a:p>
        </p:txBody>
      </p:sp>
      <p:sp>
        <p:nvSpPr>
          <p:cNvPr id="4" name="Footer Placeholder 3">
            <a:extLst>
              <a:ext uri="{FF2B5EF4-FFF2-40B4-BE49-F238E27FC236}">
                <a16:creationId xmlns:a16="http://schemas.microsoft.com/office/drawing/2014/main" id="{88D7FFA9-1033-416E-3BF9-C48C853C07F2}"/>
              </a:ext>
            </a:extLst>
          </p:cNvPr>
          <p:cNvSpPr>
            <a:spLocks noGrp="1"/>
          </p:cNvSpPr>
          <p:nvPr>
            <p:ph type="ftr" sz="quarter" idx="15"/>
          </p:nvPr>
        </p:nvSpPr>
        <p:spPr/>
        <p:txBody>
          <a:bodyPr/>
          <a:lstStyle/>
          <a:p>
            <a:pPr marL="0" marR="0" lvl="0" indent="0" algn="ctr" defTabSz="685749" rtl="0" eaLnBrk="1" fontAlgn="auto" latinLnBrk="0" hangingPunct="1">
              <a:lnSpc>
                <a:spcPct val="100000"/>
              </a:lnSpc>
              <a:spcBef>
                <a:spcPts val="0"/>
              </a:spcBef>
              <a:spcAft>
                <a:spcPts val="0"/>
              </a:spcAft>
              <a:buClrTx/>
              <a:buSzTx/>
              <a:buFontTx/>
              <a:buNone/>
              <a:tabLst/>
              <a:defRPr/>
            </a:pPr>
            <a:endParaRPr kumimoji="0" lang="en-US" sz="4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mn-cs"/>
            </a:endParaRPr>
          </a:p>
        </p:txBody>
      </p:sp>
      <p:sp>
        <p:nvSpPr>
          <p:cNvPr id="3" name="Slide Number Placeholder 2">
            <a:extLst>
              <a:ext uri="{FF2B5EF4-FFF2-40B4-BE49-F238E27FC236}">
                <a16:creationId xmlns:a16="http://schemas.microsoft.com/office/drawing/2014/main" id="{574EE7FD-17DE-A000-51DD-64583C30B8C9}"/>
              </a:ext>
            </a:extLst>
          </p:cNvPr>
          <p:cNvSpPr>
            <a:spLocks noGrp="1"/>
          </p:cNvSpPr>
          <p:nvPr>
            <p:ph type="sldNum" sz="quarter" idx="16"/>
          </p:nvPr>
        </p:nvSpPr>
        <p:spPr/>
        <p:txBody>
          <a:bodyPr/>
          <a:lstStyle/>
          <a:p>
            <a:pPr marL="0" marR="0" lvl="0" indent="0" algn="r" defTabSz="685749" rtl="0" eaLnBrk="1" fontAlgn="auto" latinLnBrk="0" hangingPunct="1">
              <a:lnSpc>
                <a:spcPct val="100000"/>
              </a:lnSpc>
              <a:spcBef>
                <a:spcPts val="0"/>
              </a:spcBef>
              <a:spcAft>
                <a:spcPts val="0"/>
              </a:spcAft>
              <a:buClrTx/>
              <a:buSzTx/>
              <a:buFontTx/>
              <a:buNone/>
              <a:tabLst/>
              <a:defRPr/>
            </a:pPr>
            <a:fld id="{7B1F438D-4EAF-094E-9162-80CF3EF77236}" type="slidenum">
              <a:rPr kumimoji="0" lang="en-US" sz="4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pPr marL="0" marR="0" lvl="0" indent="0" algn="r" defTabSz="685749" rtl="0" eaLnBrk="1" fontAlgn="auto" latinLnBrk="0" hangingPunct="1">
                <a:lnSpc>
                  <a:spcPct val="100000"/>
                </a:lnSpc>
                <a:spcBef>
                  <a:spcPts val="0"/>
                </a:spcBef>
                <a:spcAft>
                  <a:spcPts val="0"/>
                </a:spcAft>
                <a:buClrTx/>
                <a:buSzTx/>
                <a:buFontTx/>
                <a:buNone/>
                <a:tabLst/>
                <a:defRPr/>
              </a:pPr>
              <a:t>3</a:t>
            </a:fld>
            <a:endParaRPr kumimoji="0" lang="en-US" sz="4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0" name="Content Placeholder 9">
            <a:extLst>
              <a:ext uri="{FF2B5EF4-FFF2-40B4-BE49-F238E27FC236}">
                <a16:creationId xmlns:a16="http://schemas.microsoft.com/office/drawing/2014/main" id="{57414DB4-DCD8-2D94-712C-A3B45ED42A7A}"/>
              </a:ext>
            </a:extLst>
          </p:cNvPr>
          <p:cNvSpPr>
            <a:spLocks noGrp="1"/>
          </p:cNvSpPr>
          <p:nvPr>
            <p:ph type="body" sz="quarter" idx="17"/>
          </p:nvPr>
        </p:nvSpPr>
        <p:spPr/>
        <p:txBody>
          <a:bodyPr/>
          <a:lstStyle/>
          <a:p>
            <a:r>
              <a:rPr lang="en-US"/>
              <a:t>DATA SOURCE: Consumer Test | </a:t>
            </a:r>
            <a:r>
              <a:rPr lang="en-US">
                <a:highlight>
                  <a:srgbClr val="FFFF00"/>
                </a:highlight>
              </a:rPr>
              <a:t>Dec 2023</a:t>
            </a:r>
          </a:p>
        </p:txBody>
      </p:sp>
      <p:sp>
        <p:nvSpPr>
          <p:cNvPr id="5" name="Text Placeholder 4">
            <a:extLst>
              <a:ext uri="{FF2B5EF4-FFF2-40B4-BE49-F238E27FC236}">
                <a16:creationId xmlns:a16="http://schemas.microsoft.com/office/drawing/2014/main" id="{F7BF4142-66D5-995D-7503-B6FC84F386AE}"/>
              </a:ext>
            </a:extLst>
          </p:cNvPr>
          <p:cNvSpPr>
            <a:spLocks noGrp="1"/>
          </p:cNvSpPr>
          <p:nvPr>
            <p:ph type="body" sz="quarter" idx="18"/>
          </p:nvPr>
        </p:nvSpPr>
        <p:spPr/>
        <p:txBody>
          <a:bodyPr/>
          <a:lstStyle/>
          <a:p>
            <a:r>
              <a:rPr sz="1200" b="0" dirty="0">
                <a:solidFill>
                  <a:srgbClr val="00A097"/>
                </a:solidFill>
                <a:latin typeface="Nexa Bold (Headings)"/>
              </a:rPr>
              <a:t>Ranking SKUs when introducing each innovation one by one |</a:t>
            </a:r>
            <a:r>
              <a:rPr lang="en-US" sz="1200" b="0" dirty="0">
                <a:solidFill>
                  <a:srgbClr val="00A097"/>
                </a:solidFill>
                <a:latin typeface="Nexa Bold (Headings)"/>
              </a:rPr>
              <a:t> </a:t>
            </a:r>
            <a:r>
              <a:rPr lang="en-US" sz="1200" b="0" dirty="0">
                <a:solidFill>
                  <a:srgbClr val="00A097"/>
                </a:solidFill>
                <a:highlight>
                  <a:srgbClr val="FFFF00"/>
                </a:highlight>
                <a:latin typeface="Nexa Bold (Headings)"/>
              </a:rPr>
              <a:t>Panda</a:t>
            </a:r>
            <a:r>
              <a:rPr lang="en-US" sz="1200" b="0" dirty="0">
                <a:solidFill>
                  <a:srgbClr val="00A097"/>
                </a:solidFill>
                <a:latin typeface="Nexa Bold (Headings)"/>
              </a:rPr>
              <a:t> | </a:t>
            </a:r>
            <a:r>
              <a:rPr sz="1200" b="0" dirty="0" err="1">
                <a:solidFill>
                  <a:srgbClr val="00A097"/>
                </a:solidFill>
                <a:highlight>
                  <a:srgbClr val="FFFF00"/>
                </a:highlight>
                <a:latin typeface="Nexa Bold (Headings)"/>
              </a:rPr>
              <a:t>Cookies'n</a:t>
            </a:r>
            <a:r>
              <a:rPr sz="1200" b="0" dirty="0">
                <a:solidFill>
                  <a:srgbClr val="00A097"/>
                </a:solidFill>
                <a:highlight>
                  <a:srgbClr val="FFFF00"/>
                </a:highlight>
                <a:latin typeface="Nexa Bold (Headings)"/>
              </a:rPr>
              <a:t> Creme</a:t>
            </a:r>
            <a:r>
              <a:rPr sz="1200" b="0" dirty="0">
                <a:solidFill>
                  <a:srgbClr val="00A097"/>
                </a:solidFill>
                <a:latin typeface="Nexa Bold (Headings)"/>
              </a:rPr>
              <a:t> innovation</a:t>
            </a:r>
            <a:endParaRPr lang="en-CH" dirty="0">
              <a:highlight>
                <a:srgbClr val="FFFF00"/>
              </a:highlight>
            </a:endParaRPr>
          </a:p>
        </p:txBody>
      </p:sp>
      <p:sp>
        <p:nvSpPr>
          <p:cNvPr id="8" name="Title 7">
            <a:extLst>
              <a:ext uri="{FF2B5EF4-FFF2-40B4-BE49-F238E27FC236}">
                <a16:creationId xmlns:a16="http://schemas.microsoft.com/office/drawing/2014/main" id="{3C1316BD-FE91-E579-52A7-C5FDE93AAC73}"/>
              </a:ext>
            </a:extLst>
          </p:cNvPr>
          <p:cNvSpPr>
            <a:spLocks noGrp="1"/>
          </p:cNvSpPr>
          <p:nvPr>
            <p:ph type="title"/>
          </p:nvPr>
        </p:nvSpPr>
        <p:spPr/>
        <p:txBody>
          <a:bodyPr vert="horz"/>
          <a:lstStyle/>
          <a:p>
            <a:r>
              <a:rPr lang="en-US" dirty="0"/>
              <a:t>Innovation ranking</a:t>
            </a:r>
            <a:r>
              <a:rPr lang="en-US" dirty="0">
                <a:solidFill>
                  <a:schemeClr val="bg2">
                    <a:lumMod val="90000"/>
                  </a:schemeClr>
                </a:solidFill>
                <a:latin typeface="+mj-lt"/>
              </a:rPr>
              <a:t> (Replace with SO WHAT)</a:t>
            </a:r>
            <a:endParaRPr lang="en-CH" dirty="0">
              <a:solidFill>
                <a:schemeClr val="tx1">
                  <a:lumMod val="40000"/>
                  <a:lumOff val="60000"/>
                </a:schemeClr>
              </a:solidFill>
            </a:endParaRPr>
          </a:p>
        </p:txBody>
      </p:sp>
      <p:graphicFrame>
        <p:nvGraphicFramePr>
          <p:cNvPr id="22" name="C3">
            <a:extLst>
              <a:ext uri="{FF2B5EF4-FFF2-40B4-BE49-F238E27FC236}">
                <a16:creationId xmlns:a16="http://schemas.microsoft.com/office/drawing/2014/main" id="{A4B620F4-BBD5-FCB3-29E3-E1ED002B7C91}"/>
              </a:ext>
            </a:extLst>
          </p:cNvPr>
          <p:cNvGraphicFramePr>
            <a:graphicFrameLocks/>
          </p:cNvGraphicFramePr>
          <p:nvPr>
            <p:extLst>
              <p:ext uri="{D42A27DB-BD31-4B8C-83A1-F6EECF244321}">
                <p14:modId xmlns:p14="http://schemas.microsoft.com/office/powerpoint/2010/main" val="384577420"/>
              </p:ext>
            </p:extLst>
          </p:nvPr>
        </p:nvGraphicFramePr>
        <p:xfrm>
          <a:off x="2613976" y="3867441"/>
          <a:ext cx="5670000" cy="864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6" name="C2">
            <a:extLst>
              <a:ext uri="{FF2B5EF4-FFF2-40B4-BE49-F238E27FC236}">
                <a16:creationId xmlns:a16="http://schemas.microsoft.com/office/drawing/2014/main" id="{F14B6BD0-7315-D79B-18E4-3D47E1B155EA}"/>
              </a:ext>
            </a:extLst>
          </p:cNvPr>
          <p:cNvGraphicFramePr>
            <a:graphicFrameLocks/>
          </p:cNvGraphicFramePr>
          <p:nvPr>
            <p:extLst>
              <p:ext uri="{D42A27DB-BD31-4B8C-83A1-F6EECF244321}">
                <p14:modId xmlns:p14="http://schemas.microsoft.com/office/powerpoint/2010/main" val="2278878780"/>
              </p:ext>
            </p:extLst>
          </p:nvPr>
        </p:nvGraphicFramePr>
        <p:xfrm>
          <a:off x="2613976" y="2036124"/>
          <a:ext cx="5670000" cy="864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9" name="C2">
            <a:extLst>
              <a:ext uri="{FF2B5EF4-FFF2-40B4-BE49-F238E27FC236}">
                <a16:creationId xmlns:a16="http://schemas.microsoft.com/office/drawing/2014/main" id="{1BB21720-BC0A-A236-BC8E-7E4307EEBC3A}"/>
              </a:ext>
            </a:extLst>
          </p:cNvPr>
          <p:cNvGraphicFramePr>
            <a:graphicFrameLocks/>
          </p:cNvGraphicFramePr>
          <p:nvPr>
            <p:extLst>
              <p:ext uri="{D42A27DB-BD31-4B8C-83A1-F6EECF244321}">
                <p14:modId xmlns:p14="http://schemas.microsoft.com/office/powerpoint/2010/main" val="2680723778"/>
              </p:ext>
            </p:extLst>
          </p:nvPr>
        </p:nvGraphicFramePr>
        <p:xfrm>
          <a:off x="2613976" y="2965200"/>
          <a:ext cx="5670000" cy="864000"/>
        </p:xfrm>
        <a:graphic>
          <a:graphicData uri="http://schemas.openxmlformats.org/drawingml/2006/chart">
            <c:chart xmlns:c="http://schemas.openxmlformats.org/drawingml/2006/chart" xmlns:r="http://schemas.openxmlformats.org/officeDocument/2006/relationships" r:id="rId8"/>
          </a:graphicData>
        </a:graphic>
      </p:graphicFrame>
      <p:sp>
        <p:nvSpPr>
          <p:cNvPr id="6" name="TB5">
            <a:extLst>
              <a:ext uri="{FF2B5EF4-FFF2-40B4-BE49-F238E27FC236}">
                <a16:creationId xmlns:a16="http://schemas.microsoft.com/office/drawing/2014/main" id="{E44A4C24-11DD-281D-7E19-00ADE7FC6104}"/>
              </a:ext>
            </a:extLst>
          </p:cNvPr>
          <p:cNvSpPr txBox="1"/>
          <p:nvPr/>
        </p:nvSpPr>
        <p:spPr>
          <a:xfrm>
            <a:off x="2555874" y="4739972"/>
            <a:ext cx="6084125"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49" rtl="0" eaLnBrk="1" fontAlgn="auto" latinLnBrk="0" hangingPunct="1">
              <a:lnSpc>
                <a:spcPct val="100000"/>
              </a:lnSpc>
              <a:spcBef>
                <a:spcPts val="0"/>
              </a:spcBef>
              <a:spcAft>
                <a:spcPts val="0"/>
              </a:spcAft>
              <a:buClrTx/>
              <a:buSzTx/>
              <a:buFontTx/>
              <a:buNone/>
              <a:tabLst/>
              <a:defRPr/>
            </a:pPr>
            <a:r>
              <a:rPr kumimoji="0" sz="1000" b="0" i="0" u="none" strike="noStrike" kern="1200" cap="none" spc="0" normalizeH="0" baseline="0" noProof="0" dirty="0">
                <a:ln>
                  <a:noFill/>
                </a:ln>
                <a:solidFill>
                  <a:schemeClr val="tx2"/>
                </a:solidFill>
                <a:effectLst/>
                <a:uLnTx/>
                <a:uFillTx/>
                <a:latin typeface="Nexa Bold"/>
                <a:ea typeface="+mn-ea"/>
                <a:cs typeface="+mn-cs"/>
              </a:rPr>
              <a:t>SKU ranked by shares</a:t>
            </a:r>
            <a:endParaRPr kumimoji="0" lang="en-US" sz="1000" b="0" i="0" u="none" strike="noStrike" kern="1200" cap="none" spc="0" normalizeH="0" baseline="0" noProof="0" dirty="0">
              <a:ln>
                <a:noFill/>
              </a:ln>
              <a:solidFill>
                <a:schemeClr val="tx2"/>
              </a:solidFill>
              <a:effectLst/>
              <a:uLnTx/>
              <a:uFillTx/>
              <a:latin typeface="Nexa Bold" panose="00000800000000000000" pitchFamily="2" charset="0"/>
              <a:ea typeface="Open Sans" panose="020B0604020202020204" charset="0"/>
              <a:cs typeface="Open Sans" panose="020B0604020202020204" charset="0"/>
            </a:endParaRPr>
          </a:p>
        </p:txBody>
      </p:sp>
      <p:sp>
        <p:nvSpPr>
          <p:cNvPr id="12" name="Rectangle 11">
            <a:extLst>
              <a:ext uri="{FF2B5EF4-FFF2-40B4-BE49-F238E27FC236}">
                <a16:creationId xmlns:a16="http://schemas.microsoft.com/office/drawing/2014/main" id="{2107743F-5EFF-6D55-C964-C348A21CF3F7}"/>
              </a:ext>
            </a:extLst>
          </p:cNvPr>
          <p:cNvSpPr/>
          <p:nvPr/>
        </p:nvSpPr>
        <p:spPr>
          <a:xfrm>
            <a:off x="540000" y="1131888"/>
            <a:ext cx="2015873" cy="360808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05740" rtlCol="0" anchor="ctr"/>
          <a:lstStyle/>
          <a:p>
            <a:pPr marL="0" marR="0" lvl="0" indent="0" algn="l" defTabSz="685749" rtl="0" eaLnBrk="1" fontAlgn="auto" latinLnBrk="0" hangingPunct="1">
              <a:lnSpc>
                <a:spcPct val="100000"/>
              </a:lnSpc>
              <a:spcBef>
                <a:spcPts val="0"/>
              </a:spcBef>
              <a:spcAft>
                <a:spcPts val="0"/>
              </a:spcAft>
              <a:buClrTx/>
              <a:buSzTx/>
              <a:buFontTx/>
              <a:buNone/>
              <a:tabLst/>
              <a:defRPr/>
            </a:pPr>
            <a:endParaRPr kumimoji="0" lang="en-CH" sz="1200" b="0" i="0" u="none" strike="noStrike" kern="1200" cap="none" spc="0" normalizeH="0" baseline="0" noProof="0">
              <a:ln>
                <a:noFill/>
              </a:ln>
              <a:solidFill>
                <a:srgbClr val="575555"/>
              </a:solidFill>
              <a:effectLst/>
              <a:uLnTx/>
              <a:uFillTx/>
              <a:latin typeface="Nexa Book"/>
              <a:ea typeface="Open Sans" panose="020B0604020202020204" charset="0"/>
              <a:cs typeface="Open Sans" panose="020B0604020202020204" charset="0"/>
            </a:endParaRPr>
          </a:p>
        </p:txBody>
      </p:sp>
    </p:spTree>
    <p:extLst>
      <p:ext uri="{BB962C8B-B14F-4D97-AF65-F5344CB8AC3E}">
        <p14:creationId xmlns:p14="http://schemas.microsoft.com/office/powerpoint/2010/main" val="226846120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E7A6D17-0204-985D-6A70-116A6E934AE6}"/>
            </a:ext>
          </a:extLst>
        </p:cNvPr>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5EE7F90C-9F97-5594-A911-ECEA7C730AEC}"/>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5EE7F90C-9F97-5594-A911-ECEA7C730AEC}"/>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graphicFrame>
        <p:nvGraphicFramePr>
          <p:cNvPr id="14" name="C1">
            <a:extLst>
              <a:ext uri="{FF2B5EF4-FFF2-40B4-BE49-F238E27FC236}">
                <a16:creationId xmlns:a16="http://schemas.microsoft.com/office/drawing/2014/main" id="{B7BAB919-494E-1FE9-8FAB-124952B63D9B}"/>
              </a:ext>
            </a:extLst>
          </p:cNvPr>
          <p:cNvGraphicFramePr>
            <a:graphicFrameLocks/>
          </p:cNvGraphicFramePr>
          <p:nvPr/>
        </p:nvGraphicFramePr>
        <p:xfrm>
          <a:off x="2613976" y="1216203"/>
          <a:ext cx="5670000" cy="648000"/>
        </p:xfrm>
        <a:graphic>
          <a:graphicData uri="http://schemas.openxmlformats.org/drawingml/2006/chart">
            <c:chart xmlns:c="http://schemas.openxmlformats.org/drawingml/2006/chart" xmlns:r="http://schemas.openxmlformats.org/officeDocument/2006/relationships" r:id="rId5"/>
          </a:graphicData>
        </a:graphic>
      </p:graphicFrame>
      <p:sp>
        <p:nvSpPr>
          <p:cNvPr id="2" name="Date Placeholder 1">
            <a:extLst>
              <a:ext uri="{FF2B5EF4-FFF2-40B4-BE49-F238E27FC236}">
                <a16:creationId xmlns:a16="http://schemas.microsoft.com/office/drawing/2014/main" id="{F52C7AC1-8697-839F-DDBE-520E2492333E}"/>
              </a:ext>
            </a:extLst>
          </p:cNvPr>
          <p:cNvSpPr>
            <a:spLocks noGrp="1"/>
          </p:cNvSpPr>
          <p:nvPr>
            <p:ph type="dt" sz="half" idx="14"/>
          </p:nvPr>
        </p:nvSpPr>
        <p:spPr/>
        <p:txBody>
          <a:bodyPr/>
          <a:lstStyle/>
          <a:p>
            <a:pPr marL="0" marR="0" lvl="0" indent="0" algn="r" defTabSz="685749" rtl="0" eaLnBrk="1" fontAlgn="auto" latinLnBrk="0" hangingPunct="1">
              <a:lnSpc>
                <a:spcPct val="100000"/>
              </a:lnSpc>
              <a:spcBef>
                <a:spcPts val="0"/>
              </a:spcBef>
              <a:spcAft>
                <a:spcPts val="0"/>
              </a:spcAft>
              <a:buClrTx/>
              <a:buSzTx/>
              <a:buFontTx/>
              <a:buNone/>
              <a:tabLst/>
              <a:defRPr/>
            </a:pPr>
            <a:fld id="{F632CF21-2390-4A0B-8364-B2E9978807FB}" type="datetime1">
              <a:rPr kumimoji="0" lang="en-US" sz="4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mn-cs"/>
              </a:rPr>
              <a:pPr marL="0" marR="0" lvl="0" indent="0" algn="r" defTabSz="685749" rtl="0" eaLnBrk="1" fontAlgn="auto" latinLnBrk="0" hangingPunct="1">
                <a:lnSpc>
                  <a:spcPct val="100000"/>
                </a:lnSpc>
                <a:spcBef>
                  <a:spcPts val="0"/>
                </a:spcBef>
                <a:spcAft>
                  <a:spcPts val="0"/>
                </a:spcAft>
                <a:buClrTx/>
                <a:buSzTx/>
                <a:buFontTx/>
                <a:buNone/>
                <a:tabLst/>
                <a:defRPr/>
              </a:pPr>
              <a:t>7/8/2024</a:t>
            </a:fld>
            <a:endParaRPr kumimoji="0" lang="en-US" sz="4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mn-cs"/>
            </a:endParaRPr>
          </a:p>
        </p:txBody>
      </p:sp>
      <p:sp>
        <p:nvSpPr>
          <p:cNvPr id="4" name="Footer Placeholder 3">
            <a:extLst>
              <a:ext uri="{FF2B5EF4-FFF2-40B4-BE49-F238E27FC236}">
                <a16:creationId xmlns:a16="http://schemas.microsoft.com/office/drawing/2014/main" id="{E91ED5B3-5363-68B2-F5F4-F3F50DFC317C}"/>
              </a:ext>
            </a:extLst>
          </p:cNvPr>
          <p:cNvSpPr>
            <a:spLocks noGrp="1"/>
          </p:cNvSpPr>
          <p:nvPr>
            <p:ph type="ftr" sz="quarter" idx="15"/>
          </p:nvPr>
        </p:nvSpPr>
        <p:spPr/>
        <p:txBody>
          <a:bodyPr/>
          <a:lstStyle/>
          <a:p>
            <a:pPr marL="0" marR="0" lvl="0" indent="0" algn="ctr" defTabSz="685749" rtl="0" eaLnBrk="1" fontAlgn="auto" latinLnBrk="0" hangingPunct="1">
              <a:lnSpc>
                <a:spcPct val="100000"/>
              </a:lnSpc>
              <a:spcBef>
                <a:spcPts val="0"/>
              </a:spcBef>
              <a:spcAft>
                <a:spcPts val="0"/>
              </a:spcAft>
              <a:buClrTx/>
              <a:buSzTx/>
              <a:buFontTx/>
              <a:buNone/>
              <a:tabLst/>
              <a:defRPr/>
            </a:pPr>
            <a:endParaRPr kumimoji="0" lang="en-US" sz="400" b="0" i="0" u="none" strike="noStrike" kern="1200" cap="none" spc="0" normalizeH="0" baseline="0" noProof="0" dirty="0">
              <a:ln>
                <a:noFill/>
              </a:ln>
              <a:solidFill>
                <a:srgbClr val="E6E5E5">
                  <a:lumMod val="50000"/>
                </a:srgbClr>
              </a:solidFill>
              <a:effectLst/>
              <a:uLnTx/>
              <a:uFillTx/>
              <a:latin typeface="Nexa Book" panose="00000400000000000000" pitchFamily="50" charset="0"/>
              <a:ea typeface="+mn-ea"/>
              <a:cs typeface="+mn-cs"/>
            </a:endParaRPr>
          </a:p>
        </p:txBody>
      </p:sp>
      <p:sp>
        <p:nvSpPr>
          <p:cNvPr id="3" name="Slide Number Placeholder 2">
            <a:extLst>
              <a:ext uri="{FF2B5EF4-FFF2-40B4-BE49-F238E27FC236}">
                <a16:creationId xmlns:a16="http://schemas.microsoft.com/office/drawing/2014/main" id="{B446F02A-0905-5583-CE9A-E1FF13CAA44D}"/>
              </a:ext>
            </a:extLst>
          </p:cNvPr>
          <p:cNvSpPr>
            <a:spLocks noGrp="1"/>
          </p:cNvSpPr>
          <p:nvPr>
            <p:ph type="sldNum" sz="quarter" idx="16"/>
          </p:nvPr>
        </p:nvSpPr>
        <p:spPr/>
        <p:txBody>
          <a:bodyPr/>
          <a:lstStyle/>
          <a:p>
            <a:pPr marL="0" marR="0" lvl="0" indent="0" algn="r" defTabSz="685749" rtl="0" eaLnBrk="1" fontAlgn="auto" latinLnBrk="0" hangingPunct="1">
              <a:lnSpc>
                <a:spcPct val="100000"/>
              </a:lnSpc>
              <a:spcBef>
                <a:spcPts val="0"/>
              </a:spcBef>
              <a:spcAft>
                <a:spcPts val="0"/>
              </a:spcAft>
              <a:buClrTx/>
              <a:buSzTx/>
              <a:buFontTx/>
              <a:buNone/>
              <a:tabLst/>
              <a:defRPr/>
            </a:pPr>
            <a:fld id="{7B1F438D-4EAF-094E-9162-80CF3EF77236}" type="slidenum">
              <a:rPr kumimoji="0" lang="en-US" sz="4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pPr marL="0" marR="0" lvl="0" indent="0" algn="r" defTabSz="685749" rtl="0" eaLnBrk="1" fontAlgn="auto" latinLnBrk="0" hangingPunct="1">
                <a:lnSpc>
                  <a:spcPct val="100000"/>
                </a:lnSpc>
                <a:spcBef>
                  <a:spcPts val="0"/>
                </a:spcBef>
                <a:spcAft>
                  <a:spcPts val="0"/>
                </a:spcAft>
                <a:buClrTx/>
                <a:buSzTx/>
                <a:buFontTx/>
                <a:buNone/>
                <a:tabLst/>
                <a:defRPr/>
              </a:pPr>
              <a:t>4</a:t>
            </a:fld>
            <a:endParaRPr kumimoji="0" lang="en-US" sz="4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0" name="Content Placeholder 9">
            <a:extLst>
              <a:ext uri="{FF2B5EF4-FFF2-40B4-BE49-F238E27FC236}">
                <a16:creationId xmlns:a16="http://schemas.microsoft.com/office/drawing/2014/main" id="{B7277368-DF74-3D42-6230-C2AF1CBE38AC}"/>
              </a:ext>
            </a:extLst>
          </p:cNvPr>
          <p:cNvSpPr>
            <a:spLocks noGrp="1"/>
          </p:cNvSpPr>
          <p:nvPr>
            <p:ph type="body" sz="quarter" idx="17"/>
          </p:nvPr>
        </p:nvSpPr>
        <p:spPr/>
        <p:txBody>
          <a:bodyPr/>
          <a:lstStyle/>
          <a:p>
            <a:r>
              <a:rPr lang="en-US"/>
              <a:t>DATA SOURCE: Consumer Test | </a:t>
            </a:r>
            <a:r>
              <a:rPr lang="en-US">
                <a:highlight>
                  <a:srgbClr val="FFFF00"/>
                </a:highlight>
              </a:rPr>
              <a:t>Dec 2023</a:t>
            </a:r>
          </a:p>
        </p:txBody>
      </p:sp>
      <p:sp>
        <p:nvSpPr>
          <p:cNvPr id="5" name="Text Placeholder 4">
            <a:extLst>
              <a:ext uri="{FF2B5EF4-FFF2-40B4-BE49-F238E27FC236}">
                <a16:creationId xmlns:a16="http://schemas.microsoft.com/office/drawing/2014/main" id="{56DE4AE1-DA46-77B8-EB09-68968217E090}"/>
              </a:ext>
            </a:extLst>
          </p:cNvPr>
          <p:cNvSpPr>
            <a:spLocks noGrp="1"/>
          </p:cNvSpPr>
          <p:nvPr>
            <p:ph type="body" sz="quarter" idx="18"/>
          </p:nvPr>
        </p:nvSpPr>
        <p:spPr/>
        <p:txBody>
          <a:bodyPr/>
          <a:lstStyle/>
          <a:p>
            <a:r>
              <a:rPr sz="1200" b="0" dirty="0">
                <a:solidFill>
                  <a:srgbClr val="00A097"/>
                </a:solidFill>
                <a:latin typeface="Nexa Bold (Headings)"/>
              </a:rPr>
              <a:t>Ranking SKUs when introducing each innovation one by one |</a:t>
            </a:r>
            <a:r>
              <a:rPr lang="en-US" sz="1200" b="0" dirty="0">
                <a:solidFill>
                  <a:srgbClr val="00A097"/>
                </a:solidFill>
                <a:latin typeface="Nexa Bold (Headings)"/>
              </a:rPr>
              <a:t> </a:t>
            </a:r>
            <a:r>
              <a:rPr lang="en-US" sz="1200" b="0" dirty="0">
                <a:solidFill>
                  <a:srgbClr val="00A097"/>
                </a:solidFill>
                <a:highlight>
                  <a:srgbClr val="FFFF00"/>
                </a:highlight>
                <a:latin typeface="Nexa Bold (Headings)"/>
              </a:rPr>
              <a:t>Panda</a:t>
            </a:r>
            <a:r>
              <a:rPr lang="en-US" sz="1200" b="0" dirty="0">
                <a:solidFill>
                  <a:srgbClr val="00A097"/>
                </a:solidFill>
                <a:latin typeface="Nexa Bold (Headings)"/>
              </a:rPr>
              <a:t> | </a:t>
            </a:r>
            <a:r>
              <a:rPr sz="1200" b="0" dirty="0" err="1">
                <a:solidFill>
                  <a:srgbClr val="00A097"/>
                </a:solidFill>
                <a:highlight>
                  <a:srgbClr val="FFFF00"/>
                </a:highlight>
                <a:latin typeface="Nexa Bold (Headings)"/>
              </a:rPr>
              <a:t>Cookies'n</a:t>
            </a:r>
            <a:r>
              <a:rPr sz="1200" b="0" dirty="0">
                <a:solidFill>
                  <a:srgbClr val="00A097"/>
                </a:solidFill>
                <a:highlight>
                  <a:srgbClr val="FFFF00"/>
                </a:highlight>
                <a:latin typeface="Nexa Bold (Headings)"/>
              </a:rPr>
              <a:t> Creme</a:t>
            </a:r>
            <a:r>
              <a:rPr sz="1200" b="0" dirty="0">
                <a:solidFill>
                  <a:srgbClr val="00A097"/>
                </a:solidFill>
                <a:latin typeface="Nexa Bold (Headings)"/>
              </a:rPr>
              <a:t> innovation</a:t>
            </a:r>
            <a:endParaRPr lang="en-CH" dirty="0">
              <a:highlight>
                <a:srgbClr val="FFFF00"/>
              </a:highlight>
            </a:endParaRPr>
          </a:p>
        </p:txBody>
      </p:sp>
      <p:sp>
        <p:nvSpPr>
          <p:cNvPr id="8" name="Title 7">
            <a:extLst>
              <a:ext uri="{FF2B5EF4-FFF2-40B4-BE49-F238E27FC236}">
                <a16:creationId xmlns:a16="http://schemas.microsoft.com/office/drawing/2014/main" id="{42834856-5381-8675-D655-3D3476335BF5}"/>
              </a:ext>
            </a:extLst>
          </p:cNvPr>
          <p:cNvSpPr>
            <a:spLocks noGrp="1"/>
          </p:cNvSpPr>
          <p:nvPr>
            <p:ph type="title"/>
          </p:nvPr>
        </p:nvSpPr>
        <p:spPr/>
        <p:txBody>
          <a:bodyPr vert="horz"/>
          <a:lstStyle/>
          <a:p>
            <a:r>
              <a:rPr lang="en-US" dirty="0"/>
              <a:t>Innovation ranking</a:t>
            </a:r>
            <a:r>
              <a:rPr lang="en-US" dirty="0">
                <a:solidFill>
                  <a:schemeClr val="bg2">
                    <a:lumMod val="90000"/>
                  </a:schemeClr>
                </a:solidFill>
                <a:latin typeface="+mj-lt"/>
              </a:rPr>
              <a:t> (Replace with SO WHAT)</a:t>
            </a:r>
            <a:endParaRPr lang="en-CH" dirty="0">
              <a:solidFill>
                <a:schemeClr val="tx1">
                  <a:lumMod val="40000"/>
                  <a:lumOff val="60000"/>
                </a:schemeClr>
              </a:solidFill>
            </a:endParaRPr>
          </a:p>
        </p:txBody>
      </p:sp>
      <p:graphicFrame>
        <p:nvGraphicFramePr>
          <p:cNvPr id="22" name="C3">
            <a:extLst>
              <a:ext uri="{FF2B5EF4-FFF2-40B4-BE49-F238E27FC236}">
                <a16:creationId xmlns:a16="http://schemas.microsoft.com/office/drawing/2014/main" id="{38870FA4-D10C-11E0-34A5-F90193507D0F}"/>
              </a:ext>
            </a:extLst>
          </p:cNvPr>
          <p:cNvGraphicFramePr>
            <a:graphicFrameLocks/>
          </p:cNvGraphicFramePr>
          <p:nvPr/>
        </p:nvGraphicFramePr>
        <p:xfrm>
          <a:off x="2613976" y="3982633"/>
          <a:ext cx="5670000" cy="648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6" name="C2">
            <a:extLst>
              <a:ext uri="{FF2B5EF4-FFF2-40B4-BE49-F238E27FC236}">
                <a16:creationId xmlns:a16="http://schemas.microsoft.com/office/drawing/2014/main" id="{CF1845FA-3F71-BC20-C13F-4249C341E377}"/>
              </a:ext>
            </a:extLst>
          </p:cNvPr>
          <p:cNvGraphicFramePr>
            <a:graphicFrameLocks/>
          </p:cNvGraphicFramePr>
          <p:nvPr/>
        </p:nvGraphicFramePr>
        <p:xfrm>
          <a:off x="2613976" y="1907811"/>
          <a:ext cx="5670000" cy="648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9" name="C2">
            <a:extLst>
              <a:ext uri="{FF2B5EF4-FFF2-40B4-BE49-F238E27FC236}">
                <a16:creationId xmlns:a16="http://schemas.microsoft.com/office/drawing/2014/main" id="{01429D0A-90BF-AF27-012B-06F829A1D74D}"/>
              </a:ext>
            </a:extLst>
          </p:cNvPr>
          <p:cNvGraphicFramePr>
            <a:graphicFrameLocks/>
          </p:cNvGraphicFramePr>
          <p:nvPr/>
        </p:nvGraphicFramePr>
        <p:xfrm>
          <a:off x="2613976" y="2599419"/>
          <a:ext cx="5670000" cy="648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C2">
            <a:extLst>
              <a:ext uri="{FF2B5EF4-FFF2-40B4-BE49-F238E27FC236}">
                <a16:creationId xmlns:a16="http://schemas.microsoft.com/office/drawing/2014/main" id="{CF817484-4FCA-AF97-0A69-83C1EA8D202C}"/>
              </a:ext>
            </a:extLst>
          </p:cNvPr>
          <p:cNvGraphicFramePr>
            <a:graphicFrameLocks/>
          </p:cNvGraphicFramePr>
          <p:nvPr/>
        </p:nvGraphicFramePr>
        <p:xfrm>
          <a:off x="2613976" y="3291027"/>
          <a:ext cx="5670000" cy="648000"/>
        </p:xfrm>
        <a:graphic>
          <a:graphicData uri="http://schemas.openxmlformats.org/drawingml/2006/chart">
            <c:chart xmlns:c="http://schemas.openxmlformats.org/drawingml/2006/chart" xmlns:r="http://schemas.openxmlformats.org/officeDocument/2006/relationships" r:id="rId9"/>
          </a:graphicData>
        </a:graphic>
      </p:graphicFrame>
      <p:sp>
        <p:nvSpPr>
          <p:cNvPr id="6" name="TB5">
            <a:extLst>
              <a:ext uri="{FF2B5EF4-FFF2-40B4-BE49-F238E27FC236}">
                <a16:creationId xmlns:a16="http://schemas.microsoft.com/office/drawing/2014/main" id="{15CF8251-A22B-2890-F475-CA5CC39C5F93}"/>
              </a:ext>
            </a:extLst>
          </p:cNvPr>
          <p:cNvSpPr txBox="1"/>
          <p:nvPr/>
        </p:nvSpPr>
        <p:spPr>
          <a:xfrm>
            <a:off x="2555874" y="4739972"/>
            <a:ext cx="6084125"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49" rtl="0" eaLnBrk="1" fontAlgn="auto" latinLnBrk="0" hangingPunct="1">
              <a:lnSpc>
                <a:spcPct val="100000"/>
              </a:lnSpc>
              <a:spcBef>
                <a:spcPts val="0"/>
              </a:spcBef>
              <a:spcAft>
                <a:spcPts val="0"/>
              </a:spcAft>
              <a:buClrTx/>
              <a:buSzTx/>
              <a:buFontTx/>
              <a:buNone/>
              <a:tabLst/>
              <a:defRPr/>
            </a:pPr>
            <a:r>
              <a:rPr kumimoji="0" sz="1000" b="0" i="0" u="none" strike="noStrike" kern="1200" cap="none" spc="0" normalizeH="0" baseline="0" noProof="0" dirty="0">
                <a:ln>
                  <a:noFill/>
                </a:ln>
                <a:solidFill>
                  <a:schemeClr val="tx2"/>
                </a:solidFill>
                <a:effectLst/>
                <a:uLnTx/>
                <a:uFillTx/>
                <a:latin typeface="Nexa Bold"/>
                <a:ea typeface="+mn-ea"/>
                <a:cs typeface="+mn-cs"/>
              </a:rPr>
              <a:t>SKU ranked by shares</a:t>
            </a:r>
            <a:endParaRPr kumimoji="0" lang="en-US" sz="1000" b="0" i="0" u="none" strike="noStrike" kern="1200" cap="none" spc="0" normalizeH="0" baseline="0" noProof="0" dirty="0">
              <a:ln>
                <a:noFill/>
              </a:ln>
              <a:solidFill>
                <a:schemeClr val="tx2"/>
              </a:solidFill>
              <a:effectLst/>
              <a:uLnTx/>
              <a:uFillTx/>
              <a:latin typeface="Nexa Bold" panose="00000800000000000000" pitchFamily="2" charset="0"/>
              <a:ea typeface="Open Sans" panose="020B0604020202020204" charset="0"/>
              <a:cs typeface="Open Sans" panose="020B0604020202020204" charset="0"/>
            </a:endParaRPr>
          </a:p>
        </p:txBody>
      </p:sp>
      <p:sp>
        <p:nvSpPr>
          <p:cNvPr id="12" name="Rectangle 11">
            <a:extLst>
              <a:ext uri="{FF2B5EF4-FFF2-40B4-BE49-F238E27FC236}">
                <a16:creationId xmlns:a16="http://schemas.microsoft.com/office/drawing/2014/main" id="{E90C0D9F-74CB-3EDE-F4EF-ED685F0934DB}"/>
              </a:ext>
            </a:extLst>
          </p:cNvPr>
          <p:cNvSpPr/>
          <p:nvPr/>
        </p:nvSpPr>
        <p:spPr>
          <a:xfrm>
            <a:off x="540000" y="1131888"/>
            <a:ext cx="2015873" cy="360808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05740" rtlCol="0" anchor="ctr"/>
          <a:lstStyle/>
          <a:p>
            <a:pPr marL="0" marR="0" lvl="0" indent="0" algn="l" defTabSz="685749" rtl="0" eaLnBrk="1" fontAlgn="auto" latinLnBrk="0" hangingPunct="1">
              <a:lnSpc>
                <a:spcPct val="100000"/>
              </a:lnSpc>
              <a:spcBef>
                <a:spcPts val="0"/>
              </a:spcBef>
              <a:spcAft>
                <a:spcPts val="0"/>
              </a:spcAft>
              <a:buClrTx/>
              <a:buSzTx/>
              <a:buFontTx/>
              <a:buNone/>
              <a:tabLst/>
              <a:defRPr/>
            </a:pPr>
            <a:endParaRPr kumimoji="0" lang="en-CH" sz="1200" b="0" i="0" u="none" strike="noStrike" kern="1200" cap="none" spc="0" normalizeH="0" baseline="0" noProof="0">
              <a:ln>
                <a:noFill/>
              </a:ln>
              <a:solidFill>
                <a:srgbClr val="575555"/>
              </a:solidFill>
              <a:effectLst/>
              <a:uLnTx/>
              <a:uFillTx/>
              <a:latin typeface="Nexa Book"/>
              <a:ea typeface="Open Sans" panose="020B0604020202020204" charset="0"/>
              <a:cs typeface="Open Sans" panose="020B0604020202020204" charset="0"/>
            </a:endParaRPr>
          </a:p>
        </p:txBody>
      </p:sp>
    </p:spTree>
    <p:extLst>
      <p:ext uri="{BB962C8B-B14F-4D97-AF65-F5344CB8AC3E}">
        <p14:creationId xmlns:p14="http://schemas.microsoft.com/office/powerpoint/2010/main" val="246211831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5EF096-E173-1BA7-8DC9-69A1442AE916}"/>
            </a:ext>
          </a:extLst>
        </p:cNvPr>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92EA182B-985A-BB7D-BF73-024D1B7372B6}"/>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92EA182B-985A-BB7D-BF73-024D1B7372B6}"/>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graphicFrame>
        <p:nvGraphicFramePr>
          <p:cNvPr id="14" name="C1">
            <a:extLst>
              <a:ext uri="{FF2B5EF4-FFF2-40B4-BE49-F238E27FC236}">
                <a16:creationId xmlns:a16="http://schemas.microsoft.com/office/drawing/2014/main" id="{8015216F-72DE-456D-3D09-7592EB7A546B}"/>
              </a:ext>
            </a:extLst>
          </p:cNvPr>
          <p:cNvGraphicFramePr>
            <a:graphicFrameLocks/>
          </p:cNvGraphicFramePr>
          <p:nvPr/>
        </p:nvGraphicFramePr>
        <p:xfrm>
          <a:off x="2613976" y="1213071"/>
          <a:ext cx="5670000" cy="540000"/>
        </p:xfrm>
        <a:graphic>
          <a:graphicData uri="http://schemas.openxmlformats.org/drawingml/2006/chart">
            <c:chart xmlns:c="http://schemas.openxmlformats.org/drawingml/2006/chart" xmlns:r="http://schemas.openxmlformats.org/officeDocument/2006/relationships" r:id="rId5"/>
          </a:graphicData>
        </a:graphic>
      </p:graphicFrame>
      <p:sp>
        <p:nvSpPr>
          <p:cNvPr id="2" name="Date Placeholder 1">
            <a:extLst>
              <a:ext uri="{FF2B5EF4-FFF2-40B4-BE49-F238E27FC236}">
                <a16:creationId xmlns:a16="http://schemas.microsoft.com/office/drawing/2014/main" id="{67721FBF-FF99-E06A-E66E-994722374D76}"/>
              </a:ext>
            </a:extLst>
          </p:cNvPr>
          <p:cNvSpPr>
            <a:spLocks noGrp="1"/>
          </p:cNvSpPr>
          <p:nvPr>
            <p:ph type="dt" sz="half" idx="14"/>
          </p:nvPr>
        </p:nvSpPr>
        <p:spPr/>
        <p:txBody>
          <a:bodyPr/>
          <a:lstStyle/>
          <a:p>
            <a:pPr marL="0" marR="0" lvl="0" indent="0" algn="r" defTabSz="685749" rtl="0" eaLnBrk="1" fontAlgn="auto" latinLnBrk="0" hangingPunct="1">
              <a:lnSpc>
                <a:spcPct val="100000"/>
              </a:lnSpc>
              <a:spcBef>
                <a:spcPts val="0"/>
              </a:spcBef>
              <a:spcAft>
                <a:spcPts val="0"/>
              </a:spcAft>
              <a:buClrTx/>
              <a:buSzTx/>
              <a:buFontTx/>
              <a:buNone/>
              <a:tabLst/>
              <a:defRPr/>
            </a:pPr>
            <a:fld id="{F632CF21-2390-4A0B-8364-B2E9978807FB}" type="datetime1">
              <a:rPr kumimoji="0" lang="en-US" sz="4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mn-cs"/>
              </a:rPr>
              <a:pPr marL="0" marR="0" lvl="0" indent="0" algn="r" defTabSz="685749" rtl="0" eaLnBrk="1" fontAlgn="auto" latinLnBrk="0" hangingPunct="1">
                <a:lnSpc>
                  <a:spcPct val="100000"/>
                </a:lnSpc>
                <a:spcBef>
                  <a:spcPts val="0"/>
                </a:spcBef>
                <a:spcAft>
                  <a:spcPts val="0"/>
                </a:spcAft>
                <a:buClrTx/>
                <a:buSzTx/>
                <a:buFontTx/>
                <a:buNone/>
                <a:tabLst/>
                <a:defRPr/>
              </a:pPr>
              <a:t>7/8/2024</a:t>
            </a:fld>
            <a:endParaRPr kumimoji="0" lang="en-US" sz="4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mn-cs"/>
            </a:endParaRPr>
          </a:p>
        </p:txBody>
      </p:sp>
      <p:sp>
        <p:nvSpPr>
          <p:cNvPr id="4" name="Footer Placeholder 3">
            <a:extLst>
              <a:ext uri="{FF2B5EF4-FFF2-40B4-BE49-F238E27FC236}">
                <a16:creationId xmlns:a16="http://schemas.microsoft.com/office/drawing/2014/main" id="{4DE259E2-C575-EAF4-7B02-9A15458BAEE8}"/>
              </a:ext>
            </a:extLst>
          </p:cNvPr>
          <p:cNvSpPr>
            <a:spLocks noGrp="1"/>
          </p:cNvSpPr>
          <p:nvPr>
            <p:ph type="ftr" sz="quarter" idx="15"/>
          </p:nvPr>
        </p:nvSpPr>
        <p:spPr/>
        <p:txBody>
          <a:bodyPr/>
          <a:lstStyle/>
          <a:p>
            <a:pPr marL="0" marR="0" lvl="0" indent="0" algn="ctr" defTabSz="685749" rtl="0" eaLnBrk="1" fontAlgn="auto" latinLnBrk="0" hangingPunct="1">
              <a:lnSpc>
                <a:spcPct val="100000"/>
              </a:lnSpc>
              <a:spcBef>
                <a:spcPts val="0"/>
              </a:spcBef>
              <a:spcAft>
                <a:spcPts val="0"/>
              </a:spcAft>
              <a:buClrTx/>
              <a:buSzTx/>
              <a:buFontTx/>
              <a:buNone/>
              <a:tabLst/>
              <a:defRPr/>
            </a:pPr>
            <a:endParaRPr kumimoji="0" lang="en-US" sz="4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mn-cs"/>
            </a:endParaRPr>
          </a:p>
        </p:txBody>
      </p:sp>
      <p:sp>
        <p:nvSpPr>
          <p:cNvPr id="3" name="Slide Number Placeholder 2">
            <a:extLst>
              <a:ext uri="{FF2B5EF4-FFF2-40B4-BE49-F238E27FC236}">
                <a16:creationId xmlns:a16="http://schemas.microsoft.com/office/drawing/2014/main" id="{92FB4861-7A99-0785-B82E-6E7E8F01AB29}"/>
              </a:ext>
            </a:extLst>
          </p:cNvPr>
          <p:cNvSpPr>
            <a:spLocks noGrp="1"/>
          </p:cNvSpPr>
          <p:nvPr>
            <p:ph type="sldNum" sz="quarter" idx="16"/>
          </p:nvPr>
        </p:nvSpPr>
        <p:spPr/>
        <p:txBody>
          <a:bodyPr/>
          <a:lstStyle/>
          <a:p>
            <a:pPr marL="0" marR="0" lvl="0" indent="0" algn="r" defTabSz="685749" rtl="0" eaLnBrk="1" fontAlgn="auto" latinLnBrk="0" hangingPunct="1">
              <a:lnSpc>
                <a:spcPct val="100000"/>
              </a:lnSpc>
              <a:spcBef>
                <a:spcPts val="0"/>
              </a:spcBef>
              <a:spcAft>
                <a:spcPts val="0"/>
              </a:spcAft>
              <a:buClrTx/>
              <a:buSzTx/>
              <a:buFontTx/>
              <a:buNone/>
              <a:tabLst/>
              <a:defRPr/>
            </a:pPr>
            <a:fld id="{7B1F438D-4EAF-094E-9162-80CF3EF77236}" type="slidenum">
              <a:rPr kumimoji="0" lang="en-US" sz="4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pPr marL="0" marR="0" lvl="0" indent="0" algn="r" defTabSz="685749" rtl="0" eaLnBrk="1" fontAlgn="auto" latinLnBrk="0" hangingPunct="1">
                <a:lnSpc>
                  <a:spcPct val="100000"/>
                </a:lnSpc>
                <a:spcBef>
                  <a:spcPts val="0"/>
                </a:spcBef>
                <a:spcAft>
                  <a:spcPts val="0"/>
                </a:spcAft>
                <a:buClrTx/>
                <a:buSzTx/>
                <a:buFontTx/>
                <a:buNone/>
                <a:tabLst/>
                <a:defRPr/>
              </a:pPr>
              <a:t>5</a:t>
            </a:fld>
            <a:endParaRPr kumimoji="0" lang="en-US" sz="4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0" name="Content Placeholder 9">
            <a:extLst>
              <a:ext uri="{FF2B5EF4-FFF2-40B4-BE49-F238E27FC236}">
                <a16:creationId xmlns:a16="http://schemas.microsoft.com/office/drawing/2014/main" id="{B9B9D355-5C5C-AFF2-D226-2593688D2437}"/>
              </a:ext>
            </a:extLst>
          </p:cNvPr>
          <p:cNvSpPr>
            <a:spLocks noGrp="1"/>
          </p:cNvSpPr>
          <p:nvPr>
            <p:ph type="body" sz="quarter" idx="17"/>
          </p:nvPr>
        </p:nvSpPr>
        <p:spPr/>
        <p:txBody>
          <a:bodyPr/>
          <a:lstStyle/>
          <a:p>
            <a:r>
              <a:rPr lang="en-US"/>
              <a:t>DATA SOURCE: Consumer Test | </a:t>
            </a:r>
            <a:r>
              <a:rPr lang="en-US">
                <a:highlight>
                  <a:srgbClr val="FFFF00"/>
                </a:highlight>
              </a:rPr>
              <a:t>Dec 2023</a:t>
            </a:r>
          </a:p>
        </p:txBody>
      </p:sp>
      <p:sp>
        <p:nvSpPr>
          <p:cNvPr id="5" name="Text Placeholder 4">
            <a:extLst>
              <a:ext uri="{FF2B5EF4-FFF2-40B4-BE49-F238E27FC236}">
                <a16:creationId xmlns:a16="http://schemas.microsoft.com/office/drawing/2014/main" id="{E66AD994-E5BA-3D98-175C-B080DA6E23DC}"/>
              </a:ext>
            </a:extLst>
          </p:cNvPr>
          <p:cNvSpPr>
            <a:spLocks noGrp="1"/>
          </p:cNvSpPr>
          <p:nvPr>
            <p:ph type="body" sz="quarter" idx="18"/>
          </p:nvPr>
        </p:nvSpPr>
        <p:spPr/>
        <p:txBody>
          <a:bodyPr/>
          <a:lstStyle/>
          <a:p>
            <a:r>
              <a:rPr sz="1200" b="0" dirty="0">
                <a:solidFill>
                  <a:srgbClr val="00A097"/>
                </a:solidFill>
                <a:latin typeface="Nexa Bold (Headings)"/>
              </a:rPr>
              <a:t>Ranking SKUs when introducing each innovation one by one |</a:t>
            </a:r>
            <a:r>
              <a:rPr lang="en-US" sz="1200" b="0" dirty="0">
                <a:solidFill>
                  <a:srgbClr val="00A097"/>
                </a:solidFill>
                <a:latin typeface="Nexa Bold (Headings)"/>
              </a:rPr>
              <a:t> </a:t>
            </a:r>
            <a:r>
              <a:rPr lang="en-US" sz="1200" b="0" dirty="0">
                <a:solidFill>
                  <a:srgbClr val="00A097"/>
                </a:solidFill>
                <a:highlight>
                  <a:srgbClr val="FFFF00"/>
                </a:highlight>
                <a:latin typeface="Nexa Bold (Headings)"/>
              </a:rPr>
              <a:t>Panda</a:t>
            </a:r>
            <a:r>
              <a:rPr lang="en-US" sz="1200" b="0" dirty="0">
                <a:solidFill>
                  <a:srgbClr val="00A097"/>
                </a:solidFill>
                <a:latin typeface="Nexa Bold (Headings)"/>
              </a:rPr>
              <a:t> | </a:t>
            </a:r>
            <a:r>
              <a:rPr sz="1200" b="0" dirty="0" err="1">
                <a:solidFill>
                  <a:srgbClr val="00A097"/>
                </a:solidFill>
                <a:highlight>
                  <a:srgbClr val="FFFF00"/>
                </a:highlight>
                <a:latin typeface="Nexa Bold (Headings)"/>
              </a:rPr>
              <a:t>Cookies'n</a:t>
            </a:r>
            <a:r>
              <a:rPr sz="1200" b="0" dirty="0">
                <a:solidFill>
                  <a:srgbClr val="00A097"/>
                </a:solidFill>
                <a:highlight>
                  <a:srgbClr val="FFFF00"/>
                </a:highlight>
                <a:latin typeface="Nexa Bold (Headings)"/>
              </a:rPr>
              <a:t> Creme</a:t>
            </a:r>
            <a:r>
              <a:rPr sz="1200" b="0" dirty="0">
                <a:solidFill>
                  <a:srgbClr val="00A097"/>
                </a:solidFill>
                <a:latin typeface="Nexa Bold (Headings)"/>
              </a:rPr>
              <a:t> innovation</a:t>
            </a:r>
            <a:endParaRPr lang="en-CH" dirty="0">
              <a:highlight>
                <a:srgbClr val="FFFF00"/>
              </a:highlight>
            </a:endParaRPr>
          </a:p>
        </p:txBody>
      </p:sp>
      <p:sp>
        <p:nvSpPr>
          <p:cNvPr id="8" name="Title 7">
            <a:extLst>
              <a:ext uri="{FF2B5EF4-FFF2-40B4-BE49-F238E27FC236}">
                <a16:creationId xmlns:a16="http://schemas.microsoft.com/office/drawing/2014/main" id="{3F96D38B-BD29-7E94-EA03-FCEFB61265F0}"/>
              </a:ext>
            </a:extLst>
          </p:cNvPr>
          <p:cNvSpPr>
            <a:spLocks noGrp="1"/>
          </p:cNvSpPr>
          <p:nvPr>
            <p:ph type="title"/>
          </p:nvPr>
        </p:nvSpPr>
        <p:spPr/>
        <p:txBody>
          <a:bodyPr vert="horz"/>
          <a:lstStyle/>
          <a:p>
            <a:r>
              <a:rPr lang="en-US" dirty="0"/>
              <a:t>Innovation ranking</a:t>
            </a:r>
            <a:r>
              <a:rPr lang="en-US" dirty="0">
                <a:solidFill>
                  <a:schemeClr val="bg2">
                    <a:lumMod val="90000"/>
                  </a:schemeClr>
                </a:solidFill>
                <a:latin typeface="+mj-lt"/>
              </a:rPr>
              <a:t> (Replace with SO WHAT)</a:t>
            </a:r>
            <a:endParaRPr lang="en-CH" dirty="0">
              <a:solidFill>
                <a:schemeClr val="tx1">
                  <a:lumMod val="40000"/>
                  <a:lumOff val="60000"/>
                </a:schemeClr>
              </a:solidFill>
            </a:endParaRPr>
          </a:p>
        </p:txBody>
      </p:sp>
      <p:graphicFrame>
        <p:nvGraphicFramePr>
          <p:cNvPr id="22" name="C3">
            <a:extLst>
              <a:ext uri="{FF2B5EF4-FFF2-40B4-BE49-F238E27FC236}">
                <a16:creationId xmlns:a16="http://schemas.microsoft.com/office/drawing/2014/main" id="{EA8B621A-0F22-86B1-AE7F-58EC52EF9AB3}"/>
              </a:ext>
            </a:extLst>
          </p:cNvPr>
          <p:cNvGraphicFramePr>
            <a:graphicFrameLocks/>
          </p:cNvGraphicFramePr>
          <p:nvPr/>
        </p:nvGraphicFramePr>
        <p:xfrm>
          <a:off x="2613976" y="3562575"/>
          <a:ext cx="5670000" cy="540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6" name="C2">
            <a:extLst>
              <a:ext uri="{FF2B5EF4-FFF2-40B4-BE49-F238E27FC236}">
                <a16:creationId xmlns:a16="http://schemas.microsoft.com/office/drawing/2014/main" id="{F71215E8-DB23-04DC-6CB0-EDBA624D57AD}"/>
              </a:ext>
            </a:extLst>
          </p:cNvPr>
          <p:cNvGraphicFramePr>
            <a:graphicFrameLocks/>
          </p:cNvGraphicFramePr>
          <p:nvPr/>
        </p:nvGraphicFramePr>
        <p:xfrm>
          <a:off x="2613976" y="1800447"/>
          <a:ext cx="5670000" cy="540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9" name="C2">
            <a:extLst>
              <a:ext uri="{FF2B5EF4-FFF2-40B4-BE49-F238E27FC236}">
                <a16:creationId xmlns:a16="http://schemas.microsoft.com/office/drawing/2014/main" id="{F14B92C8-FABC-96D7-402C-3D76413E8235}"/>
              </a:ext>
            </a:extLst>
          </p:cNvPr>
          <p:cNvGraphicFramePr>
            <a:graphicFrameLocks/>
          </p:cNvGraphicFramePr>
          <p:nvPr/>
        </p:nvGraphicFramePr>
        <p:xfrm>
          <a:off x="2613976" y="2387823"/>
          <a:ext cx="5670000" cy="540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C2">
            <a:extLst>
              <a:ext uri="{FF2B5EF4-FFF2-40B4-BE49-F238E27FC236}">
                <a16:creationId xmlns:a16="http://schemas.microsoft.com/office/drawing/2014/main" id="{DE81377D-373D-961E-584B-D8FD56569DAD}"/>
              </a:ext>
            </a:extLst>
          </p:cNvPr>
          <p:cNvGraphicFramePr>
            <a:graphicFrameLocks/>
          </p:cNvGraphicFramePr>
          <p:nvPr/>
        </p:nvGraphicFramePr>
        <p:xfrm>
          <a:off x="2613976" y="2975199"/>
          <a:ext cx="5670000" cy="540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3" name="C3">
            <a:extLst>
              <a:ext uri="{FF2B5EF4-FFF2-40B4-BE49-F238E27FC236}">
                <a16:creationId xmlns:a16="http://schemas.microsoft.com/office/drawing/2014/main" id="{3303C260-9158-806D-F80E-9273B1B43206}"/>
              </a:ext>
            </a:extLst>
          </p:cNvPr>
          <p:cNvGraphicFramePr>
            <a:graphicFrameLocks/>
          </p:cNvGraphicFramePr>
          <p:nvPr/>
        </p:nvGraphicFramePr>
        <p:xfrm>
          <a:off x="2613976" y="4102575"/>
          <a:ext cx="5670000" cy="540000"/>
        </p:xfrm>
        <a:graphic>
          <a:graphicData uri="http://schemas.openxmlformats.org/drawingml/2006/chart">
            <c:chart xmlns:c="http://schemas.openxmlformats.org/drawingml/2006/chart" xmlns:r="http://schemas.openxmlformats.org/officeDocument/2006/relationships" r:id="rId10"/>
          </a:graphicData>
        </a:graphic>
      </p:graphicFrame>
      <p:sp>
        <p:nvSpPr>
          <p:cNvPr id="6" name="TB5">
            <a:extLst>
              <a:ext uri="{FF2B5EF4-FFF2-40B4-BE49-F238E27FC236}">
                <a16:creationId xmlns:a16="http://schemas.microsoft.com/office/drawing/2014/main" id="{756A32C0-AC88-C935-C31D-0AF7B36153E6}"/>
              </a:ext>
            </a:extLst>
          </p:cNvPr>
          <p:cNvSpPr txBox="1"/>
          <p:nvPr/>
        </p:nvSpPr>
        <p:spPr>
          <a:xfrm>
            <a:off x="2555874" y="4739972"/>
            <a:ext cx="6084125"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49" rtl="0" eaLnBrk="1" fontAlgn="auto" latinLnBrk="0" hangingPunct="1">
              <a:lnSpc>
                <a:spcPct val="100000"/>
              </a:lnSpc>
              <a:spcBef>
                <a:spcPts val="0"/>
              </a:spcBef>
              <a:spcAft>
                <a:spcPts val="0"/>
              </a:spcAft>
              <a:buClrTx/>
              <a:buSzTx/>
              <a:buFontTx/>
              <a:buNone/>
              <a:tabLst/>
              <a:defRPr/>
            </a:pPr>
            <a:r>
              <a:rPr kumimoji="0" sz="1000" b="0" i="0" u="none" strike="noStrike" kern="1200" cap="none" spc="0" normalizeH="0" baseline="0" noProof="0" dirty="0">
                <a:ln>
                  <a:noFill/>
                </a:ln>
                <a:solidFill>
                  <a:schemeClr val="tx2"/>
                </a:solidFill>
                <a:effectLst/>
                <a:uLnTx/>
                <a:uFillTx/>
                <a:latin typeface="Nexa Bold"/>
                <a:ea typeface="+mn-ea"/>
                <a:cs typeface="+mn-cs"/>
              </a:rPr>
              <a:t>SKU ranked by shares</a:t>
            </a:r>
            <a:endParaRPr kumimoji="0" lang="en-US" sz="1000" b="0" i="0" u="none" strike="noStrike" kern="1200" cap="none" spc="0" normalizeH="0" baseline="0" noProof="0" dirty="0">
              <a:ln>
                <a:noFill/>
              </a:ln>
              <a:solidFill>
                <a:schemeClr val="tx2"/>
              </a:solidFill>
              <a:effectLst/>
              <a:uLnTx/>
              <a:uFillTx/>
              <a:latin typeface="Nexa Bold" panose="00000800000000000000" pitchFamily="2" charset="0"/>
              <a:ea typeface="Open Sans" panose="020B0604020202020204" charset="0"/>
              <a:cs typeface="Open Sans" panose="020B0604020202020204" charset="0"/>
            </a:endParaRPr>
          </a:p>
        </p:txBody>
      </p:sp>
      <p:sp>
        <p:nvSpPr>
          <p:cNvPr id="12" name="Rectangle 11">
            <a:extLst>
              <a:ext uri="{FF2B5EF4-FFF2-40B4-BE49-F238E27FC236}">
                <a16:creationId xmlns:a16="http://schemas.microsoft.com/office/drawing/2014/main" id="{F1D00EDB-C7CC-C51A-DFF8-01D9B265571B}"/>
              </a:ext>
            </a:extLst>
          </p:cNvPr>
          <p:cNvSpPr/>
          <p:nvPr/>
        </p:nvSpPr>
        <p:spPr>
          <a:xfrm>
            <a:off x="540000" y="1131888"/>
            <a:ext cx="2015873" cy="360808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05740" rtlCol="0" anchor="ctr"/>
          <a:lstStyle/>
          <a:p>
            <a:pPr marL="0" marR="0" lvl="0" indent="0" algn="l" defTabSz="685749" rtl="0" eaLnBrk="1" fontAlgn="auto" latinLnBrk="0" hangingPunct="1">
              <a:lnSpc>
                <a:spcPct val="100000"/>
              </a:lnSpc>
              <a:spcBef>
                <a:spcPts val="0"/>
              </a:spcBef>
              <a:spcAft>
                <a:spcPts val="0"/>
              </a:spcAft>
              <a:buClrTx/>
              <a:buSzTx/>
              <a:buFontTx/>
              <a:buNone/>
              <a:tabLst/>
              <a:defRPr/>
            </a:pPr>
            <a:endParaRPr kumimoji="0" lang="en-CH" sz="1200" b="0" i="0" u="none" strike="noStrike" kern="1200" cap="none" spc="0" normalizeH="0" baseline="0" noProof="0">
              <a:ln>
                <a:noFill/>
              </a:ln>
              <a:solidFill>
                <a:srgbClr val="575555"/>
              </a:solidFill>
              <a:effectLst/>
              <a:uLnTx/>
              <a:uFillTx/>
              <a:latin typeface="Nexa Book"/>
              <a:ea typeface="Open Sans" panose="020B0604020202020204" charset="0"/>
              <a:cs typeface="Open Sans" panose="020B0604020202020204" charset="0"/>
            </a:endParaRPr>
          </a:p>
        </p:txBody>
      </p:sp>
    </p:spTree>
    <p:extLst>
      <p:ext uri="{BB962C8B-B14F-4D97-AF65-F5344CB8AC3E}">
        <p14:creationId xmlns:p14="http://schemas.microsoft.com/office/powerpoint/2010/main" val="371612137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F7140021-20C8-4545-E279-A321D4157D2C}"/>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F7140021-20C8-4545-E279-A321D4157D2C}"/>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9FE57B27-8B4D-E42D-13BE-2ACB367CE9DD}"/>
              </a:ext>
            </a:extLst>
          </p:cNvPr>
          <p:cNvSpPr>
            <a:spLocks noGrp="1"/>
          </p:cNvSpPr>
          <p:nvPr>
            <p:ph type="dt" sz="half" idx="14"/>
          </p:nvPr>
        </p:nvSpPr>
        <p:spPr/>
        <p:txBody>
          <a:bodyPr/>
          <a:lstStyle/>
          <a:p>
            <a:pPr marL="0" marR="0" lvl="0" indent="0" algn="r" defTabSz="685732" rtl="0" eaLnBrk="1" fontAlgn="auto" latinLnBrk="0" hangingPunct="1">
              <a:lnSpc>
                <a:spcPct val="100000"/>
              </a:lnSpc>
              <a:spcBef>
                <a:spcPts val="0"/>
              </a:spcBef>
              <a:spcAft>
                <a:spcPts val="0"/>
              </a:spcAft>
              <a:buClrTx/>
              <a:buSzTx/>
              <a:buFontTx/>
              <a:buNone/>
              <a:tabLst/>
              <a:defRPr/>
            </a:pPr>
            <a:fld id="{1BF773BD-627F-4E37-90AA-A8484C9F2D54}" type="datetime1">
              <a:rPr kumimoji="0" lang="en-US" sz="4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mn-cs"/>
              </a:rPr>
              <a:pPr marL="0" marR="0" lvl="0" indent="0" algn="r" defTabSz="685732" rtl="0" eaLnBrk="1" fontAlgn="auto" latinLnBrk="0" hangingPunct="1">
                <a:lnSpc>
                  <a:spcPct val="100000"/>
                </a:lnSpc>
                <a:spcBef>
                  <a:spcPts val="0"/>
                </a:spcBef>
                <a:spcAft>
                  <a:spcPts val="0"/>
                </a:spcAft>
                <a:buClrTx/>
                <a:buSzTx/>
                <a:buFontTx/>
                <a:buNone/>
                <a:tabLst/>
                <a:defRPr/>
              </a:pPr>
              <a:t>7/8/2024</a:t>
            </a:fld>
            <a:endParaRPr kumimoji="0" lang="en-US" sz="400" b="0" i="0" u="none" strike="noStrike" kern="1200" cap="none" spc="0" normalizeH="0" baseline="0" noProof="0" dirty="0">
              <a:ln>
                <a:noFill/>
              </a:ln>
              <a:solidFill>
                <a:srgbClr val="E6E5E5">
                  <a:lumMod val="50000"/>
                </a:srgbClr>
              </a:solidFill>
              <a:effectLst/>
              <a:uLnTx/>
              <a:uFillTx/>
              <a:latin typeface="Nexa Book" panose="00000400000000000000" pitchFamily="50" charset="0"/>
              <a:ea typeface="+mn-ea"/>
              <a:cs typeface="+mn-cs"/>
            </a:endParaRPr>
          </a:p>
        </p:txBody>
      </p:sp>
      <p:sp>
        <p:nvSpPr>
          <p:cNvPr id="11" name="Footer Placeholder 10">
            <a:extLst>
              <a:ext uri="{FF2B5EF4-FFF2-40B4-BE49-F238E27FC236}">
                <a16:creationId xmlns:a16="http://schemas.microsoft.com/office/drawing/2014/main" id="{DD015A0E-D9E7-33A8-ED4F-216571C2ABF9}"/>
              </a:ext>
            </a:extLst>
          </p:cNvPr>
          <p:cNvSpPr>
            <a:spLocks noGrp="1"/>
          </p:cNvSpPr>
          <p:nvPr>
            <p:ph type="ftr" sz="quarter" idx="15"/>
          </p:nvPr>
        </p:nvSpPr>
        <p:spPr/>
        <p:txBody>
          <a:bodyPr/>
          <a:lstStyle/>
          <a:p>
            <a:pPr marL="0" marR="0" lvl="0" indent="0" algn="ctr" defTabSz="685732" rtl="0" eaLnBrk="1" fontAlgn="auto" latinLnBrk="0" hangingPunct="1">
              <a:lnSpc>
                <a:spcPct val="100000"/>
              </a:lnSpc>
              <a:spcBef>
                <a:spcPts val="0"/>
              </a:spcBef>
              <a:spcAft>
                <a:spcPts val="0"/>
              </a:spcAft>
              <a:buClrTx/>
              <a:buSzTx/>
              <a:buFontTx/>
              <a:buNone/>
              <a:tabLst/>
              <a:defRPr/>
            </a:pPr>
            <a:endParaRPr kumimoji="0" lang="en-US" sz="4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mn-cs"/>
            </a:endParaRPr>
          </a:p>
        </p:txBody>
      </p:sp>
      <p:sp>
        <p:nvSpPr>
          <p:cNvPr id="2" name="Slide Number Placeholder 1">
            <a:extLst>
              <a:ext uri="{FF2B5EF4-FFF2-40B4-BE49-F238E27FC236}">
                <a16:creationId xmlns:a16="http://schemas.microsoft.com/office/drawing/2014/main" id="{E9FF02AB-133B-3FFF-E266-81CC0CC2608F}"/>
              </a:ext>
            </a:extLst>
          </p:cNvPr>
          <p:cNvSpPr>
            <a:spLocks noGrp="1"/>
          </p:cNvSpPr>
          <p:nvPr>
            <p:ph type="sldNum" sz="quarter" idx="16"/>
          </p:nvPr>
        </p:nvSpPr>
        <p:spPr/>
        <p:txBody>
          <a:bodyPr/>
          <a:lstStyle/>
          <a:p>
            <a:pPr marL="0" marR="0" lvl="0" indent="0" algn="r" defTabSz="685732" rtl="0" eaLnBrk="1" fontAlgn="auto" latinLnBrk="0" hangingPunct="1">
              <a:lnSpc>
                <a:spcPct val="100000"/>
              </a:lnSpc>
              <a:spcBef>
                <a:spcPts val="0"/>
              </a:spcBef>
              <a:spcAft>
                <a:spcPts val="0"/>
              </a:spcAft>
              <a:buClrTx/>
              <a:buSzTx/>
              <a:buFontTx/>
              <a:buNone/>
              <a:tabLst/>
              <a:defRPr/>
            </a:pPr>
            <a:fld id="{7B1F438D-4EAF-094E-9162-80CF3EF77236}" type="slidenum">
              <a:rPr kumimoji="0" lang="en-US" sz="4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pPr marL="0" marR="0" lvl="0" indent="0" algn="r" defTabSz="685732" rtl="0" eaLnBrk="1" fontAlgn="auto" latinLnBrk="0" hangingPunct="1">
                <a:lnSpc>
                  <a:spcPct val="100000"/>
                </a:lnSpc>
                <a:spcBef>
                  <a:spcPts val="0"/>
                </a:spcBef>
                <a:spcAft>
                  <a:spcPts val="0"/>
                </a:spcAft>
                <a:buClrTx/>
                <a:buSzTx/>
                <a:buFontTx/>
                <a:buNone/>
                <a:tabLst/>
                <a:defRPr/>
              </a:pPr>
              <a:t>6</a:t>
            </a:fld>
            <a:endParaRPr kumimoji="0" lang="en-US" sz="4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p:txBody>
      </p:sp>
      <p:sp>
        <p:nvSpPr>
          <p:cNvPr id="8" name="Text Placeholder 7">
            <a:extLst>
              <a:ext uri="{FF2B5EF4-FFF2-40B4-BE49-F238E27FC236}">
                <a16:creationId xmlns:a16="http://schemas.microsoft.com/office/drawing/2014/main" id="{48281850-236B-4313-99A6-E1EAEBB77165}"/>
              </a:ext>
            </a:extLst>
          </p:cNvPr>
          <p:cNvSpPr>
            <a:spLocks noGrp="1"/>
          </p:cNvSpPr>
          <p:nvPr>
            <p:ph type="body" sz="quarter" idx="17"/>
          </p:nvPr>
        </p:nvSpPr>
        <p:spPr/>
        <p:txBody>
          <a:bodyPr/>
          <a:lstStyle/>
          <a:p>
            <a:r>
              <a:rPr lang="en-US" dirty="0"/>
              <a:t>DATA SOURCE: Consumer Test | </a:t>
            </a:r>
            <a:r>
              <a:rPr lang="en-US" dirty="0">
                <a:highlight>
                  <a:srgbClr val="FFFF00"/>
                </a:highlight>
              </a:rPr>
              <a:t>Dec 2023</a:t>
            </a:r>
          </a:p>
        </p:txBody>
      </p:sp>
      <p:sp>
        <p:nvSpPr>
          <p:cNvPr id="5" name="Content Placeholder 4">
            <a:extLst>
              <a:ext uri="{FF2B5EF4-FFF2-40B4-BE49-F238E27FC236}">
                <a16:creationId xmlns:a16="http://schemas.microsoft.com/office/drawing/2014/main" id="{F2A98AF2-8042-4280-BEB7-41439E7B7D82}"/>
              </a:ext>
            </a:extLst>
          </p:cNvPr>
          <p:cNvSpPr>
            <a:spLocks noGrp="1"/>
          </p:cNvSpPr>
          <p:nvPr>
            <p:ph type="body" sz="quarter" idx="18"/>
          </p:nvPr>
        </p:nvSpPr>
        <p:spPr/>
        <p:txBody>
          <a:bodyPr/>
          <a:lstStyle/>
          <a:p>
            <a:r>
              <a:rPr sz="1200" dirty="0">
                <a:solidFill>
                  <a:srgbClr val="00A097"/>
                </a:solidFill>
                <a:latin typeface="Nexa Bold (Headings)"/>
              </a:rPr>
              <a:t>Innovation Potential when introducing each innovation one by one | </a:t>
            </a:r>
            <a:r>
              <a:rPr lang="en-US" sz="1200" dirty="0">
                <a:solidFill>
                  <a:srgbClr val="00A097"/>
                </a:solidFill>
                <a:highlight>
                  <a:srgbClr val="FFFF00"/>
                </a:highlight>
                <a:latin typeface="Nexa Bold (Headings)"/>
              </a:rPr>
              <a:t>Panda</a:t>
            </a:r>
            <a:r>
              <a:rPr lang="en-US" sz="1200" dirty="0">
                <a:solidFill>
                  <a:srgbClr val="00A097"/>
                </a:solidFill>
                <a:latin typeface="Nexa Bold (Headings)"/>
              </a:rPr>
              <a:t> | </a:t>
            </a:r>
            <a:r>
              <a:rPr sz="1200" dirty="0" err="1">
                <a:solidFill>
                  <a:srgbClr val="00A097"/>
                </a:solidFill>
                <a:highlight>
                  <a:srgbClr val="FFFF00"/>
                </a:highlight>
                <a:latin typeface="Nexa Bold (Headings)"/>
              </a:rPr>
              <a:t>Cookies'n</a:t>
            </a:r>
            <a:r>
              <a:rPr sz="1200" dirty="0">
                <a:solidFill>
                  <a:srgbClr val="00A097"/>
                </a:solidFill>
                <a:highlight>
                  <a:srgbClr val="FFFF00"/>
                </a:highlight>
                <a:latin typeface="Nexa Bold (Headings)"/>
              </a:rPr>
              <a:t> Creme </a:t>
            </a:r>
            <a:r>
              <a:rPr sz="1200" dirty="0">
                <a:solidFill>
                  <a:srgbClr val="00A097"/>
                </a:solidFill>
                <a:latin typeface="Nexa Bold (Headings)"/>
              </a:rPr>
              <a:t>innovation</a:t>
            </a:r>
            <a:endParaRPr lang="en-CH" dirty="0">
              <a:highlight>
                <a:srgbClr val="FFFF00"/>
              </a:highlight>
            </a:endParaRPr>
          </a:p>
        </p:txBody>
      </p:sp>
      <p:sp>
        <p:nvSpPr>
          <p:cNvPr id="3" name="Title 2">
            <a:extLst>
              <a:ext uri="{FF2B5EF4-FFF2-40B4-BE49-F238E27FC236}">
                <a16:creationId xmlns:a16="http://schemas.microsoft.com/office/drawing/2014/main" id="{6749D710-19C8-466B-9F84-7BF9A24376D2}"/>
              </a:ext>
            </a:extLst>
          </p:cNvPr>
          <p:cNvSpPr>
            <a:spLocks noGrp="1"/>
          </p:cNvSpPr>
          <p:nvPr>
            <p:ph type="title"/>
          </p:nvPr>
        </p:nvSpPr>
        <p:spPr/>
        <p:txBody>
          <a:bodyPr vert="horz"/>
          <a:lstStyle/>
          <a:p>
            <a:r>
              <a:rPr lang="en-US" dirty="0"/>
              <a:t>Innovation potential</a:t>
            </a:r>
            <a:r>
              <a:rPr lang="en-US" dirty="0">
                <a:solidFill>
                  <a:schemeClr val="bg2">
                    <a:lumMod val="90000"/>
                  </a:schemeClr>
                </a:solidFill>
                <a:latin typeface="+mj-lt"/>
              </a:rPr>
              <a:t> (Replace with SO WHAT)</a:t>
            </a:r>
            <a:endParaRPr lang="en-CH" dirty="0">
              <a:solidFill>
                <a:schemeClr val="tx1">
                  <a:lumMod val="40000"/>
                  <a:lumOff val="60000"/>
                </a:schemeClr>
              </a:solidFill>
            </a:endParaRPr>
          </a:p>
        </p:txBody>
      </p:sp>
      <p:graphicFrame>
        <p:nvGraphicFramePr>
          <p:cNvPr id="9" name="C1">
            <a:extLst>
              <a:ext uri="{FF2B5EF4-FFF2-40B4-BE49-F238E27FC236}">
                <a16:creationId xmlns:a16="http://schemas.microsoft.com/office/drawing/2014/main" id="{8BAAE72A-4E11-4E4F-9088-41E58E89CF65}"/>
              </a:ext>
            </a:extLst>
          </p:cNvPr>
          <p:cNvGraphicFramePr>
            <a:graphicFrameLocks/>
          </p:cNvGraphicFramePr>
          <p:nvPr>
            <p:extLst>
              <p:ext uri="{D42A27DB-BD31-4B8C-83A1-F6EECF244321}">
                <p14:modId xmlns:p14="http://schemas.microsoft.com/office/powerpoint/2010/main" val="3096521214"/>
              </p:ext>
            </p:extLst>
          </p:nvPr>
        </p:nvGraphicFramePr>
        <p:xfrm>
          <a:off x="1564788" y="1152000"/>
          <a:ext cx="7075212" cy="2824152"/>
        </p:xfrm>
        <a:graphic>
          <a:graphicData uri="http://schemas.openxmlformats.org/drawingml/2006/chart">
            <c:chart xmlns:c="http://schemas.openxmlformats.org/drawingml/2006/chart" xmlns:r="http://schemas.openxmlformats.org/officeDocument/2006/relationships" r:id="rId5"/>
          </a:graphicData>
        </a:graphic>
      </p:graphicFrame>
      <p:sp>
        <p:nvSpPr>
          <p:cNvPr id="4" name="TextBox 3">
            <a:extLst>
              <a:ext uri="{FF2B5EF4-FFF2-40B4-BE49-F238E27FC236}">
                <a16:creationId xmlns:a16="http://schemas.microsoft.com/office/drawing/2014/main" id="{BD34EF07-C768-4167-B12A-4618C6A4B6C6}"/>
              </a:ext>
            </a:extLst>
          </p:cNvPr>
          <p:cNvSpPr txBox="1"/>
          <p:nvPr/>
        </p:nvSpPr>
        <p:spPr>
          <a:xfrm>
            <a:off x="0" y="1131888"/>
            <a:ext cx="1469572" cy="217264"/>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32" rtl="0" eaLnBrk="1" fontAlgn="auto" latinLnBrk="0" hangingPunct="1">
              <a:lnSpc>
                <a:spcPct val="15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WD assumption = 50%</a:t>
            </a:r>
            <a:endParaRPr kumimoji="0" lang="en-CH" sz="800" b="1" i="0" u="none" strike="noStrike" kern="1200" cap="none" spc="0" normalizeH="0" baseline="0" noProof="0" dirty="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endParaRPr>
          </a:p>
        </p:txBody>
      </p:sp>
      <p:graphicFrame>
        <p:nvGraphicFramePr>
          <p:cNvPr id="13" name="T1">
            <a:extLst>
              <a:ext uri="{FF2B5EF4-FFF2-40B4-BE49-F238E27FC236}">
                <a16:creationId xmlns:a16="http://schemas.microsoft.com/office/drawing/2014/main" id="{E6160B1D-A234-40CC-95E2-D23E09AF105D}"/>
              </a:ext>
            </a:extLst>
          </p:cNvPr>
          <p:cNvGraphicFramePr>
            <a:graphicFrameLocks/>
          </p:cNvGraphicFramePr>
          <p:nvPr>
            <p:extLst>
              <p:ext uri="{D42A27DB-BD31-4B8C-83A1-F6EECF244321}">
                <p14:modId xmlns:p14="http://schemas.microsoft.com/office/powerpoint/2010/main" val="1359493643"/>
              </p:ext>
            </p:extLst>
          </p:nvPr>
        </p:nvGraphicFramePr>
        <p:xfrm>
          <a:off x="174228" y="3979225"/>
          <a:ext cx="8464431" cy="708660"/>
        </p:xfrm>
        <a:graphic>
          <a:graphicData uri="http://schemas.openxmlformats.org/drawingml/2006/table">
            <a:tbl>
              <a:tblPr firstRow="1" bandRow="1">
                <a:tableStyleId>{5C22544A-7EE6-4342-B048-85BDC9FD1C3A}</a:tableStyleId>
              </a:tblPr>
              <a:tblGrid>
                <a:gridCol w="1449747">
                  <a:extLst>
                    <a:ext uri="{9D8B030D-6E8A-4147-A177-3AD203B41FA5}">
                      <a16:colId xmlns:a16="http://schemas.microsoft.com/office/drawing/2014/main" val="1646652903"/>
                    </a:ext>
                  </a:extLst>
                </a:gridCol>
                <a:gridCol w="1127760">
                  <a:extLst>
                    <a:ext uri="{9D8B030D-6E8A-4147-A177-3AD203B41FA5}">
                      <a16:colId xmlns:a16="http://schemas.microsoft.com/office/drawing/2014/main" val="4292788590"/>
                    </a:ext>
                  </a:extLst>
                </a:gridCol>
                <a:gridCol w="1179195">
                  <a:extLst>
                    <a:ext uri="{9D8B030D-6E8A-4147-A177-3AD203B41FA5}">
                      <a16:colId xmlns:a16="http://schemas.microsoft.com/office/drawing/2014/main" val="401539003"/>
                    </a:ext>
                  </a:extLst>
                </a:gridCol>
                <a:gridCol w="1174433">
                  <a:extLst>
                    <a:ext uri="{9D8B030D-6E8A-4147-A177-3AD203B41FA5}">
                      <a16:colId xmlns:a16="http://schemas.microsoft.com/office/drawing/2014/main" val="138763722"/>
                    </a:ext>
                  </a:extLst>
                </a:gridCol>
                <a:gridCol w="1174433">
                  <a:extLst>
                    <a:ext uri="{9D8B030D-6E8A-4147-A177-3AD203B41FA5}">
                      <a16:colId xmlns:a16="http://schemas.microsoft.com/office/drawing/2014/main" val="2633844746"/>
                    </a:ext>
                  </a:extLst>
                </a:gridCol>
                <a:gridCol w="1185863">
                  <a:extLst>
                    <a:ext uri="{9D8B030D-6E8A-4147-A177-3AD203B41FA5}">
                      <a16:colId xmlns:a16="http://schemas.microsoft.com/office/drawing/2014/main" val="2595269352"/>
                    </a:ext>
                  </a:extLst>
                </a:gridCol>
                <a:gridCol w="1173000">
                  <a:extLst>
                    <a:ext uri="{9D8B030D-6E8A-4147-A177-3AD203B41FA5}">
                      <a16:colId xmlns:a16="http://schemas.microsoft.com/office/drawing/2014/main" val="1510539967"/>
                    </a:ext>
                  </a:extLst>
                </a:gridCol>
              </a:tblGrid>
              <a:tr h="320040">
                <a:tc>
                  <a:txBody>
                    <a:bodyPr/>
                    <a:lstStyle/>
                    <a:p>
                      <a:r>
                        <a:rPr sz="800" b="0" dirty="0">
                          <a:solidFill>
                            <a:srgbClr val="FFFFFF"/>
                          </a:solidFill>
                          <a:latin typeface="Nexa Bold"/>
                        </a:rPr>
                        <a:t>Cannibalization within </a:t>
                      </a:r>
                      <a:endParaRPr lang="en-US" sz="800" b="0" dirty="0">
                        <a:solidFill>
                          <a:srgbClr val="FFFFFF"/>
                        </a:solidFill>
                        <a:latin typeface="Nexa Bold"/>
                      </a:endParaRPr>
                    </a:p>
                    <a:p>
                      <a:r>
                        <a:rPr sz="800" b="0" dirty="0">
                          <a:solidFill>
                            <a:srgbClr val="FFFFFF"/>
                          </a:solidFill>
                          <a:latin typeface="Nexa Bold"/>
                        </a:rPr>
                        <a:t>Hershey</a:t>
                      </a:r>
                      <a:r>
                        <a:rPr lang="en-US" sz="800" b="0" dirty="0">
                          <a:solidFill>
                            <a:schemeClr val="bg1"/>
                          </a:solidFill>
                          <a:latin typeface="Nexa Bold"/>
                        </a:rPr>
                        <a:t>’</a:t>
                      </a:r>
                      <a:r>
                        <a:rPr sz="800" b="0" dirty="0">
                          <a:solidFill>
                            <a:srgbClr val="FFFFFF"/>
                          </a:solidFill>
                          <a:latin typeface="Nexa Bold"/>
                        </a:rPr>
                        <a:t>s portfolio</a:t>
                      </a:r>
                      <a:endParaRPr lang="en-US" sz="800" b="0" dirty="0">
                        <a:solidFill>
                          <a:schemeClr val="bg1"/>
                        </a:solidFill>
                        <a:latin typeface="Nexa Bold" panose="00000800000000000000" pitchFamily="2" charset="0"/>
                        <a:ea typeface="Open Sans" panose="020B0604020202020204" charset="0"/>
                        <a:cs typeface="Open Sans" panose="020B0604020202020204" charset="0"/>
                      </a:endParaRP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sz="800" b="0" dirty="0">
                          <a:solidFill>
                            <a:srgbClr val="FFFFFF"/>
                          </a:solidFill>
                          <a:latin typeface="Nexa Bold"/>
                        </a:rPr>
                        <a:t>12%</a:t>
                      </a: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US" sz="800" b="0" dirty="0">
                          <a:solidFill>
                            <a:srgbClr val="FFFFFF"/>
                          </a:solidFill>
                          <a:latin typeface="Nexa Bold"/>
                        </a:rPr>
                        <a:t>12</a:t>
                      </a:r>
                      <a:endParaRPr sz="800" b="0" dirty="0">
                        <a:solidFill>
                          <a:srgbClr val="FFFFFF"/>
                        </a:solidFill>
                        <a:latin typeface="Nexa Bold"/>
                      </a:endParaRP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US" sz="800" b="0" dirty="0">
                          <a:solidFill>
                            <a:srgbClr val="FFFFFF"/>
                          </a:solidFill>
                          <a:latin typeface="Nexa Bold"/>
                        </a:rPr>
                        <a:t>12</a:t>
                      </a:r>
                      <a:endParaRPr sz="800" b="0" dirty="0">
                        <a:solidFill>
                          <a:srgbClr val="FFFFFF"/>
                        </a:solidFill>
                        <a:latin typeface="Nexa Bold"/>
                      </a:endParaRP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US" sz="800" b="0" dirty="0">
                          <a:solidFill>
                            <a:srgbClr val="FFFFFF"/>
                          </a:solidFill>
                          <a:latin typeface="Nexa Bold"/>
                        </a:rPr>
                        <a:t>12</a:t>
                      </a:r>
                      <a:endParaRPr sz="800" b="0" dirty="0">
                        <a:solidFill>
                          <a:srgbClr val="FFFFFF"/>
                        </a:solidFill>
                        <a:latin typeface="Nexa Bold"/>
                      </a:endParaRP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sz="800" b="0" dirty="0">
                          <a:solidFill>
                            <a:srgbClr val="FFFFFF"/>
                          </a:solidFill>
                          <a:latin typeface="Nexa Bold"/>
                        </a:rPr>
                        <a:t>12%</a:t>
                      </a: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sz="800" b="0" dirty="0">
                          <a:solidFill>
                            <a:srgbClr val="FFFFFF"/>
                          </a:solidFill>
                          <a:latin typeface="Nexa Bold"/>
                        </a:rPr>
                        <a:t>7%</a:t>
                      </a:r>
                      <a:endParaRPr lang="en-AE" sz="800" b="0" i="0" u="none" strike="noStrike" dirty="0">
                        <a:solidFill>
                          <a:schemeClr val="bg1"/>
                        </a:solidFill>
                        <a:effectLst/>
                        <a:latin typeface="Nexa Book" panose="00000400000000000000" pitchFamily="50" charset="0"/>
                        <a:ea typeface="Open Sans" panose="020B0606030504020204" pitchFamily="34" charset="0"/>
                        <a:cs typeface="Open Sans" panose="020B0606030504020204" pitchFamily="34" charset="0"/>
                      </a:endParaRP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3162297014"/>
                  </a:ext>
                </a:extLst>
              </a:tr>
              <a:tr h="19431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highlight>
                            <a:srgbClr val="FFFF00"/>
                          </a:highlight>
                          <a:latin typeface="Nexa Bold"/>
                        </a:rPr>
                        <a:t>Hershey’s</a:t>
                      </a:r>
                      <a:r>
                        <a:rPr sz="800" b="0" dirty="0">
                          <a:solidFill>
                            <a:srgbClr val="575555"/>
                          </a:solidFill>
                          <a:latin typeface="Nexa Bold"/>
                        </a:rPr>
                        <a:t> </a:t>
                      </a:r>
                      <a:r>
                        <a:rPr lang="en-US" sz="800" b="0" dirty="0">
                          <a:solidFill>
                            <a:srgbClr val="575555"/>
                          </a:solidFill>
                          <a:latin typeface="Nexa Bold"/>
                        </a:rPr>
                        <a:t>Value</a:t>
                      </a:r>
                      <a:r>
                        <a:rPr sz="800" b="0" dirty="0">
                          <a:solidFill>
                            <a:srgbClr val="575555"/>
                          </a:solidFill>
                          <a:latin typeface="Nexa Bold"/>
                        </a:rPr>
                        <a:t> Ix</a:t>
                      </a:r>
                      <a:endParaRPr lang="en-US" sz="800" b="0" dirty="0">
                        <a:solidFill>
                          <a:schemeClr val="tx2"/>
                        </a:solidFill>
                        <a:latin typeface="Nexa Bold" panose="00000800000000000000" pitchFamily="2" charset="0"/>
                        <a:ea typeface="Open Sans" panose="020B0604020202020204" charset="0"/>
                        <a:cs typeface="Open Sans" panose="020B0604020202020204" charset="0"/>
                      </a:endParaRP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dirty="0">
                          <a:solidFill>
                            <a:srgbClr val="575555"/>
                          </a:solidFill>
                          <a:latin typeface="Nexa Book"/>
                        </a:rPr>
                        <a:t>10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a:solidFill>
                            <a:srgbClr val="575555"/>
                          </a:solidFill>
                          <a:latin typeface="Nexa Book"/>
                        </a:rPr>
                        <a:t>10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a:solidFill>
                            <a:srgbClr val="575555"/>
                          </a:solidFill>
                          <a:latin typeface="Nexa Book"/>
                        </a:rPr>
                        <a:t>10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36007220"/>
                  </a:ext>
                </a:extLst>
              </a:tr>
              <a:tr h="19431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highlight>
                            <a:srgbClr val="FFFF00"/>
                          </a:highlight>
                          <a:latin typeface="Nexa Bold"/>
                        </a:rPr>
                        <a:t>Hershey’s</a:t>
                      </a:r>
                      <a:r>
                        <a:rPr lang="en-US" sz="800" b="0" dirty="0">
                          <a:solidFill>
                            <a:srgbClr val="575555"/>
                          </a:solidFill>
                          <a:latin typeface="Nexa Bold"/>
                        </a:rPr>
                        <a:t> Gross Profit </a:t>
                      </a:r>
                      <a:r>
                        <a:rPr sz="800" b="0" dirty="0">
                          <a:solidFill>
                            <a:srgbClr val="575555"/>
                          </a:solidFill>
                          <a:latin typeface="Nexa Bold"/>
                        </a:rPr>
                        <a:t>Ix</a:t>
                      </a:r>
                      <a:endParaRPr lang="en-US" sz="800" b="0" dirty="0">
                        <a:solidFill>
                          <a:schemeClr val="tx2"/>
                        </a:solidFill>
                        <a:latin typeface="Nexa Bold" panose="00000800000000000000" pitchFamily="2" charset="0"/>
                        <a:ea typeface="Open Sans" panose="020B0604020202020204" charset="0"/>
                        <a:cs typeface="Open Sans" panose="020B0604020202020204" charset="0"/>
                      </a:endParaRP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dirty="0">
                          <a:solidFill>
                            <a:srgbClr val="575555"/>
                          </a:solidFill>
                          <a:latin typeface="Nexa Book"/>
                        </a:rPr>
                        <a:t>10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a:solidFill>
                            <a:srgbClr val="575555"/>
                          </a:solidFill>
                          <a:latin typeface="Nexa Book"/>
                        </a:rPr>
                        <a:t>10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dirty="0">
                          <a:solidFill>
                            <a:srgbClr val="575555"/>
                          </a:solidFill>
                          <a:latin typeface="Nexa Book"/>
                        </a:rPr>
                        <a:t>11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391512300"/>
                  </a:ext>
                </a:extLst>
              </a:tr>
            </a:tbl>
          </a:graphicData>
        </a:graphic>
      </p:graphicFrame>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33A6171A-5777-4DCF-03ED-0823D8856A74}"/>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3" name="think-cell data - do not delete" hidden="1">
                        <a:extLst>
                          <a:ext uri="{FF2B5EF4-FFF2-40B4-BE49-F238E27FC236}">
                            <a16:creationId xmlns:a16="http://schemas.microsoft.com/office/drawing/2014/main" id="{33A6171A-5777-4DCF-03ED-0823D8856A74}"/>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353DFEAD-A1D1-6542-9D85-214A488D6167}"/>
              </a:ext>
            </a:extLst>
          </p:cNvPr>
          <p:cNvSpPr>
            <a:spLocks noGrp="1"/>
          </p:cNvSpPr>
          <p:nvPr>
            <p:ph type="dt" sz="half" idx="14"/>
          </p:nvPr>
        </p:nvSpPr>
        <p:spPr/>
        <p:txBody>
          <a:bodyPr/>
          <a:lstStyle/>
          <a:p>
            <a:pPr marL="0" marR="0" lvl="0" indent="0" algn="r" defTabSz="685732" rtl="0" eaLnBrk="1" fontAlgn="auto" latinLnBrk="0" hangingPunct="1">
              <a:lnSpc>
                <a:spcPct val="100000"/>
              </a:lnSpc>
              <a:spcBef>
                <a:spcPts val="0"/>
              </a:spcBef>
              <a:spcAft>
                <a:spcPts val="0"/>
              </a:spcAft>
              <a:buClrTx/>
              <a:buSzTx/>
              <a:buFontTx/>
              <a:buNone/>
              <a:tabLst/>
              <a:defRPr/>
            </a:pPr>
            <a:fld id="{4EB6B45F-B530-4BAF-9193-C42832625196}" type="datetime1">
              <a:rPr kumimoji="0" lang="en-US" sz="4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mn-cs"/>
              </a:rPr>
              <a:pPr marL="0" marR="0" lvl="0" indent="0" algn="r" defTabSz="685732" rtl="0" eaLnBrk="1" fontAlgn="auto" latinLnBrk="0" hangingPunct="1">
                <a:lnSpc>
                  <a:spcPct val="100000"/>
                </a:lnSpc>
                <a:spcBef>
                  <a:spcPts val="0"/>
                </a:spcBef>
                <a:spcAft>
                  <a:spcPts val="0"/>
                </a:spcAft>
                <a:buClrTx/>
                <a:buSzTx/>
                <a:buFontTx/>
                <a:buNone/>
                <a:tabLst/>
                <a:defRPr/>
              </a:pPr>
              <a:t>7/8/2024</a:t>
            </a:fld>
            <a:endParaRPr kumimoji="0" lang="en-US" sz="400" b="0" i="0" u="none" strike="noStrike" kern="1200" cap="none" spc="0" normalizeH="0" baseline="0" noProof="0" dirty="0">
              <a:ln>
                <a:noFill/>
              </a:ln>
              <a:solidFill>
                <a:srgbClr val="E6E5E5">
                  <a:lumMod val="50000"/>
                </a:srgbClr>
              </a:solidFill>
              <a:effectLst/>
              <a:uLnTx/>
              <a:uFillTx/>
              <a:latin typeface="Nexa Book" panose="00000400000000000000" pitchFamily="50" charset="0"/>
              <a:ea typeface="+mn-ea"/>
              <a:cs typeface="+mn-cs"/>
            </a:endParaRPr>
          </a:p>
        </p:txBody>
      </p:sp>
      <p:sp>
        <p:nvSpPr>
          <p:cNvPr id="10" name="Footer Placeholder 9">
            <a:extLst>
              <a:ext uri="{FF2B5EF4-FFF2-40B4-BE49-F238E27FC236}">
                <a16:creationId xmlns:a16="http://schemas.microsoft.com/office/drawing/2014/main" id="{D4D8DB3C-73BE-A102-A2BC-AABD486F1C28}"/>
              </a:ext>
            </a:extLst>
          </p:cNvPr>
          <p:cNvSpPr>
            <a:spLocks noGrp="1"/>
          </p:cNvSpPr>
          <p:nvPr>
            <p:ph type="ftr" sz="quarter" idx="15"/>
          </p:nvPr>
        </p:nvSpPr>
        <p:spPr/>
        <p:txBody>
          <a:bodyPr/>
          <a:lstStyle/>
          <a:p>
            <a:pPr marL="0" marR="0" lvl="0" indent="0" algn="ctr" defTabSz="685732" rtl="0" eaLnBrk="1" fontAlgn="auto" latinLnBrk="0" hangingPunct="1">
              <a:lnSpc>
                <a:spcPct val="100000"/>
              </a:lnSpc>
              <a:spcBef>
                <a:spcPts val="0"/>
              </a:spcBef>
              <a:spcAft>
                <a:spcPts val="0"/>
              </a:spcAft>
              <a:buClrTx/>
              <a:buSzTx/>
              <a:buFontTx/>
              <a:buNone/>
              <a:tabLst/>
              <a:defRPr/>
            </a:pPr>
            <a:endParaRPr kumimoji="0" lang="en-US" sz="400" b="0" i="0" u="none" strike="noStrike" kern="1200" cap="none" spc="0" normalizeH="0" baseline="0" noProof="0" dirty="0">
              <a:ln>
                <a:noFill/>
              </a:ln>
              <a:solidFill>
                <a:srgbClr val="E6E5E5">
                  <a:lumMod val="50000"/>
                </a:srgbClr>
              </a:solidFill>
              <a:effectLst/>
              <a:uLnTx/>
              <a:uFillTx/>
              <a:latin typeface="Nexa Book" panose="00000400000000000000" pitchFamily="50" charset="0"/>
              <a:ea typeface="+mn-ea"/>
              <a:cs typeface="+mn-cs"/>
            </a:endParaRPr>
          </a:p>
        </p:txBody>
      </p:sp>
      <p:sp>
        <p:nvSpPr>
          <p:cNvPr id="9" name="Slide Number Placeholder 8">
            <a:extLst>
              <a:ext uri="{FF2B5EF4-FFF2-40B4-BE49-F238E27FC236}">
                <a16:creationId xmlns:a16="http://schemas.microsoft.com/office/drawing/2014/main" id="{42790245-CC35-4A86-9084-F27F8D4F407E}"/>
              </a:ext>
            </a:extLst>
          </p:cNvPr>
          <p:cNvSpPr>
            <a:spLocks noGrp="1"/>
          </p:cNvSpPr>
          <p:nvPr>
            <p:ph type="sldNum" sz="quarter" idx="16"/>
          </p:nvPr>
        </p:nvSpPr>
        <p:spPr/>
        <p:txBody>
          <a:bodyPr/>
          <a:lstStyle/>
          <a:p>
            <a:pPr marL="0" marR="0" lvl="0" indent="0" algn="r" defTabSz="685732" rtl="0" eaLnBrk="1" fontAlgn="auto" latinLnBrk="0" hangingPunct="1">
              <a:lnSpc>
                <a:spcPct val="100000"/>
              </a:lnSpc>
              <a:spcBef>
                <a:spcPts val="0"/>
              </a:spcBef>
              <a:spcAft>
                <a:spcPts val="0"/>
              </a:spcAft>
              <a:buClrTx/>
              <a:buSzTx/>
              <a:buFontTx/>
              <a:buNone/>
              <a:tabLst/>
              <a:defRPr/>
            </a:pPr>
            <a:fld id="{7B1F438D-4EAF-094E-9162-80CF3EF77236}" type="slidenum">
              <a:rPr kumimoji="0" lang="en-US" sz="4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pPr marL="0" marR="0" lvl="0" indent="0" algn="r" defTabSz="685732" rtl="0" eaLnBrk="1" fontAlgn="auto" latinLnBrk="0" hangingPunct="1">
                <a:lnSpc>
                  <a:spcPct val="100000"/>
                </a:lnSpc>
                <a:spcBef>
                  <a:spcPts val="0"/>
                </a:spcBef>
                <a:spcAft>
                  <a:spcPts val="0"/>
                </a:spcAft>
                <a:buClrTx/>
                <a:buSzTx/>
                <a:buFontTx/>
                <a:buNone/>
                <a:tabLst/>
                <a:defRPr/>
              </a:pPr>
              <a:t>7</a:t>
            </a:fld>
            <a:endParaRPr kumimoji="0" lang="en-US" sz="4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8" name="Text Placeholder 7">
            <a:extLst>
              <a:ext uri="{FF2B5EF4-FFF2-40B4-BE49-F238E27FC236}">
                <a16:creationId xmlns:a16="http://schemas.microsoft.com/office/drawing/2014/main" id="{0E3E615C-F877-449B-9D49-17526771E455}"/>
              </a:ext>
            </a:extLst>
          </p:cNvPr>
          <p:cNvSpPr>
            <a:spLocks noGrp="1"/>
          </p:cNvSpPr>
          <p:nvPr>
            <p:ph type="body" sz="quarter" idx="17"/>
          </p:nvPr>
        </p:nvSpPr>
        <p:spPr/>
        <p:txBody>
          <a:bodyPr/>
          <a:lstStyle/>
          <a:p>
            <a:r>
              <a:rPr lang="en-US" dirty="0"/>
              <a:t>DATA SOURCE: Consumer Test | </a:t>
            </a:r>
            <a:r>
              <a:rPr lang="en-US" dirty="0">
                <a:highlight>
                  <a:srgbClr val="FFFF00"/>
                </a:highlight>
              </a:rPr>
              <a:t>Dec 2023</a:t>
            </a:r>
          </a:p>
        </p:txBody>
      </p:sp>
      <p:sp>
        <p:nvSpPr>
          <p:cNvPr id="6" name="Text Placeholder 5">
            <a:extLst>
              <a:ext uri="{FF2B5EF4-FFF2-40B4-BE49-F238E27FC236}">
                <a16:creationId xmlns:a16="http://schemas.microsoft.com/office/drawing/2014/main" id="{D55134F6-EB04-3FE8-6CD7-5BDCFF545022}"/>
              </a:ext>
            </a:extLst>
          </p:cNvPr>
          <p:cNvSpPr>
            <a:spLocks noGrp="1"/>
          </p:cNvSpPr>
          <p:nvPr>
            <p:ph type="body" sz="quarter" idx="18"/>
          </p:nvPr>
        </p:nvSpPr>
        <p:spPr/>
        <p:txBody>
          <a:bodyPr/>
          <a:lstStyle/>
          <a:p>
            <a:r>
              <a:rPr dirty="0">
                <a:solidFill>
                  <a:srgbClr val="00A097"/>
                </a:solidFill>
              </a:rPr>
              <a:t>Innovation | Sourcing Analysis | Rescaled Delta Share by Product | </a:t>
            </a:r>
            <a:r>
              <a:rPr lang="en-US" dirty="0">
                <a:solidFill>
                  <a:srgbClr val="00A097"/>
                </a:solidFill>
                <a:highlight>
                  <a:srgbClr val="FFFF00"/>
                </a:highlight>
              </a:rPr>
              <a:t>Panda</a:t>
            </a:r>
            <a:r>
              <a:rPr lang="en-US" dirty="0">
                <a:solidFill>
                  <a:srgbClr val="00A097"/>
                </a:solidFill>
              </a:rPr>
              <a:t> | </a:t>
            </a:r>
            <a:r>
              <a:rPr dirty="0" err="1">
                <a:solidFill>
                  <a:srgbClr val="00A097"/>
                </a:solidFill>
                <a:highlight>
                  <a:srgbClr val="FFFF00"/>
                </a:highlight>
              </a:rPr>
              <a:t>Cookies'n</a:t>
            </a:r>
            <a:r>
              <a:rPr dirty="0">
                <a:solidFill>
                  <a:srgbClr val="00A097"/>
                </a:solidFill>
                <a:highlight>
                  <a:srgbClr val="FFFF00"/>
                </a:highlight>
              </a:rPr>
              <a:t> Creme</a:t>
            </a:r>
            <a:r>
              <a:rPr dirty="0">
                <a:solidFill>
                  <a:srgbClr val="00A097"/>
                </a:solidFill>
              </a:rPr>
              <a:t> innovation</a:t>
            </a:r>
            <a:endParaRPr lang="en-CH" dirty="0">
              <a:highlight>
                <a:srgbClr val="FFFF00"/>
              </a:highlight>
            </a:endParaRPr>
          </a:p>
        </p:txBody>
      </p:sp>
      <p:sp>
        <p:nvSpPr>
          <p:cNvPr id="5" name="Title 4">
            <a:extLst>
              <a:ext uri="{FF2B5EF4-FFF2-40B4-BE49-F238E27FC236}">
                <a16:creationId xmlns:a16="http://schemas.microsoft.com/office/drawing/2014/main" id="{395DB3D6-566A-6C68-BCB1-630B40CC6AF4}"/>
              </a:ext>
            </a:extLst>
          </p:cNvPr>
          <p:cNvSpPr>
            <a:spLocks noGrp="1"/>
          </p:cNvSpPr>
          <p:nvPr>
            <p:ph type="title"/>
          </p:nvPr>
        </p:nvSpPr>
        <p:spPr/>
        <p:txBody>
          <a:bodyPr vert="horz"/>
          <a:lstStyle/>
          <a:p>
            <a:r>
              <a:rPr lang="en-US" dirty="0"/>
              <a:t>Innovation sourcing</a:t>
            </a:r>
            <a:r>
              <a:rPr lang="en-US" dirty="0">
                <a:solidFill>
                  <a:schemeClr val="bg2">
                    <a:lumMod val="90000"/>
                  </a:schemeClr>
                </a:solidFill>
                <a:latin typeface="+mj-lt"/>
              </a:rPr>
              <a:t> (Replace with SO WHAT)</a:t>
            </a:r>
            <a:endParaRPr lang="en-CH" dirty="0">
              <a:solidFill>
                <a:schemeClr val="tx1">
                  <a:lumMod val="40000"/>
                  <a:lumOff val="60000"/>
                </a:schemeClr>
              </a:solidFill>
            </a:endParaRPr>
          </a:p>
        </p:txBody>
      </p:sp>
      <p:graphicFrame>
        <p:nvGraphicFramePr>
          <p:cNvPr id="2" name="T1">
            <a:extLst>
              <a:ext uri="{FF2B5EF4-FFF2-40B4-BE49-F238E27FC236}">
                <a16:creationId xmlns:a16="http://schemas.microsoft.com/office/drawing/2014/main" id="{4216B121-BA0E-42BE-B43F-95D8C12C9C2A}"/>
              </a:ext>
            </a:extLst>
          </p:cNvPr>
          <p:cNvGraphicFramePr>
            <a:graphicFrameLocks noGrp="1"/>
          </p:cNvGraphicFramePr>
          <p:nvPr>
            <p:ph idx="4294967295"/>
            <p:extLst>
              <p:ext uri="{D42A27DB-BD31-4B8C-83A1-F6EECF244321}">
                <p14:modId xmlns:p14="http://schemas.microsoft.com/office/powerpoint/2010/main" val="4122219015"/>
              </p:ext>
            </p:extLst>
          </p:nvPr>
        </p:nvGraphicFramePr>
        <p:xfrm>
          <a:off x="555748" y="1131889"/>
          <a:ext cx="4815292" cy="3602219"/>
        </p:xfrm>
        <a:graphic>
          <a:graphicData uri="http://schemas.openxmlformats.org/drawingml/2006/table">
            <a:tbl>
              <a:tblPr firstRow="1" bandRow="1">
                <a:tableStyleId>{5C22544A-7EE6-4342-B048-85BDC9FD1C3A}</a:tableStyleId>
              </a:tblPr>
              <a:tblGrid>
                <a:gridCol w="2598378">
                  <a:extLst>
                    <a:ext uri="{9D8B030D-6E8A-4147-A177-3AD203B41FA5}">
                      <a16:colId xmlns:a16="http://schemas.microsoft.com/office/drawing/2014/main" val="721526330"/>
                    </a:ext>
                  </a:extLst>
                </a:gridCol>
                <a:gridCol w="2216914">
                  <a:extLst>
                    <a:ext uri="{9D8B030D-6E8A-4147-A177-3AD203B41FA5}">
                      <a16:colId xmlns:a16="http://schemas.microsoft.com/office/drawing/2014/main" val="1048155142"/>
                    </a:ext>
                  </a:extLst>
                </a:gridCol>
              </a:tblGrid>
              <a:tr h="357747">
                <a:tc>
                  <a:txBody>
                    <a:bodyPr/>
                    <a:lstStyle/>
                    <a:p>
                      <a:endParaRPr lang="en-US" sz="1200" b="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lnL w="12700" cmpd="sng">
                      <a:noFill/>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Hershey's Cookies 'n Creme Block 90g</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79314632"/>
                  </a:ext>
                </a:extLst>
              </a:tr>
              <a:tr h="294952">
                <a:tc>
                  <a:txBody>
                    <a:bodyPr/>
                    <a:lstStyle/>
                    <a:p>
                      <a:pPr marL="0" indent="0" algn="l"/>
                      <a:r>
                        <a:rPr sz="700" dirty="0">
                          <a:solidFill>
                            <a:srgbClr val="575555"/>
                          </a:solidFill>
                          <a:latin typeface="Nexa Book"/>
                        </a:rPr>
                        <a:t>Galaxy Jewels 1.4kg</a:t>
                      </a:r>
                      <a:endParaRPr lang="it-IT" sz="600" dirty="0">
                        <a:solidFill>
                          <a:schemeClr val="tx2"/>
                        </a:solidFill>
                        <a:latin typeface="+mj-lt"/>
                        <a:ea typeface="Open Sans" panose="020B0606030504020204" pitchFamily="34" charset="0"/>
                        <a:cs typeface="Open Sans" panose="020B0606030504020204" pitchFamily="34" charset="0"/>
                      </a:endParaRP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09896903"/>
                  </a:ext>
                </a:extLst>
              </a:tr>
              <a:tr h="2949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Cadbury Dairy Milk Minis Selection 5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35418687"/>
                  </a:ext>
                </a:extLst>
              </a:tr>
              <a:tr h="2949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Galaxy Jewels 9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55601717"/>
                  </a:ext>
                </a:extLst>
              </a:tr>
              <a:tr h="2949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Galaxy Smooth Milk Chocolate 36g x 24</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03762638"/>
                  </a:ext>
                </a:extLst>
              </a:tr>
              <a:tr h="2949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Galaxy Jewels 650g</a:t>
                      </a:r>
                      <a:endParaRPr kumimoji="0" lang="pl-PL"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dirty="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48513420"/>
                  </a:ext>
                </a:extLst>
              </a:tr>
              <a:tr h="2949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Tiffany Break Mini Fun 384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32561583"/>
                  </a:ext>
                </a:extLst>
              </a:tr>
              <a:tr h="2949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Mackintosh Quality Street Chocolate 6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87225186"/>
                  </a:ext>
                </a:extLst>
              </a:tr>
              <a:tr h="2949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Tiffany Break 31gx12</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17557293"/>
                  </a:ext>
                </a:extLst>
              </a:tr>
              <a:tr h="2949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Ferrero Rocher 3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1933896"/>
                  </a:ext>
                </a:extLst>
              </a:tr>
              <a:tr h="2949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Tiffany Break Supa 38gx12</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24532404"/>
                  </a:ext>
                </a:extLst>
              </a:tr>
              <a:tr h="2949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Kinder Maxi Chocolate 21gx11 (10+1)</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dirty="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79640701"/>
                  </a:ext>
                </a:extLst>
              </a:tr>
            </a:tbl>
          </a:graphicData>
        </a:graphic>
      </p:graphicFrame>
      <p:graphicFrame>
        <p:nvGraphicFramePr>
          <p:cNvPr id="22" name="C1">
            <a:extLst>
              <a:ext uri="{FF2B5EF4-FFF2-40B4-BE49-F238E27FC236}">
                <a16:creationId xmlns:a16="http://schemas.microsoft.com/office/drawing/2014/main" id="{4BD40146-997A-4DD8-9328-B245AE537396}"/>
              </a:ext>
            </a:extLst>
          </p:cNvPr>
          <p:cNvGraphicFramePr>
            <a:graphicFrameLocks/>
          </p:cNvGraphicFramePr>
          <p:nvPr>
            <p:extLst>
              <p:ext uri="{D42A27DB-BD31-4B8C-83A1-F6EECF244321}">
                <p14:modId xmlns:p14="http://schemas.microsoft.com/office/powerpoint/2010/main" val="4081154290"/>
              </p:ext>
            </p:extLst>
          </p:nvPr>
        </p:nvGraphicFramePr>
        <p:xfrm>
          <a:off x="3160011" y="1491890"/>
          <a:ext cx="2171406" cy="3292500"/>
        </p:xfrm>
        <a:graphic>
          <a:graphicData uri="http://schemas.openxmlformats.org/drawingml/2006/chart">
            <c:chart xmlns:c="http://schemas.openxmlformats.org/drawingml/2006/chart" xmlns:r="http://schemas.openxmlformats.org/officeDocument/2006/relationships" r:id="rId5"/>
          </a:graphicData>
        </a:graphic>
      </p:graphicFrame>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33A6171A-5777-4DCF-03ED-0823D8856A74}"/>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3" name="think-cell data - do not delete" hidden="1">
                        <a:extLst>
                          <a:ext uri="{FF2B5EF4-FFF2-40B4-BE49-F238E27FC236}">
                            <a16:creationId xmlns:a16="http://schemas.microsoft.com/office/drawing/2014/main" id="{33A6171A-5777-4DCF-03ED-0823D8856A74}"/>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353DFEAD-A1D1-6542-9D85-214A488D6167}"/>
              </a:ext>
            </a:extLst>
          </p:cNvPr>
          <p:cNvSpPr>
            <a:spLocks noGrp="1"/>
          </p:cNvSpPr>
          <p:nvPr>
            <p:ph type="dt" sz="half" idx="14"/>
          </p:nvPr>
        </p:nvSpPr>
        <p:spPr/>
        <p:txBody>
          <a:bodyPr/>
          <a:lstStyle/>
          <a:p>
            <a:pPr marL="0" marR="0" lvl="0" indent="0" algn="r" defTabSz="685732" rtl="0" eaLnBrk="1" fontAlgn="auto" latinLnBrk="0" hangingPunct="1">
              <a:lnSpc>
                <a:spcPct val="100000"/>
              </a:lnSpc>
              <a:spcBef>
                <a:spcPts val="0"/>
              </a:spcBef>
              <a:spcAft>
                <a:spcPts val="0"/>
              </a:spcAft>
              <a:buClrTx/>
              <a:buSzTx/>
              <a:buFontTx/>
              <a:buNone/>
              <a:tabLst/>
              <a:defRPr/>
            </a:pPr>
            <a:fld id="{4EB6B45F-B530-4BAF-9193-C42832625196}" type="datetime1">
              <a:rPr kumimoji="0" lang="en-US" sz="4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mn-cs"/>
              </a:rPr>
              <a:pPr marL="0" marR="0" lvl="0" indent="0" algn="r" defTabSz="685732" rtl="0" eaLnBrk="1" fontAlgn="auto" latinLnBrk="0" hangingPunct="1">
                <a:lnSpc>
                  <a:spcPct val="100000"/>
                </a:lnSpc>
                <a:spcBef>
                  <a:spcPts val="0"/>
                </a:spcBef>
                <a:spcAft>
                  <a:spcPts val="0"/>
                </a:spcAft>
                <a:buClrTx/>
                <a:buSzTx/>
                <a:buFontTx/>
                <a:buNone/>
                <a:tabLst/>
                <a:defRPr/>
              </a:pPr>
              <a:t>7/8/2024</a:t>
            </a:fld>
            <a:endParaRPr kumimoji="0" lang="en-US" sz="400" b="0" i="0" u="none" strike="noStrike" kern="1200" cap="none" spc="0" normalizeH="0" baseline="0" noProof="0" dirty="0">
              <a:ln>
                <a:noFill/>
              </a:ln>
              <a:solidFill>
                <a:srgbClr val="E6E5E5">
                  <a:lumMod val="50000"/>
                </a:srgbClr>
              </a:solidFill>
              <a:effectLst/>
              <a:uLnTx/>
              <a:uFillTx/>
              <a:latin typeface="Nexa Book" panose="00000400000000000000" pitchFamily="50" charset="0"/>
              <a:ea typeface="+mn-ea"/>
              <a:cs typeface="+mn-cs"/>
            </a:endParaRPr>
          </a:p>
        </p:txBody>
      </p:sp>
      <p:sp>
        <p:nvSpPr>
          <p:cNvPr id="10" name="Footer Placeholder 9">
            <a:extLst>
              <a:ext uri="{FF2B5EF4-FFF2-40B4-BE49-F238E27FC236}">
                <a16:creationId xmlns:a16="http://schemas.microsoft.com/office/drawing/2014/main" id="{D4D8DB3C-73BE-A102-A2BC-AABD486F1C28}"/>
              </a:ext>
            </a:extLst>
          </p:cNvPr>
          <p:cNvSpPr>
            <a:spLocks noGrp="1"/>
          </p:cNvSpPr>
          <p:nvPr>
            <p:ph type="ftr" sz="quarter" idx="15"/>
          </p:nvPr>
        </p:nvSpPr>
        <p:spPr/>
        <p:txBody>
          <a:bodyPr/>
          <a:lstStyle/>
          <a:p>
            <a:pPr marL="0" marR="0" lvl="0" indent="0" algn="ctr" defTabSz="685732" rtl="0" eaLnBrk="1" fontAlgn="auto" latinLnBrk="0" hangingPunct="1">
              <a:lnSpc>
                <a:spcPct val="100000"/>
              </a:lnSpc>
              <a:spcBef>
                <a:spcPts val="0"/>
              </a:spcBef>
              <a:spcAft>
                <a:spcPts val="0"/>
              </a:spcAft>
              <a:buClrTx/>
              <a:buSzTx/>
              <a:buFontTx/>
              <a:buNone/>
              <a:tabLst/>
              <a:defRPr/>
            </a:pPr>
            <a:endParaRPr kumimoji="0" lang="en-US" sz="400" b="0" i="0" u="none" strike="noStrike" kern="1200" cap="none" spc="0" normalizeH="0" baseline="0" noProof="0" dirty="0">
              <a:ln>
                <a:noFill/>
              </a:ln>
              <a:solidFill>
                <a:srgbClr val="E6E5E5">
                  <a:lumMod val="50000"/>
                </a:srgbClr>
              </a:solidFill>
              <a:effectLst/>
              <a:uLnTx/>
              <a:uFillTx/>
              <a:latin typeface="Nexa Book" panose="00000400000000000000" pitchFamily="50" charset="0"/>
              <a:ea typeface="+mn-ea"/>
              <a:cs typeface="+mn-cs"/>
            </a:endParaRPr>
          </a:p>
        </p:txBody>
      </p:sp>
      <p:sp>
        <p:nvSpPr>
          <p:cNvPr id="9" name="Slide Number Placeholder 8">
            <a:extLst>
              <a:ext uri="{FF2B5EF4-FFF2-40B4-BE49-F238E27FC236}">
                <a16:creationId xmlns:a16="http://schemas.microsoft.com/office/drawing/2014/main" id="{42790245-CC35-4A86-9084-F27F8D4F407E}"/>
              </a:ext>
            </a:extLst>
          </p:cNvPr>
          <p:cNvSpPr>
            <a:spLocks noGrp="1"/>
          </p:cNvSpPr>
          <p:nvPr>
            <p:ph type="sldNum" sz="quarter" idx="16"/>
          </p:nvPr>
        </p:nvSpPr>
        <p:spPr/>
        <p:txBody>
          <a:bodyPr/>
          <a:lstStyle/>
          <a:p>
            <a:pPr marL="0" marR="0" lvl="0" indent="0" algn="r" defTabSz="685732" rtl="0" eaLnBrk="1" fontAlgn="auto" latinLnBrk="0" hangingPunct="1">
              <a:lnSpc>
                <a:spcPct val="100000"/>
              </a:lnSpc>
              <a:spcBef>
                <a:spcPts val="0"/>
              </a:spcBef>
              <a:spcAft>
                <a:spcPts val="0"/>
              </a:spcAft>
              <a:buClrTx/>
              <a:buSzTx/>
              <a:buFontTx/>
              <a:buNone/>
              <a:tabLst/>
              <a:defRPr/>
            </a:pPr>
            <a:fld id="{7B1F438D-4EAF-094E-9162-80CF3EF77236}" type="slidenum">
              <a:rPr kumimoji="0" lang="en-US" sz="4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pPr marL="0" marR="0" lvl="0" indent="0" algn="r" defTabSz="685732" rtl="0" eaLnBrk="1" fontAlgn="auto" latinLnBrk="0" hangingPunct="1">
                <a:lnSpc>
                  <a:spcPct val="100000"/>
                </a:lnSpc>
                <a:spcBef>
                  <a:spcPts val="0"/>
                </a:spcBef>
                <a:spcAft>
                  <a:spcPts val="0"/>
                </a:spcAft>
                <a:buClrTx/>
                <a:buSzTx/>
                <a:buFontTx/>
                <a:buNone/>
                <a:tabLst/>
                <a:defRPr/>
              </a:pPr>
              <a:t>8</a:t>
            </a:fld>
            <a:endParaRPr kumimoji="0" lang="en-US" sz="4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8" name="Text Placeholder 7">
            <a:extLst>
              <a:ext uri="{FF2B5EF4-FFF2-40B4-BE49-F238E27FC236}">
                <a16:creationId xmlns:a16="http://schemas.microsoft.com/office/drawing/2014/main" id="{0E3E615C-F877-449B-9D49-17526771E455}"/>
              </a:ext>
            </a:extLst>
          </p:cNvPr>
          <p:cNvSpPr>
            <a:spLocks noGrp="1"/>
          </p:cNvSpPr>
          <p:nvPr>
            <p:ph type="body" sz="quarter" idx="17"/>
          </p:nvPr>
        </p:nvSpPr>
        <p:spPr/>
        <p:txBody>
          <a:bodyPr/>
          <a:lstStyle/>
          <a:p>
            <a:r>
              <a:rPr lang="en-US" dirty="0"/>
              <a:t>DATA SOURCE: Consumer Test | </a:t>
            </a:r>
            <a:r>
              <a:rPr lang="en-US" dirty="0">
                <a:highlight>
                  <a:srgbClr val="FFFF00"/>
                </a:highlight>
              </a:rPr>
              <a:t>Dec 2023</a:t>
            </a:r>
          </a:p>
        </p:txBody>
      </p:sp>
      <p:sp>
        <p:nvSpPr>
          <p:cNvPr id="6" name="Text Placeholder 5">
            <a:extLst>
              <a:ext uri="{FF2B5EF4-FFF2-40B4-BE49-F238E27FC236}">
                <a16:creationId xmlns:a16="http://schemas.microsoft.com/office/drawing/2014/main" id="{D55134F6-EB04-3FE8-6CD7-5BDCFF545022}"/>
              </a:ext>
            </a:extLst>
          </p:cNvPr>
          <p:cNvSpPr>
            <a:spLocks noGrp="1"/>
          </p:cNvSpPr>
          <p:nvPr>
            <p:ph type="body" sz="quarter" idx="18"/>
          </p:nvPr>
        </p:nvSpPr>
        <p:spPr/>
        <p:txBody>
          <a:bodyPr/>
          <a:lstStyle/>
          <a:p>
            <a:r>
              <a:rPr dirty="0">
                <a:solidFill>
                  <a:srgbClr val="00A097"/>
                </a:solidFill>
              </a:rPr>
              <a:t>Innovation | Sourcing Analysis | Rescaled Delta Share by Product | </a:t>
            </a:r>
            <a:r>
              <a:rPr lang="en-US" dirty="0">
                <a:solidFill>
                  <a:srgbClr val="00A097"/>
                </a:solidFill>
                <a:highlight>
                  <a:srgbClr val="FFFF00"/>
                </a:highlight>
              </a:rPr>
              <a:t>Panda</a:t>
            </a:r>
            <a:r>
              <a:rPr lang="en-US" dirty="0">
                <a:solidFill>
                  <a:srgbClr val="00A097"/>
                </a:solidFill>
              </a:rPr>
              <a:t> | </a:t>
            </a:r>
            <a:r>
              <a:rPr dirty="0" err="1">
                <a:solidFill>
                  <a:srgbClr val="00A097"/>
                </a:solidFill>
                <a:highlight>
                  <a:srgbClr val="FFFF00"/>
                </a:highlight>
              </a:rPr>
              <a:t>Cookies'n</a:t>
            </a:r>
            <a:r>
              <a:rPr dirty="0">
                <a:solidFill>
                  <a:srgbClr val="00A097"/>
                </a:solidFill>
                <a:highlight>
                  <a:srgbClr val="FFFF00"/>
                </a:highlight>
              </a:rPr>
              <a:t> Creme</a:t>
            </a:r>
            <a:r>
              <a:rPr dirty="0">
                <a:solidFill>
                  <a:srgbClr val="00A097"/>
                </a:solidFill>
              </a:rPr>
              <a:t> innovation</a:t>
            </a:r>
            <a:endParaRPr lang="en-CH" dirty="0">
              <a:highlight>
                <a:srgbClr val="FFFF00"/>
              </a:highlight>
            </a:endParaRPr>
          </a:p>
        </p:txBody>
      </p:sp>
      <p:sp>
        <p:nvSpPr>
          <p:cNvPr id="5" name="Title 4">
            <a:extLst>
              <a:ext uri="{FF2B5EF4-FFF2-40B4-BE49-F238E27FC236}">
                <a16:creationId xmlns:a16="http://schemas.microsoft.com/office/drawing/2014/main" id="{395DB3D6-566A-6C68-BCB1-630B40CC6AF4}"/>
              </a:ext>
            </a:extLst>
          </p:cNvPr>
          <p:cNvSpPr>
            <a:spLocks noGrp="1"/>
          </p:cNvSpPr>
          <p:nvPr>
            <p:ph type="title"/>
          </p:nvPr>
        </p:nvSpPr>
        <p:spPr/>
        <p:txBody>
          <a:bodyPr vert="horz"/>
          <a:lstStyle/>
          <a:p>
            <a:r>
              <a:rPr lang="en-US" dirty="0"/>
              <a:t>Innovation sourcing</a:t>
            </a:r>
            <a:r>
              <a:rPr lang="en-US" dirty="0">
                <a:solidFill>
                  <a:schemeClr val="bg2">
                    <a:lumMod val="90000"/>
                  </a:schemeClr>
                </a:solidFill>
                <a:latin typeface="+mj-lt"/>
              </a:rPr>
              <a:t> (Replace with SO WHAT)</a:t>
            </a:r>
            <a:endParaRPr lang="en-CH" dirty="0">
              <a:solidFill>
                <a:schemeClr val="tx1">
                  <a:lumMod val="40000"/>
                  <a:lumOff val="60000"/>
                </a:schemeClr>
              </a:solidFill>
            </a:endParaRPr>
          </a:p>
        </p:txBody>
      </p:sp>
      <p:graphicFrame>
        <p:nvGraphicFramePr>
          <p:cNvPr id="2" name="T1">
            <a:extLst>
              <a:ext uri="{FF2B5EF4-FFF2-40B4-BE49-F238E27FC236}">
                <a16:creationId xmlns:a16="http://schemas.microsoft.com/office/drawing/2014/main" id="{4216B121-BA0E-42BE-B43F-95D8C12C9C2A}"/>
              </a:ext>
            </a:extLst>
          </p:cNvPr>
          <p:cNvGraphicFramePr>
            <a:graphicFrameLocks noGrp="1"/>
          </p:cNvGraphicFramePr>
          <p:nvPr>
            <p:ph idx="4294967295"/>
            <p:extLst>
              <p:ext uri="{D42A27DB-BD31-4B8C-83A1-F6EECF244321}">
                <p14:modId xmlns:p14="http://schemas.microsoft.com/office/powerpoint/2010/main" val="2890989638"/>
              </p:ext>
            </p:extLst>
          </p:nvPr>
        </p:nvGraphicFramePr>
        <p:xfrm>
          <a:off x="532309" y="1122649"/>
          <a:ext cx="6845570" cy="3625385"/>
        </p:xfrm>
        <a:graphic>
          <a:graphicData uri="http://schemas.openxmlformats.org/drawingml/2006/table">
            <a:tbl>
              <a:tblPr firstRow="1" bandRow="1">
                <a:tableStyleId>{5C22544A-7EE6-4342-B048-85BDC9FD1C3A}</a:tableStyleId>
              </a:tblPr>
              <a:tblGrid>
                <a:gridCol w="2462624">
                  <a:extLst>
                    <a:ext uri="{9D8B030D-6E8A-4147-A177-3AD203B41FA5}">
                      <a16:colId xmlns:a16="http://schemas.microsoft.com/office/drawing/2014/main" val="721526330"/>
                    </a:ext>
                  </a:extLst>
                </a:gridCol>
                <a:gridCol w="2191473">
                  <a:extLst>
                    <a:ext uri="{9D8B030D-6E8A-4147-A177-3AD203B41FA5}">
                      <a16:colId xmlns:a16="http://schemas.microsoft.com/office/drawing/2014/main" val="1048155142"/>
                    </a:ext>
                  </a:extLst>
                </a:gridCol>
                <a:gridCol w="2191473">
                  <a:extLst>
                    <a:ext uri="{9D8B030D-6E8A-4147-A177-3AD203B41FA5}">
                      <a16:colId xmlns:a16="http://schemas.microsoft.com/office/drawing/2014/main" val="2226225783"/>
                    </a:ext>
                  </a:extLst>
                </a:gridCol>
              </a:tblGrid>
              <a:tr h="443118">
                <a:tc>
                  <a:txBody>
                    <a:bodyPr/>
                    <a:lstStyle/>
                    <a:p>
                      <a:endParaRPr lang="en-US" sz="1200" b="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lnL w="12700" cmpd="sng">
                      <a:noFill/>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Hershey's Cookies 'n Creme Block 90g</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Hershey's Cookies 'n Creme Creations Salted Caramel 38g</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79314632"/>
                  </a:ext>
                </a:extLst>
              </a:tr>
              <a:tr h="289297">
                <a:tc>
                  <a:txBody>
                    <a:bodyPr/>
                    <a:lstStyle/>
                    <a:p>
                      <a:pPr marL="0" indent="0" algn="l"/>
                      <a:r>
                        <a:rPr sz="700" dirty="0">
                          <a:solidFill>
                            <a:srgbClr val="575555"/>
                          </a:solidFill>
                          <a:latin typeface="Nexa Book"/>
                        </a:rPr>
                        <a:t>Galaxy Jewels 1.4kg</a:t>
                      </a:r>
                      <a:endParaRPr lang="it-IT" sz="600" dirty="0">
                        <a:solidFill>
                          <a:schemeClr val="tx2"/>
                        </a:solidFill>
                        <a:latin typeface="+mj-lt"/>
                        <a:ea typeface="Open Sans" panose="020B0606030504020204" pitchFamily="34" charset="0"/>
                        <a:cs typeface="Open Sans" panose="020B0606030504020204" pitchFamily="34" charset="0"/>
                      </a:endParaRP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09896903"/>
                  </a:ext>
                </a:extLst>
              </a:tr>
              <a:tr h="28929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Cadbury Dairy Milk Minis Selection 5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35418687"/>
                  </a:ext>
                </a:extLst>
              </a:tr>
              <a:tr h="28929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Galaxy Jewels 9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55601717"/>
                  </a:ext>
                </a:extLst>
              </a:tr>
              <a:tr h="28929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Galaxy Smooth Milk Chocolate 36g x 24</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03762638"/>
                  </a:ext>
                </a:extLst>
              </a:tr>
              <a:tr h="28929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Galaxy Jewels 650g</a:t>
                      </a:r>
                      <a:endParaRPr kumimoji="0" lang="pl-PL"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dirty="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dirty="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48513420"/>
                  </a:ext>
                </a:extLst>
              </a:tr>
              <a:tr h="28929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Tiffany Break Mini Fun 384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32561583"/>
                  </a:ext>
                </a:extLst>
              </a:tr>
              <a:tr h="28929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Mackintosh Quality Street Chocolate 6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87225186"/>
                  </a:ext>
                </a:extLst>
              </a:tr>
              <a:tr h="28929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Tiffany Break 31gx12</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17557293"/>
                  </a:ext>
                </a:extLst>
              </a:tr>
              <a:tr h="28929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Ferrero Rocher 3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1933896"/>
                  </a:ext>
                </a:extLst>
              </a:tr>
              <a:tr h="28929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Tiffany Break Supa 38gx12</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24532404"/>
                  </a:ext>
                </a:extLst>
              </a:tr>
              <a:tr h="28929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Kinder Maxi Chocolate 21gx11 (10+1)</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dirty="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dirty="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79640701"/>
                  </a:ext>
                </a:extLst>
              </a:tr>
            </a:tbl>
          </a:graphicData>
        </a:graphic>
      </p:graphicFrame>
      <p:graphicFrame>
        <p:nvGraphicFramePr>
          <p:cNvPr id="22" name="C1">
            <a:extLst>
              <a:ext uri="{FF2B5EF4-FFF2-40B4-BE49-F238E27FC236}">
                <a16:creationId xmlns:a16="http://schemas.microsoft.com/office/drawing/2014/main" id="{4BD40146-997A-4DD8-9328-B245AE537396}"/>
              </a:ext>
            </a:extLst>
          </p:cNvPr>
          <p:cNvGraphicFramePr>
            <a:graphicFrameLocks/>
          </p:cNvGraphicFramePr>
          <p:nvPr>
            <p:extLst>
              <p:ext uri="{D42A27DB-BD31-4B8C-83A1-F6EECF244321}">
                <p14:modId xmlns:p14="http://schemas.microsoft.com/office/powerpoint/2010/main" val="3180726229"/>
              </p:ext>
            </p:extLst>
          </p:nvPr>
        </p:nvGraphicFramePr>
        <p:xfrm>
          <a:off x="2991173" y="1571347"/>
          <a:ext cx="2197734" cy="3149043"/>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23" name="C2">
            <a:extLst>
              <a:ext uri="{FF2B5EF4-FFF2-40B4-BE49-F238E27FC236}">
                <a16:creationId xmlns:a16="http://schemas.microsoft.com/office/drawing/2014/main" id="{CF549649-9D07-45BA-9997-BE52ED385C34}"/>
              </a:ext>
            </a:extLst>
          </p:cNvPr>
          <p:cNvGraphicFramePr>
            <a:graphicFrameLocks/>
          </p:cNvGraphicFramePr>
          <p:nvPr>
            <p:extLst>
              <p:ext uri="{D42A27DB-BD31-4B8C-83A1-F6EECF244321}">
                <p14:modId xmlns:p14="http://schemas.microsoft.com/office/powerpoint/2010/main" val="2276498648"/>
              </p:ext>
            </p:extLst>
          </p:nvPr>
        </p:nvGraphicFramePr>
        <p:xfrm>
          <a:off x="5188907" y="1569997"/>
          <a:ext cx="2188972" cy="3162342"/>
        </p:xfrm>
        <a:graphic>
          <a:graphicData uri="http://schemas.openxmlformats.org/drawingml/2006/chart">
            <c:chart xmlns:c="http://schemas.openxmlformats.org/drawingml/2006/chart" xmlns:r="http://schemas.openxmlformats.org/officeDocument/2006/relationships" r:id="rId6"/>
          </a:graphicData>
        </a:graphic>
      </p:graphicFrame>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33A6171A-5777-4DCF-03ED-0823D8856A74}"/>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3" name="think-cell data - do not delete" hidden="1">
                        <a:extLst>
                          <a:ext uri="{FF2B5EF4-FFF2-40B4-BE49-F238E27FC236}">
                            <a16:creationId xmlns:a16="http://schemas.microsoft.com/office/drawing/2014/main" id="{33A6171A-5777-4DCF-03ED-0823D8856A74}"/>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353DFEAD-A1D1-6542-9D85-214A488D6167}"/>
              </a:ext>
            </a:extLst>
          </p:cNvPr>
          <p:cNvSpPr>
            <a:spLocks noGrp="1"/>
          </p:cNvSpPr>
          <p:nvPr>
            <p:ph type="dt" sz="half" idx="14"/>
          </p:nvPr>
        </p:nvSpPr>
        <p:spPr/>
        <p:txBody>
          <a:bodyPr/>
          <a:lstStyle/>
          <a:p>
            <a:pPr marL="0" marR="0" lvl="0" indent="0" algn="r" defTabSz="685732" rtl="0" eaLnBrk="1" fontAlgn="auto" latinLnBrk="0" hangingPunct="1">
              <a:lnSpc>
                <a:spcPct val="100000"/>
              </a:lnSpc>
              <a:spcBef>
                <a:spcPts val="0"/>
              </a:spcBef>
              <a:spcAft>
                <a:spcPts val="0"/>
              </a:spcAft>
              <a:buClrTx/>
              <a:buSzTx/>
              <a:buFontTx/>
              <a:buNone/>
              <a:tabLst/>
              <a:defRPr/>
            </a:pPr>
            <a:fld id="{4EB6B45F-B530-4BAF-9193-C42832625196}" type="datetime1">
              <a:rPr kumimoji="0" lang="en-US" sz="4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mn-cs"/>
              </a:rPr>
              <a:pPr marL="0" marR="0" lvl="0" indent="0" algn="r" defTabSz="685732" rtl="0" eaLnBrk="1" fontAlgn="auto" latinLnBrk="0" hangingPunct="1">
                <a:lnSpc>
                  <a:spcPct val="100000"/>
                </a:lnSpc>
                <a:spcBef>
                  <a:spcPts val="0"/>
                </a:spcBef>
                <a:spcAft>
                  <a:spcPts val="0"/>
                </a:spcAft>
                <a:buClrTx/>
                <a:buSzTx/>
                <a:buFontTx/>
                <a:buNone/>
                <a:tabLst/>
                <a:defRPr/>
              </a:pPr>
              <a:t>7/8/2024</a:t>
            </a:fld>
            <a:endParaRPr kumimoji="0" lang="en-US" sz="400" b="0" i="0" u="none" strike="noStrike" kern="1200" cap="none" spc="0" normalizeH="0" baseline="0" noProof="0" dirty="0">
              <a:ln>
                <a:noFill/>
              </a:ln>
              <a:solidFill>
                <a:srgbClr val="E6E5E5">
                  <a:lumMod val="50000"/>
                </a:srgbClr>
              </a:solidFill>
              <a:effectLst/>
              <a:uLnTx/>
              <a:uFillTx/>
              <a:latin typeface="Nexa Book" panose="00000400000000000000" pitchFamily="50" charset="0"/>
              <a:ea typeface="+mn-ea"/>
              <a:cs typeface="+mn-cs"/>
            </a:endParaRPr>
          </a:p>
        </p:txBody>
      </p:sp>
      <p:sp>
        <p:nvSpPr>
          <p:cNvPr id="10" name="Footer Placeholder 9">
            <a:extLst>
              <a:ext uri="{FF2B5EF4-FFF2-40B4-BE49-F238E27FC236}">
                <a16:creationId xmlns:a16="http://schemas.microsoft.com/office/drawing/2014/main" id="{D4D8DB3C-73BE-A102-A2BC-AABD486F1C28}"/>
              </a:ext>
            </a:extLst>
          </p:cNvPr>
          <p:cNvSpPr>
            <a:spLocks noGrp="1"/>
          </p:cNvSpPr>
          <p:nvPr>
            <p:ph type="ftr" sz="quarter" idx="15"/>
          </p:nvPr>
        </p:nvSpPr>
        <p:spPr/>
        <p:txBody>
          <a:bodyPr/>
          <a:lstStyle/>
          <a:p>
            <a:pPr marL="0" marR="0" lvl="0" indent="0" algn="ctr" defTabSz="685732" rtl="0" eaLnBrk="1" fontAlgn="auto" latinLnBrk="0" hangingPunct="1">
              <a:lnSpc>
                <a:spcPct val="100000"/>
              </a:lnSpc>
              <a:spcBef>
                <a:spcPts val="0"/>
              </a:spcBef>
              <a:spcAft>
                <a:spcPts val="0"/>
              </a:spcAft>
              <a:buClrTx/>
              <a:buSzTx/>
              <a:buFontTx/>
              <a:buNone/>
              <a:tabLst/>
              <a:defRPr/>
            </a:pPr>
            <a:endParaRPr kumimoji="0" lang="en-US" sz="400" b="0" i="0" u="none" strike="noStrike" kern="1200" cap="none" spc="0" normalizeH="0" baseline="0" noProof="0" dirty="0">
              <a:ln>
                <a:noFill/>
              </a:ln>
              <a:solidFill>
                <a:srgbClr val="E6E5E5">
                  <a:lumMod val="50000"/>
                </a:srgbClr>
              </a:solidFill>
              <a:effectLst/>
              <a:uLnTx/>
              <a:uFillTx/>
              <a:latin typeface="Nexa Book" panose="00000400000000000000" pitchFamily="50" charset="0"/>
              <a:ea typeface="+mn-ea"/>
              <a:cs typeface="+mn-cs"/>
            </a:endParaRPr>
          </a:p>
        </p:txBody>
      </p:sp>
      <p:sp>
        <p:nvSpPr>
          <p:cNvPr id="9" name="Slide Number Placeholder 8">
            <a:extLst>
              <a:ext uri="{FF2B5EF4-FFF2-40B4-BE49-F238E27FC236}">
                <a16:creationId xmlns:a16="http://schemas.microsoft.com/office/drawing/2014/main" id="{42790245-CC35-4A86-9084-F27F8D4F407E}"/>
              </a:ext>
            </a:extLst>
          </p:cNvPr>
          <p:cNvSpPr>
            <a:spLocks noGrp="1"/>
          </p:cNvSpPr>
          <p:nvPr>
            <p:ph type="sldNum" sz="quarter" idx="16"/>
          </p:nvPr>
        </p:nvSpPr>
        <p:spPr/>
        <p:txBody>
          <a:bodyPr/>
          <a:lstStyle/>
          <a:p>
            <a:pPr marL="0" marR="0" lvl="0" indent="0" algn="r" defTabSz="685732" rtl="0" eaLnBrk="1" fontAlgn="auto" latinLnBrk="0" hangingPunct="1">
              <a:lnSpc>
                <a:spcPct val="100000"/>
              </a:lnSpc>
              <a:spcBef>
                <a:spcPts val="0"/>
              </a:spcBef>
              <a:spcAft>
                <a:spcPts val="0"/>
              </a:spcAft>
              <a:buClrTx/>
              <a:buSzTx/>
              <a:buFontTx/>
              <a:buNone/>
              <a:tabLst/>
              <a:defRPr/>
            </a:pPr>
            <a:fld id="{7B1F438D-4EAF-094E-9162-80CF3EF77236}" type="slidenum">
              <a:rPr kumimoji="0" lang="en-US" sz="4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pPr marL="0" marR="0" lvl="0" indent="0" algn="r" defTabSz="685732" rtl="0" eaLnBrk="1" fontAlgn="auto" latinLnBrk="0" hangingPunct="1">
                <a:lnSpc>
                  <a:spcPct val="100000"/>
                </a:lnSpc>
                <a:spcBef>
                  <a:spcPts val="0"/>
                </a:spcBef>
                <a:spcAft>
                  <a:spcPts val="0"/>
                </a:spcAft>
                <a:buClrTx/>
                <a:buSzTx/>
                <a:buFontTx/>
                <a:buNone/>
                <a:tabLst/>
                <a:defRPr/>
              </a:pPr>
              <a:t>9</a:t>
            </a:fld>
            <a:endParaRPr kumimoji="0" lang="en-US" sz="4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8" name="Text Placeholder 7">
            <a:extLst>
              <a:ext uri="{FF2B5EF4-FFF2-40B4-BE49-F238E27FC236}">
                <a16:creationId xmlns:a16="http://schemas.microsoft.com/office/drawing/2014/main" id="{0E3E615C-F877-449B-9D49-17526771E455}"/>
              </a:ext>
            </a:extLst>
          </p:cNvPr>
          <p:cNvSpPr>
            <a:spLocks noGrp="1"/>
          </p:cNvSpPr>
          <p:nvPr>
            <p:ph type="body" sz="quarter" idx="17"/>
          </p:nvPr>
        </p:nvSpPr>
        <p:spPr/>
        <p:txBody>
          <a:bodyPr/>
          <a:lstStyle/>
          <a:p>
            <a:r>
              <a:rPr lang="en-US" dirty="0"/>
              <a:t>DATA SOURCE: Consumer Test | </a:t>
            </a:r>
            <a:r>
              <a:rPr lang="en-US" dirty="0">
                <a:highlight>
                  <a:srgbClr val="FFFF00"/>
                </a:highlight>
              </a:rPr>
              <a:t>Dec 2023</a:t>
            </a:r>
          </a:p>
        </p:txBody>
      </p:sp>
      <p:sp>
        <p:nvSpPr>
          <p:cNvPr id="6" name="Text Placeholder 5">
            <a:extLst>
              <a:ext uri="{FF2B5EF4-FFF2-40B4-BE49-F238E27FC236}">
                <a16:creationId xmlns:a16="http://schemas.microsoft.com/office/drawing/2014/main" id="{D55134F6-EB04-3FE8-6CD7-5BDCFF545022}"/>
              </a:ext>
            </a:extLst>
          </p:cNvPr>
          <p:cNvSpPr>
            <a:spLocks noGrp="1"/>
          </p:cNvSpPr>
          <p:nvPr>
            <p:ph type="body" sz="quarter" idx="18"/>
          </p:nvPr>
        </p:nvSpPr>
        <p:spPr/>
        <p:txBody>
          <a:bodyPr/>
          <a:lstStyle/>
          <a:p>
            <a:r>
              <a:rPr dirty="0">
                <a:solidFill>
                  <a:srgbClr val="00A097"/>
                </a:solidFill>
              </a:rPr>
              <a:t>Innovation | Sourcing Analysis | Rescaled Delta Share by Product | </a:t>
            </a:r>
            <a:r>
              <a:rPr lang="en-US" dirty="0">
                <a:solidFill>
                  <a:srgbClr val="00A097"/>
                </a:solidFill>
                <a:highlight>
                  <a:srgbClr val="FFFF00"/>
                </a:highlight>
              </a:rPr>
              <a:t>Panda</a:t>
            </a:r>
            <a:r>
              <a:rPr lang="en-US" dirty="0">
                <a:solidFill>
                  <a:srgbClr val="00A097"/>
                </a:solidFill>
              </a:rPr>
              <a:t> | </a:t>
            </a:r>
            <a:r>
              <a:rPr dirty="0" err="1">
                <a:solidFill>
                  <a:srgbClr val="00A097"/>
                </a:solidFill>
                <a:highlight>
                  <a:srgbClr val="FFFF00"/>
                </a:highlight>
              </a:rPr>
              <a:t>Cookies'n</a:t>
            </a:r>
            <a:r>
              <a:rPr dirty="0">
                <a:solidFill>
                  <a:srgbClr val="00A097"/>
                </a:solidFill>
                <a:highlight>
                  <a:srgbClr val="FFFF00"/>
                </a:highlight>
              </a:rPr>
              <a:t> Creme</a:t>
            </a:r>
            <a:r>
              <a:rPr dirty="0">
                <a:solidFill>
                  <a:srgbClr val="00A097"/>
                </a:solidFill>
              </a:rPr>
              <a:t> innovation</a:t>
            </a:r>
            <a:endParaRPr lang="en-CH" dirty="0">
              <a:highlight>
                <a:srgbClr val="FFFF00"/>
              </a:highlight>
            </a:endParaRPr>
          </a:p>
        </p:txBody>
      </p:sp>
      <p:sp>
        <p:nvSpPr>
          <p:cNvPr id="5" name="Title 4">
            <a:extLst>
              <a:ext uri="{FF2B5EF4-FFF2-40B4-BE49-F238E27FC236}">
                <a16:creationId xmlns:a16="http://schemas.microsoft.com/office/drawing/2014/main" id="{395DB3D6-566A-6C68-BCB1-630B40CC6AF4}"/>
              </a:ext>
            </a:extLst>
          </p:cNvPr>
          <p:cNvSpPr>
            <a:spLocks noGrp="1"/>
          </p:cNvSpPr>
          <p:nvPr>
            <p:ph type="title"/>
          </p:nvPr>
        </p:nvSpPr>
        <p:spPr/>
        <p:txBody>
          <a:bodyPr vert="horz"/>
          <a:lstStyle/>
          <a:p>
            <a:r>
              <a:rPr lang="en-US" dirty="0"/>
              <a:t>Innovation sourcing</a:t>
            </a:r>
            <a:r>
              <a:rPr lang="en-US" dirty="0">
                <a:solidFill>
                  <a:schemeClr val="bg2">
                    <a:lumMod val="90000"/>
                  </a:schemeClr>
                </a:solidFill>
                <a:latin typeface="+mj-lt"/>
              </a:rPr>
              <a:t> (Replace with SO WHAT)</a:t>
            </a:r>
            <a:endParaRPr lang="en-CH" dirty="0">
              <a:solidFill>
                <a:schemeClr val="tx1">
                  <a:lumMod val="40000"/>
                  <a:lumOff val="60000"/>
                </a:schemeClr>
              </a:solidFill>
            </a:endParaRPr>
          </a:p>
        </p:txBody>
      </p:sp>
      <p:graphicFrame>
        <p:nvGraphicFramePr>
          <p:cNvPr id="2" name="T1">
            <a:extLst>
              <a:ext uri="{FF2B5EF4-FFF2-40B4-BE49-F238E27FC236}">
                <a16:creationId xmlns:a16="http://schemas.microsoft.com/office/drawing/2014/main" id="{4216B121-BA0E-42BE-B43F-95D8C12C9C2A}"/>
              </a:ext>
            </a:extLst>
          </p:cNvPr>
          <p:cNvGraphicFramePr>
            <a:graphicFrameLocks noGrp="1"/>
          </p:cNvGraphicFramePr>
          <p:nvPr>
            <p:ph idx="4294967295"/>
            <p:extLst>
              <p:ext uri="{D42A27DB-BD31-4B8C-83A1-F6EECF244321}">
                <p14:modId xmlns:p14="http://schemas.microsoft.com/office/powerpoint/2010/main" val="1452137629"/>
              </p:ext>
            </p:extLst>
          </p:nvPr>
        </p:nvGraphicFramePr>
        <p:xfrm>
          <a:off x="542822" y="1130244"/>
          <a:ext cx="7604988" cy="3613238"/>
        </p:xfrm>
        <a:graphic>
          <a:graphicData uri="http://schemas.openxmlformats.org/drawingml/2006/table">
            <a:tbl>
              <a:tblPr firstRow="1" bandRow="1">
                <a:tableStyleId>{5C22544A-7EE6-4342-B048-85BDC9FD1C3A}</a:tableStyleId>
              </a:tblPr>
              <a:tblGrid>
                <a:gridCol w="2051862">
                  <a:extLst>
                    <a:ext uri="{9D8B030D-6E8A-4147-A177-3AD203B41FA5}">
                      <a16:colId xmlns:a16="http://schemas.microsoft.com/office/drawing/2014/main" val="721526330"/>
                    </a:ext>
                  </a:extLst>
                </a:gridCol>
                <a:gridCol w="1851042">
                  <a:extLst>
                    <a:ext uri="{9D8B030D-6E8A-4147-A177-3AD203B41FA5}">
                      <a16:colId xmlns:a16="http://schemas.microsoft.com/office/drawing/2014/main" val="1048155142"/>
                    </a:ext>
                  </a:extLst>
                </a:gridCol>
                <a:gridCol w="1851042">
                  <a:extLst>
                    <a:ext uri="{9D8B030D-6E8A-4147-A177-3AD203B41FA5}">
                      <a16:colId xmlns:a16="http://schemas.microsoft.com/office/drawing/2014/main" val="2226225783"/>
                    </a:ext>
                  </a:extLst>
                </a:gridCol>
                <a:gridCol w="1851042">
                  <a:extLst>
                    <a:ext uri="{9D8B030D-6E8A-4147-A177-3AD203B41FA5}">
                      <a16:colId xmlns:a16="http://schemas.microsoft.com/office/drawing/2014/main" val="2541288816"/>
                    </a:ext>
                  </a:extLst>
                </a:gridCol>
              </a:tblGrid>
              <a:tr h="455237">
                <a:tc>
                  <a:txBody>
                    <a:bodyPr/>
                    <a:lstStyle/>
                    <a:p>
                      <a:endParaRPr lang="en-US" sz="1200" b="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lnL w="12700" cmpd="sng">
                      <a:noFill/>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Hershey's Cookies 'n Creme Block 90g</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Hershey's Cookies 'n Creme Creations Salted Caramel 38g</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Hershey's Cookies 'n Creme 40Gx 4</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79314632"/>
                  </a:ext>
                </a:extLst>
              </a:tr>
              <a:tr h="287091">
                <a:tc>
                  <a:txBody>
                    <a:bodyPr/>
                    <a:lstStyle/>
                    <a:p>
                      <a:pPr marL="0" indent="0" algn="l"/>
                      <a:r>
                        <a:rPr sz="700" dirty="0">
                          <a:solidFill>
                            <a:srgbClr val="575555"/>
                          </a:solidFill>
                          <a:latin typeface="Nexa Book"/>
                        </a:rPr>
                        <a:t>Galaxy Jewels 1.4kg</a:t>
                      </a:r>
                      <a:endParaRPr lang="it-IT" sz="600" dirty="0">
                        <a:solidFill>
                          <a:schemeClr val="tx2"/>
                        </a:solidFill>
                        <a:latin typeface="+mj-lt"/>
                        <a:ea typeface="Open Sans" panose="020B0606030504020204" pitchFamily="34" charset="0"/>
                        <a:cs typeface="Open Sans" panose="020B0606030504020204" pitchFamily="34" charset="0"/>
                      </a:endParaRP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09896903"/>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Cadbury Dairy Milk Minis Selection 5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35418687"/>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Galaxy Jewels 9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55601717"/>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Galaxy Smooth Milk Chocolate 36g x 24</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03762638"/>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Galaxy Jewels 650g</a:t>
                      </a:r>
                      <a:endParaRPr kumimoji="0" lang="pl-PL"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dirty="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48513420"/>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Tiffany Break Mini Fun 384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dirty="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32561583"/>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Mackintosh Quality Street Chocolate 6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87225186"/>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Tiffany Break 31gx12</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17557293"/>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Ferrero Rocher 3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1933896"/>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Tiffany Break Supa 38gx12</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24532404"/>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Kinder Maxi Chocolate 21gx11 (10+1)</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dirty="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dirty="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dirty="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79640701"/>
                  </a:ext>
                </a:extLst>
              </a:tr>
            </a:tbl>
          </a:graphicData>
        </a:graphic>
      </p:graphicFrame>
      <p:graphicFrame>
        <p:nvGraphicFramePr>
          <p:cNvPr id="22" name="C1">
            <a:extLst>
              <a:ext uri="{FF2B5EF4-FFF2-40B4-BE49-F238E27FC236}">
                <a16:creationId xmlns:a16="http://schemas.microsoft.com/office/drawing/2014/main" id="{4BD40146-997A-4DD8-9328-B245AE537396}"/>
              </a:ext>
            </a:extLst>
          </p:cNvPr>
          <p:cNvGraphicFramePr>
            <a:graphicFrameLocks/>
          </p:cNvGraphicFramePr>
          <p:nvPr>
            <p:extLst>
              <p:ext uri="{D42A27DB-BD31-4B8C-83A1-F6EECF244321}">
                <p14:modId xmlns:p14="http://schemas.microsoft.com/office/powerpoint/2010/main" val="614894808"/>
              </p:ext>
            </p:extLst>
          </p:nvPr>
        </p:nvGraphicFramePr>
        <p:xfrm>
          <a:off x="2586496" y="1567727"/>
          <a:ext cx="1850081" cy="3164611"/>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23" name="C2">
            <a:extLst>
              <a:ext uri="{FF2B5EF4-FFF2-40B4-BE49-F238E27FC236}">
                <a16:creationId xmlns:a16="http://schemas.microsoft.com/office/drawing/2014/main" id="{CF549649-9D07-45BA-9997-BE52ED385C34}"/>
              </a:ext>
            </a:extLst>
          </p:cNvPr>
          <p:cNvGraphicFramePr>
            <a:graphicFrameLocks/>
          </p:cNvGraphicFramePr>
          <p:nvPr>
            <p:extLst>
              <p:ext uri="{D42A27DB-BD31-4B8C-83A1-F6EECF244321}">
                <p14:modId xmlns:p14="http://schemas.microsoft.com/office/powerpoint/2010/main" val="150587456"/>
              </p:ext>
            </p:extLst>
          </p:nvPr>
        </p:nvGraphicFramePr>
        <p:xfrm>
          <a:off x="4437874" y="1593692"/>
          <a:ext cx="1854124" cy="3147089"/>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9" name="C3">
            <a:extLst>
              <a:ext uri="{FF2B5EF4-FFF2-40B4-BE49-F238E27FC236}">
                <a16:creationId xmlns:a16="http://schemas.microsoft.com/office/drawing/2014/main" id="{FC0D54D0-1ACD-4937-8BF6-259AC4A57D6A}"/>
              </a:ext>
            </a:extLst>
          </p:cNvPr>
          <p:cNvGraphicFramePr>
            <a:graphicFrameLocks/>
          </p:cNvGraphicFramePr>
          <p:nvPr>
            <p:extLst>
              <p:ext uri="{D42A27DB-BD31-4B8C-83A1-F6EECF244321}">
                <p14:modId xmlns:p14="http://schemas.microsoft.com/office/powerpoint/2010/main" val="1376439928"/>
              </p:ext>
            </p:extLst>
          </p:nvPr>
        </p:nvGraphicFramePr>
        <p:xfrm>
          <a:off x="6278779" y="1596830"/>
          <a:ext cx="1850081" cy="3143023"/>
        </p:xfrm>
        <a:graphic>
          <a:graphicData uri="http://schemas.openxmlformats.org/drawingml/2006/chart">
            <c:chart xmlns:c="http://schemas.openxmlformats.org/drawingml/2006/chart" xmlns:r="http://schemas.openxmlformats.org/officeDocument/2006/relationships" r:id="rId7"/>
          </a:graphicData>
        </a:graphic>
      </p:graphicFrame>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ricingOne Light Template Jan 2024">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
      </a:majorFont>
      <a:minorFont>
        <a:latin typeface="Nexa Boo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lumMod val="95000"/>
          </a:schemeClr>
        </a:solidFill>
        <a:ln>
          <a:noFill/>
        </a:ln>
      </a:spPr>
      <a:bodyPr rtlCol="0" anchor="ctr"/>
      <a:lstStyle>
        <a:defPPr algn="ctr">
          <a:defRPr sz="1000" dirty="0">
            <a:solidFill>
              <a:schemeClr val="bg1"/>
            </a:solidFill>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accent2">
            <a:lumMod val="20000"/>
            <a:lumOff val="80000"/>
            <a:alpha val="50000"/>
          </a:schemeClr>
        </a:solidFill>
        <a:ln>
          <a:noFill/>
        </a:ln>
      </a:spPr>
      <a:bodyPr lIns="36000" tIns="36000" rIns="36000" bIns="36000" rtlCol="0" anchor="ctr"/>
      <a:lstStyle>
        <a:defPPr algn="l">
          <a:defRPr dirty="0"/>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icingOne Light Template Jan 2024" id="{B389DAB1-E8C6-4800-A361-DB152467EAE9}" vid="{BE62CCDC-699A-4A4C-A9F4-3836714D8304}"/>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DFD7366106C66444926E18B0E5A9421E" ma:contentTypeVersion="13" ma:contentTypeDescription="Crée un document." ma:contentTypeScope="" ma:versionID="eaaef5258d15aa9a226670cf0c1667a9">
  <xsd:schema xmlns:xsd="http://www.w3.org/2001/XMLSchema" xmlns:xs="http://www.w3.org/2001/XMLSchema" xmlns:p="http://schemas.microsoft.com/office/2006/metadata/properties" xmlns:ns2="534c7672-29b8-4d75-b119-c7a36f3cc056" xmlns:ns3="bc0b1ecb-3b8e-47f9-9efb-aed9859e3d37" targetNamespace="http://schemas.microsoft.com/office/2006/metadata/properties" ma:root="true" ma:fieldsID="3945bba7cb13f4330ef2088af91658b7" ns2:_="" ns3:_="">
    <xsd:import namespace="534c7672-29b8-4d75-b119-c7a36f3cc056"/>
    <xsd:import namespace="bc0b1ecb-3b8e-47f9-9efb-aed9859e3d37"/>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2:MediaServiceDateTaken" minOccurs="0"/>
                <xsd:element ref="ns2:MediaServiceGenerationTime" minOccurs="0"/>
                <xsd:element ref="ns2:MediaServiceEventHashCode" minOccurs="0"/>
                <xsd:element ref="ns2:MediaLengthInSeconds" minOccurs="0"/>
                <xsd:element ref="ns3:SharedWithUsers" minOccurs="0"/>
                <xsd:element ref="ns3:SharedWithDetails" minOccurs="0"/>
                <xsd:element ref="ns2:lcf76f155ced4ddcb4097134ff3c332f" minOccurs="0"/>
                <xsd:element ref="ns2:MediaServiceOCR"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34c7672-29b8-4d75-b119-c7a36f3cc056"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MediaServiceDateTaken" ma:index="12" nillable="true" ma:displayName="MediaServiceDateTaken" ma:hidden="true" ma:indexed="true" ma:internalName="MediaServiceDateTaken"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LengthInSeconds" ma:index="15" nillable="true" ma:displayName="MediaLengthInSeconds" ma:hidden="true" ma:internalName="MediaLengthInSeconds" ma:readOnly="true">
      <xsd:simpleType>
        <xsd:restriction base="dms:Unknown"/>
      </xsd:simpleType>
    </xsd:element>
    <xsd:element name="lcf76f155ced4ddcb4097134ff3c332f" ma:index="19" nillable="true" ma:taxonomy="true" ma:internalName="lcf76f155ced4ddcb4097134ff3c332f" ma:taxonomyFieldName="MediaServiceImageTags" ma:displayName="Balises d’images" ma:readOnly="false" ma:fieldId="{5cf76f15-5ced-4ddc-b409-7134ff3c332f}" ma:taxonomyMulti="true" ma:sspId="357a035a-b75f-4f0a-966d-4a4e0268141b" ma:termSetId="09814cd3-568e-fe90-9814-8d621ff8fb84" ma:anchorId="fba54fb3-c3e1-fe81-a776-ca4b69148c4d" ma:open="true" ma:isKeyword="false">
      <xsd:complexType>
        <xsd:sequence>
          <xsd:element ref="pc:Terms" minOccurs="0" maxOccurs="1"/>
        </xsd:sequence>
      </xsd:complexType>
    </xsd:element>
    <xsd:element name="MediaServiceOCR" ma:index="20" nillable="true" ma:displayName="Extracted Text" ma:internalName="MediaServiceOCR"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bc0b1ecb-3b8e-47f9-9efb-aed9859e3d37" elementFormDefault="qualified">
    <xsd:import namespace="http://schemas.microsoft.com/office/2006/documentManagement/types"/>
    <xsd:import namespace="http://schemas.microsoft.com/office/infopath/2007/PartnerControls"/>
    <xsd:element name="SharedWithUsers" ma:index="16" nillable="true" ma:displayName="Partagé avec"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7" nillable="true" ma:displayName="Partagé avec dé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ype de contenu"/>
        <xsd:element ref="dc:title" minOccurs="0" maxOccurs="1" ma:index="4" ma:displayName="Titr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534c7672-29b8-4d75-b119-c7a36f3cc056">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17EDD841-08CA-4EA3-9924-1CFCD82D2F94}">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534c7672-29b8-4d75-b119-c7a36f3cc056"/>
    <ds:schemaRef ds:uri="bc0b1ecb-3b8e-47f9-9efb-aed9859e3d37"/>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D21786C5-D6DC-4DB9-87D8-B24F55D31899}">
  <ds:schemaRefs>
    <ds:schemaRef ds:uri="http://schemas.microsoft.com/sharepoint/v3/contenttype/forms"/>
  </ds:schemaRefs>
</ds:datastoreItem>
</file>

<file path=customXml/itemProps3.xml><?xml version="1.0" encoding="utf-8"?>
<ds:datastoreItem xmlns:ds="http://schemas.openxmlformats.org/officeDocument/2006/customXml" ds:itemID="{09069D81-7D0D-4539-9F54-7E79AD6EBD13}">
  <ds:schemaRefs>
    <ds:schemaRef ds:uri="bc0b1ecb-3b8e-47f9-9efb-aed9859e3d37"/>
    <ds:schemaRef ds:uri="http://schemas.microsoft.com/office/infopath/2007/PartnerControls"/>
    <ds:schemaRef ds:uri="http://www.w3.org/XML/1998/namespace"/>
    <ds:schemaRef ds:uri="http://purl.org/dc/terms/"/>
    <ds:schemaRef ds:uri="http://schemas.microsoft.com/office/2006/metadata/properties"/>
    <ds:schemaRef ds:uri="http://purl.org/dc/elements/1.1/"/>
    <ds:schemaRef ds:uri="http://purl.org/dc/dcmitype/"/>
    <ds:schemaRef ds:uri="http://schemas.microsoft.com/office/2006/documentManagement/types"/>
    <ds:schemaRef ds:uri="http://schemas.openxmlformats.org/package/2006/metadata/core-properties"/>
    <ds:schemaRef ds:uri="534c7672-29b8-4d75-b119-c7a36f3cc056"/>
  </ds:schemaRefs>
</ds:datastoreItem>
</file>

<file path=docProps/app.xml><?xml version="1.0" encoding="utf-8"?>
<Properties xmlns="http://schemas.openxmlformats.org/officeDocument/2006/extended-properties" xmlns:vt="http://schemas.openxmlformats.org/officeDocument/2006/docPropsVTypes">
  <Template>Default Theme</Template>
  <TotalTime>0</TotalTime>
  <Words>856</Words>
  <Application>Microsoft Office PowerPoint</Application>
  <PresentationFormat>On-screen Show (16:9)</PresentationFormat>
  <Paragraphs>170</Paragraphs>
  <Slides>12</Slides>
  <Notes>1</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12</vt:i4>
      </vt:variant>
    </vt:vector>
  </HeadingPairs>
  <TitlesOfParts>
    <vt:vector size="21" baseType="lpstr">
      <vt:lpstr>Aptos</vt:lpstr>
      <vt:lpstr>Arial</vt:lpstr>
      <vt:lpstr>Nexa</vt:lpstr>
      <vt:lpstr>Nexa Bold</vt:lpstr>
      <vt:lpstr>Nexa Bold (Headings)</vt:lpstr>
      <vt:lpstr>Nexa Book</vt:lpstr>
      <vt:lpstr>Open Sans</vt:lpstr>
      <vt:lpstr>PricingOne Light Template Jan 2024</vt:lpstr>
      <vt:lpstr>think-cell Slide</vt:lpstr>
      <vt:lpstr>Innovation ranking (Replace with SO WHAT)</vt:lpstr>
      <vt:lpstr>Innovation ranking (Replace with SO WHAT)</vt:lpstr>
      <vt:lpstr>Innovation ranking (Replace with SO WHAT)</vt:lpstr>
      <vt:lpstr>Innovation ranking (Replace with SO WHAT)</vt:lpstr>
      <vt:lpstr>Innovation ranking (Replace with SO WHAT)</vt:lpstr>
      <vt:lpstr>Innovation potential (Replace with SO WHAT)</vt:lpstr>
      <vt:lpstr>Innovation sourcing (Replace with SO WHAT)</vt:lpstr>
      <vt:lpstr>Innovation sourcing (Replace with SO WHAT)</vt:lpstr>
      <vt:lpstr>Innovation sourcing (Replace with SO WHAT)</vt:lpstr>
      <vt:lpstr>Innovation sourcing (Replace with SO WHAT)</vt:lpstr>
      <vt:lpstr>Innovation sourcing (Replace with SO WHAT)</vt:lpstr>
      <vt:lpstr>Innovation sourcing (Replace with SO WHA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Sophie  ZIMMERMANN</dc:creator>
  <cp:lastModifiedBy>Sophie  ZIMMERMANN</cp:lastModifiedBy>
  <cp:revision>1</cp:revision>
  <dcterms:created xsi:type="dcterms:W3CDTF">2024-07-08T12:20:01Z</dcterms:created>
  <dcterms:modified xsi:type="dcterms:W3CDTF">2024-07-08T12:35:5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DFD7366106C66444926E18B0E5A9421E</vt:lpwstr>
  </property>
  <property fmtid="{D5CDD505-2E9C-101B-9397-08002B2CF9AE}" pid="3" name="MediaServiceImageTags">
    <vt:lpwstr/>
  </property>
</Properties>
</file>